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heme/theme2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5.xml" ContentType="application/vnd.openxmlformats-officedocument.presentationml.notesSlid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71.xml" ContentType="application/vnd.openxmlformats-officedocument.presentationml.tags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8"/>
  </p:notesMasterIdLst>
  <p:sldIdLst>
    <p:sldId id="636" r:id="rId2"/>
    <p:sldId id="4840" r:id="rId3"/>
    <p:sldId id="4790" r:id="rId4"/>
    <p:sldId id="4791" r:id="rId5"/>
    <p:sldId id="4843" r:id="rId6"/>
    <p:sldId id="4844" r:id="rId7"/>
    <p:sldId id="4847" r:id="rId8"/>
    <p:sldId id="4842" r:id="rId9"/>
    <p:sldId id="4845" r:id="rId10"/>
    <p:sldId id="4778" r:id="rId11"/>
    <p:sldId id="4782" r:id="rId12"/>
    <p:sldId id="4783" r:id="rId13"/>
    <p:sldId id="4788" r:id="rId14"/>
    <p:sldId id="4833" r:id="rId15"/>
    <p:sldId id="4835" r:id="rId16"/>
    <p:sldId id="668" r:id="rId17"/>
    <p:sldId id="4838" r:id="rId18"/>
    <p:sldId id="4837" r:id="rId19"/>
    <p:sldId id="4839" r:id="rId20"/>
    <p:sldId id="637" r:id="rId21"/>
    <p:sldId id="4798" r:id="rId22"/>
    <p:sldId id="4774" r:id="rId23"/>
    <p:sldId id="4836" r:id="rId24"/>
    <p:sldId id="4834" r:id="rId25"/>
    <p:sldId id="4784" r:id="rId26"/>
    <p:sldId id="641" r:id="rId27"/>
  </p:sldIdLst>
  <p:sldSz cx="12192000" cy="6858000"/>
  <p:notesSz cx="6858000" cy="9144000"/>
  <p:custDataLst>
    <p:tags r:id="rId2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1ABFD99-84AD-4D78-8064-FA3757D44FAB}" v="267" dt="2024-07-14T19:39:54.72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613" autoAdjust="0"/>
    <p:restoredTop sz="82807" autoAdjust="0"/>
  </p:normalViewPr>
  <p:slideViewPr>
    <p:cSldViewPr snapToGrid="0">
      <p:cViewPr>
        <p:scale>
          <a:sx n="75" d="100"/>
          <a:sy n="75" d="100"/>
        </p:scale>
        <p:origin x="2262" y="3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microsoft.com/office/2016/11/relationships/changesInfo" Target="changesInfos/changesInfo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Relationship Id="rId35" Type="http://schemas.microsoft.com/office/2015/10/relationships/revisionInfo" Target="revisionInfo.xml"/><Relationship Id="rId8" Type="http://schemas.openxmlformats.org/officeDocument/2006/relationships/slide" Target="slides/slide7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xander Krause" userId="0b5a8c652400661f" providerId="LiveId" clId="{31ABFD99-84AD-4D78-8064-FA3757D44FAB}"/>
    <pc:docChg chg="undo redo custSel addSld delSld modSld sldOrd">
      <pc:chgData name="Alexander Krause" userId="0b5a8c652400661f" providerId="LiveId" clId="{31ABFD99-84AD-4D78-8064-FA3757D44FAB}" dt="2024-07-14T19:41:43.041" v="1211" actId="1076"/>
      <pc:docMkLst>
        <pc:docMk/>
      </pc:docMkLst>
      <pc:sldChg chg="addSp delSp modSp mod">
        <pc:chgData name="Alexander Krause" userId="0b5a8c652400661f" providerId="LiveId" clId="{31ABFD99-84AD-4D78-8064-FA3757D44FAB}" dt="2024-07-14T19:06:59.647" v="1156" actId="1076"/>
        <pc:sldMkLst>
          <pc:docMk/>
          <pc:sldMk cId="322196350" sldId="636"/>
        </pc:sldMkLst>
        <pc:spChg chg="mod">
          <ac:chgData name="Alexander Krause" userId="0b5a8c652400661f" providerId="LiveId" clId="{31ABFD99-84AD-4D78-8064-FA3757D44FAB}" dt="2024-07-13T19:37:20.304" v="247" actId="1076"/>
          <ac:spMkLst>
            <pc:docMk/>
            <pc:sldMk cId="322196350" sldId="636"/>
            <ac:spMk id="16" creationId="{67B2B894-EE24-4F6C-F513-16D26FED8C5E}"/>
          </ac:spMkLst>
        </pc:spChg>
        <pc:picChg chg="add mod">
          <ac:chgData name="Alexander Krause" userId="0b5a8c652400661f" providerId="LiveId" clId="{31ABFD99-84AD-4D78-8064-FA3757D44FAB}" dt="2024-07-14T19:06:59.647" v="1156" actId="1076"/>
          <ac:picMkLst>
            <pc:docMk/>
            <pc:sldMk cId="322196350" sldId="636"/>
            <ac:picMk id="3" creationId="{2C5DAC48-5F08-FFA7-9D63-076808FD809B}"/>
          </ac:picMkLst>
        </pc:picChg>
        <pc:picChg chg="mod">
          <ac:chgData name="Alexander Krause" userId="0b5a8c652400661f" providerId="LiveId" clId="{31ABFD99-84AD-4D78-8064-FA3757D44FAB}" dt="2024-07-13T19:18:46.596" v="168" actId="1076"/>
          <ac:picMkLst>
            <pc:docMk/>
            <pc:sldMk cId="322196350" sldId="636"/>
            <ac:picMk id="11" creationId="{55093E26-173F-33EB-928C-3F5A1113C4D9}"/>
          </ac:picMkLst>
        </pc:picChg>
        <pc:picChg chg="del">
          <ac:chgData name="Alexander Krause" userId="0b5a8c652400661f" providerId="LiveId" clId="{31ABFD99-84AD-4D78-8064-FA3757D44FAB}" dt="2024-07-13T19:18:40.482" v="167" actId="478"/>
          <ac:picMkLst>
            <pc:docMk/>
            <pc:sldMk cId="322196350" sldId="636"/>
            <ac:picMk id="12" creationId="{5604FDAC-8CF7-57A3-60D6-02772FE4BCA2}"/>
          </ac:picMkLst>
        </pc:picChg>
        <pc:picChg chg="del">
          <ac:chgData name="Alexander Krause" userId="0b5a8c652400661f" providerId="LiveId" clId="{31ABFD99-84AD-4D78-8064-FA3757D44FAB}" dt="2024-07-13T19:18:20.269" v="164" actId="478"/>
          <ac:picMkLst>
            <pc:docMk/>
            <pc:sldMk cId="322196350" sldId="636"/>
            <ac:picMk id="71" creationId="{D9FDEF5E-73ED-EFCA-CDC6-FEF88A995D41}"/>
          </ac:picMkLst>
        </pc:picChg>
        <pc:picChg chg="add del">
          <ac:chgData name="Alexander Krause" userId="0b5a8c652400661f" providerId="LiveId" clId="{31ABFD99-84AD-4D78-8064-FA3757D44FAB}" dt="2024-07-13T19:18:32.780" v="166" actId="478"/>
          <ac:picMkLst>
            <pc:docMk/>
            <pc:sldMk cId="322196350" sldId="636"/>
            <ac:picMk id="72" creationId="{3E930508-9DAB-1DB7-D99D-DA4F35A19D03}"/>
          </ac:picMkLst>
        </pc:picChg>
      </pc:sldChg>
      <pc:sldChg chg="add del">
        <pc:chgData name="Alexander Krause" userId="0b5a8c652400661f" providerId="LiveId" clId="{31ABFD99-84AD-4D78-8064-FA3757D44FAB}" dt="2024-07-14T15:47:53.581" v="1063" actId="47"/>
        <pc:sldMkLst>
          <pc:docMk/>
          <pc:sldMk cId="853651763" sldId="4770"/>
        </pc:sldMkLst>
      </pc:sldChg>
      <pc:sldChg chg="addSp delSp modSp del mod addAnim delAnim modAnim">
        <pc:chgData name="Alexander Krause" userId="0b5a8c652400661f" providerId="LiveId" clId="{31ABFD99-84AD-4D78-8064-FA3757D44FAB}" dt="2024-07-14T15:14:26.823" v="494" actId="2696"/>
        <pc:sldMkLst>
          <pc:docMk/>
          <pc:sldMk cId="2765517405" sldId="4770"/>
        </pc:sldMkLst>
        <pc:spChg chg="add del mod">
          <ac:chgData name="Alexander Krause" userId="0b5a8c652400661f" providerId="LiveId" clId="{31ABFD99-84AD-4D78-8064-FA3757D44FAB}" dt="2024-07-13T19:24:33.877" v="200" actId="1076"/>
          <ac:spMkLst>
            <pc:docMk/>
            <pc:sldMk cId="2765517405" sldId="4770"/>
            <ac:spMk id="2" creationId="{A4919EB1-D1B2-9711-BA3B-D4265A6B67DA}"/>
          </ac:spMkLst>
        </pc:spChg>
        <pc:spChg chg="mod">
          <ac:chgData name="Alexander Krause" userId="0b5a8c652400661f" providerId="LiveId" clId="{31ABFD99-84AD-4D78-8064-FA3757D44FAB}" dt="2024-07-13T19:24:33.185" v="199" actId="408"/>
          <ac:spMkLst>
            <pc:docMk/>
            <pc:sldMk cId="2765517405" sldId="4770"/>
            <ac:spMk id="13" creationId="{31B8F1B5-00BE-E400-46BF-D3AD8D86B25E}"/>
          </ac:spMkLst>
        </pc:spChg>
        <pc:spChg chg="mod">
          <ac:chgData name="Alexander Krause" userId="0b5a8c652400661f" providerId="LiveId" clId="{31ABFD99-84AD-4D78-8064-FA3757D44FAB}" dt="2024-07-13T19:24:33.185" v="199" actId="408"/>
          <ac:spMkLst>
            <pc:docMk/>
            <pc:sldMk cId="2765517405" sldId="4770"/>
            <ac:spMk id="14" creationId="{D06C648A-527D-6053-9043-C815013E7F0A}"/>
          </ac:spMkLst>
        </pc:spChg>
      </pc:sldChg>
      <pc:sldChg chg="addSp modSp del mod modAnim">
        <pc:chgData name="Alexander Krause" userId="0b5a8c652400661f" providerId="LiveId" clId="{31ABFD99-84AD-4D78-8064-FA3757D44FAB}" dt="2024-07-13T20:10:01.834" v="436" actId="47"/>
        <pc:sldMkLst>
          <pc:docMk/>
          <pc:sldMk cId="922087026" sldId="4775"/>
        </pc:sldMkLst>
        <pc:spChg chg="add mod">
          <ac:chgData name="Alexander Krause" userId="0b5a8c652400661f" providerId="LiveId" clId="{31ABFD99-84AD-4D78-8064-FA3757D44FAB}" dt="2024-07-12T17:21:47.855" v="150" actId="113"/>
          <ac:spMkLst>
            <pc:docMk/>
            <pc:sldMk cId="922087026" sldId="4775"/>
            <ac:spMk id="16" creationId="{361E7319-DAED-EED4-F2DB-09EB04118ED0}"/>
          </ac:spMkLst>
        </pc:spChg>
      </pc:sldChg>
      <pc:sldChg chg="addSp delSp modSp add del mod modAnim">
        <pc:chgData name="Alexander Krause" userId="0b5a8c652400661f" providerId="LiveId" clId="{31ABFD99-84AD-4D78-8064-FA3757D44FAB}" dt="2024-07-13T20:18:05.821" v="485"/>
        <pc:sldMkLst>
          <pc:docMk/>
          <pc:sldMk cId="1353468667" sldId="4778"/>
        </pc:sldMkLst>
        <pc:spChg chg="del">
          <ac:chgData name="Alexander Krause" userId="0b5a8c652400661f" providerId="LiveId" clId="{31ABFD99-84AD-4D78-8064-FA3757D44FAB}" dt="2024-07-12T17:04:29.964" v="3" actId="478"/>
          <ac:spMkLst>
            <pc:docMk/>
            <pc:sldMk cId="1353468667" sldId="4778"/>
            <ac:spMk id="15" creationId="{F8A33634-BD19-BF30-304D-F599F38AECFE}"/>
          </ac:spMkLst>
        </pc:spChg>
        <pc:spChg chg="mod">
          <ac:chgData name="Alexander Krause" userId="0b5a8c652400661f" providerId="LiveId" clId="{31ABFD99-84AD-4D78-8064-FA3757D44FAB}" dt="2024-07-12T17:04:36.387" v="4"/>
          <ac:spMkLst>
            <pc:docMk/>
            <pc:sldMk cId="1353468667" sldId="4778"/>
            <ac:spMk id="17" creationId="{610E0A97-4538-C2B5-C397-771C207DA990}"/>
          </ac:spMkLst>
        </pc:spChg>
        <pc:spChg chg="del">
          <ac:chgData name="Alexander Krause" userId="0b5a8c652400661f" providerId="LiveId" clId="{31ABFD99-84AD-4D78-8064-FA3757D44FAB}" dt="2024-07-12T17:04:29.964" v="3" actId="478"/>
          <ac:spMkLst>
            <pc:docMk/>
            <pc:sldMk cId="1353468667" sldId="4778"/>
            <ac:spMk id="18" creationId="{0C7A6E65-234D-DA12-588F-B76DF1A2D874}"/>
          </ac:spMkLst>
        </pc:spChg>
        <pc:spChg chg="mod">
          <ac:chgData name="Alexander Krause" userId="0b5a8c652400661f" providerId="LiveId" clId="{31ABFD99-84AD-4D78-8064-FA3757D44FAB}" dt="2024-07-12T17:04:36.387" v="4"/>
          <ac:spMkLst>
            <pc:docMk/>
            <pc:sldMk cId="1353468667" sldId="4778"/>
            <ac:spMk id="23" creationId="{2EF5D5C1-C8C2-E9A0-EFC2-CCAD38DBEF92}"/>
          </ac:spMkLst>
        </pc:spChg>
        <pc:spChg chg="mod">
          <ac:chgData name="Alexander Krause" userId="0b5a8c652400661f" providerId="LiveId" clId="{31ABFD99-84AD-4D78-8064-FA3757D44FAB}" dt="2024-07-12T17:04:36.387" v="4"/>
          <ac:spMkLst>
            <pc:docMk/>
            <pc:sldMk cId="1353468667" sldId="4778"/>
            <ac:spMk id="24" creationId="{85AF3689-35D6-165A-CBA3-2EDD7C074E0C}"/>
          </ac:spMkLst>
        </pc:spChg>
        <pc:spChg chg="mod">
          <ac:chgData name="Alexander Krause" userId="0b5a8c652400661f" providerId="LiveId" clId="{31ABFD99-84AD-4D78-8064-FA3757D44FAB}" dt="2024-07-12T17:04:36.387" v="4"/>
          <ac:spMkLst>
            <pc:docMk/>
            <pc:sldMk cId="1353468667" sldId="4778"/>
            <ac:spMk id="25" creationId="{89AE7638-0637-EDED-283F-9135C75E7E1C}"/>
          </ac:spMkLst>
        </pc:spChg>
        <pc:spChg chg="mod">
          <ac:chgData name="Alexander Krause" userId="0b5a8c652400661f" providerId="LiveId" clId="{31ABFD99-84AD-4D78-8064-FA3757D44FAB}" dt="2024-07-12T17:04:36.387" v="4"/>
          <ac:spMkLst>
            <pc:docMk/>
            <pc:sldMk cId="1353468667" sldId="4778"/>
            <ac:spMk id="26" creationId="{ABA6A8F0-3F9F-61E0-38AA-20F986E159D2}"/>
          </ac:spMkLst>
        </pc:spChg>
        <pc:spChg chg="mod">
          <ac:chgData name="Alexander Krause" userId="0b5a8c652400661f" providerId="LiveId" clId="{31ABFD99-84AD-4D78-8064-FA3757D44FAB}" dt="2024-07-12T17:04:36.387" v="4"/>
          <ac:spMkLst>
            <pc:docMk/>
            <pc:sldMk cId="1353468667" sldId="4778"/>
            <ac:spMk id="28" creationId="{654A0AA8-7605-7334-B22F-80F0E9250ADB}"/>
          </ac:spMkLst>
        </pc:spChg>
        <pc:spChg chg="add del mod">
          <ac:chgData name="Alexander Krause" userId="0b5a8c652400661f" providerId="LiveId" clId="{31ABFD99-84AD-4D78-8064-FA3757D44FAB}" dt="2024-07-12T17:16:47.793" v="92" actId="478"/>
          <ac:spMkLst>
            <pc:docMk/>
            <pc:sldMk cId="1353468667" sldId="4778"/>
            <ac:spMk id="29" creationId="{8C9D9F2C-A905-08D4-C872-D917807EAA93}"/>
          </ac:spMkLst>
        </pc:spChg>
        <pc:spChg chg="add mod">
          <ac:chgData name="Alexander Krause" userId="0b5a8c652400661f" providerId="LiveId" clId="{31ABFD99-84AD-4D78-8064-FA3757D44FAB}" dt="2024-07-12T17:04:36.387" v="4"/>
          <ac:spMkLst>
            <pc:docMk/>
            <pc:sldMk cId="1353468667" sldId="4778"/>
            <ac:spMk id="30" creationId="{795176C4-477D-EA22-D7FD-1898A5CD094A}"/>
          </ac:spMkLst>
        </pc:spChg>
        <pc:spChg chg="add mod">
          <ac:chgData name="Alexander Krause" userId="0b5a8c652400661f" providerId="LiveId" clId="{31ABFD99-84AD-4D78-8064-FA3757D44FAB}" dt="2024-07-12T17:04:36.387" v="4"/>
          <ac:spMkLst>
            <pc:docMk/>
            <pc:sldMk cId="1353468667" sldId="4778"/>
            <ac:spMk id="31" creationId="{CB92B523-E9D6-E7BC-B7EA-DB56F18A1F0F}"/>
          </ac:spMkLst>
        </pc:spChg>
        <pc:spChg chg="del">
          <ac:chgData name="Alexander Krause" userId="0b5a8c652400661f" providerId="LiveId" clId="{31ABFD99-84AD-4D78-8064-FA3757D44FAB}" dt="2024-07-12T17:04:29.964" v="3" actId="478"/>
          <ac:spMkLst>
            <pc:docMk/>
            <pc:sldMk cId="1353468667" sldId="4778"/>
            <ac:spMk id="33" creationId="{E67F87F2-0872-B2EF-20FF-F736BB709CA2}"/>
          </ac:spMkLst>
        </pc:spChg>
        <pc:spChg chg="add del mod">
          <ac:chgData name="Alexander Krause" userId="0b5a8c652400661f" providerId="LiveId" clId="{31ABFD99-84AD-4D78-8064-FA3757D44FAB}" dt="2024-07-12T17:16:47.793" v="92" actId="478"/>
          <ac:spMkLst>
            <pc:docMk/>
            <pc:sldMk cId="1353468667" sldId="4778"/>
            <ac:spMk id="34" creationId="{B3B712FD-8B5C-DDE2-C938-7DD6595B27C8}"/>
          </ac:spMkLst>
        </pc:spChg>
        <pc:spChg chg="del">
          <ac:chgData name="Alexander Krause" userId="0b5a8c652400661f" providerId="LiveId" clId="{31ABFD99-84AD-4D78-8064-FA3757D44FAB}" dt="2024-07-12T17:04:29.964" v="3" actId="478"/>
          <ac:spMkLst>
            <pc:docMk/>
            <pc:sldMk cId="1353468667" sldId="4778"/>
            <ac:spMk id="35" creationId="{61F1AFDF-71B6-EDCB-0D0D-FC0616F169F0}"/>
          </ac:spMkLst>
        </pc:spChg>
        <pc:spChg chg="del">
          <ac:chgData name="Alexander Krause" userId="0b5a8c652400661f" providerId="LiveId" clId="{31ABFD99-84AD-4D78-8064-FA3757D44FAB}" dt="2024-07-12T17:04:29.964" v="3" actId="478"/>
          <ac:spMkLst>
            <pc:docMk/>
            <pc:sldMk cId="1353468667" sldId="4778"/>
            <ac:spMk id="36" creationId="{52A66C99-8460-AD93-8BB6-E684741102EB}"/>
          </ac:spMkLst>
        </pc:spChg>
        <pc:spChg chg="del">
          <ac:chgData name="Alexander Krause" userId="0b5a8c652400661f" providerId="LiveId" clId="{31ABFD99-84AD-4D78-8064-FA3757D44FAB}" dt="2024-07-12T17:04:29.964" v="3" actId="478"/>
          <ac:spMkLst>
            <pc:docMk/>
            <pc:sldMk cId="1353468667" sldId="4778"/>
            <ac:spMk id="37" creationId="{1DD3905D-7805-7B07-2B3D-E19353D19606}"/>
          </ac:spMkLst>
        </pc:spChg>
        <pc:spChg chg="del">
          <ac:chgData name="Alexander Krause" userId="0b5a8c652400661f" providerId="LiveId" clId="{31ABFD99-84AD-4D78-8064-FA3757D44FAB}" dt="2024-07-12T17:04:29.964" v="3" actId="478"/>
          <ac:spMkLst>
            <pc:docMk/>
            <pc:sldMk cId="1353468667" sldId="4778"/>
            <ac:spMk id="38" creationId="{8781F714-5655-5115-7C0C-9F4E28F7BC99}"/>
          </ac:spMkLst>
        </pc:spChg>
        <pc:spChg chg="del">
          <ac:chgData name="Alexander Krause" userId="0b5a8c652400661f" providerId="LiveId" clId="{31ABFD99-84AD-4D78-8064-FA3757D44FAB}" dt="2024-07-12T17:04:29.964" v="3" actId="478"/>
          <ac:spMkLst>
            <pc:docMk/>
            <pc:sldMk cId="1353468667" sldId="4778"/>
            <ac:spMk id="40" creationId="{979968ED-1E8B-D8AF-53E2-AFF00D01750C}"/>
          </ac:spMkLst>
        </pc:spChg>
        <pc:spChg chg="del">
          <ac:chgData name="Alexander Krause" userId="0b5a8c652400661f" providerId="LiveId" clId="{31ABFD99-84AD-4D78-8064-FA3757D44FAB}" dt="2024-07-12T17:04:29.964" v="3" actId="478"/>
          <ac:spMkLst>
            <pc:docMk/>
            <pc:sldMk cId="1353468667" sldId="4778"/>
            <ac:spMk id="41" creationId="{6D865B0A-C1EE-C1B7-8D7E-27335C239E1D}"/>
          </ac:spMkLst>
        </pc:spChg>
        <pc:spChg chg="del">
          <ac:chgData name="Alexander Krause" userId="0b5a8c652400661f" providerId="LiveId" clId="{31ABFD99-84AD-4D78-8064-FA3757D44FAB}" dt="2024-07-12T17:04:29.964" v="3" actId="478"/>
          <ac:spMkLst>
            <pc:docMk/>
            <pc:sldMk cId="1353468667" sldId="4778"/>
            <ac:spMk id="42" creationId="{E0383EE7-3096-E527-CDF8-903360EAB01A}"/>
          </ac:spMkLst>
        </pc:spChg>
        <pc:spChg chg="add mod">
          <ac:chgData name="Alexander Krause" userId="0b5a8c652400661f" providerId="LiveId" clId="{31ABFD99-84AD-4D78-8064-FA3757D44FAB}" dt="2024-07-12T17:04:36.387" v="4"/>
          <ac:spMkLst>
            <pc:docMk/>
            <pc:sldMk cId="1353468667" sldId="4778"/>
            <ac:spMk id="43" creationId="{28C466E5-EC3E-590C-2974-18C1E73BFEDC}"/>
          </ac:spMkLst>
        </pc:spChg>
        <pc:spChg chg="add mod">
          <ac:chgData name="Alexander Krause" userId="0b5a8c652400661f" providerId="LiveId" clId="{31ABFD99-84AD-4D78-8064-FA3757D44FAB}" dt="2024-07-12T17:04:36.387" v="4"/>
          <ac:spMkLst>
            <pc:docMk/>
            <pc:sldMk cId="1353468667" sldId="4778"/>
            <ac:spMk id="45" creationId="{8DBB3094-FF74-E9A9-A2B2-2E46D4C0950F}"/>
          </ac:spMkLst>
        </pc:spChg>
        <pc:spChg chg="mod">
          <ac:chgData name="Alexander Krause" userId="0b5a8c652400661f" providerId="LiveId" clId="{31ABFD99-84AD-4D78-8064-FA3757D44FAB}" dt="2024-07-12T17:16:48.803" v="93"/>
          <ac:spMkLst>
            <pc:docMk/>
            <pc:sldMk cId="1353468667" sldId="4778"/>
            <ac:spMk id="47" creationId="{DA6F8EE5-C69C-5108-C497-279814F636B7}"/>
          </ac:spMkLst>
        </pc:spChg>
        <pc:spChg chg="del">
          <ac:chgData name="Alexander Krause" userId="0b5a8c652400661f" providerId="LiveId" clId="{31ABFD99-84AD-4D78-8064-FA3757D44FAB}" dt="2024-07-12T17:04:29.964" v="3" actId="478"/>
          <ac:spMkLst>
            <pc:docMk/>
            <pc:sldMk cId="1353468667" sldId="4778"/>
            <ac:spMk id="52" creationId="{E7B2FA7B-2D50-2D16-BF79-4E7F5CF2E734}"/>
          </ac:spMkLst>
        </pc:spChg>
        <pc:spChg chg="mod">
          <ac:chgData name="Alexander Krause" userId="0b5a8c652400661f" providerId="LiveId" clId="{31ABFD99-84AD-4D78-8064-FA3757D44FAB}" dt="2024-07-12T17:16:48.803" v="93"/>
          <ac:spMkLst>
            <pc:docMk/>
            <pc:sldMk cId="1353468667" sldId="4778"/>
            <ac:spMk id="56" creationId="{1071DD96-A419-6116-7F52-FBC5E9EC1876}"/>
          </ac:spMkLst>
        </pc:spChg>
        <pc:spChg chg="mod">
          <ac:chgData name="Alexander Krause" userId="0b5a8c652400661f" providerId="LiveId" clId="{31ABFD99-84AD-4D78-8064-FA3757D44FAB}" dt="2024-07-12T17:16:48.803" v="93"/>
          <ac:spMkLst>
            <pc:docMk/>
            <pc:sldMk cId="1353468667" sldId="4778"/>
            <ac:spMk id="59" creationId="{85836B5C-3870-F8E0-2907-5910CDFFD075}"/>
          </ac:spMkLst>
        </pc:spChg>
        <pc:spChg chg="mod">
          <ac:chgData name="Alexander Krause" userId="0b5a8c652400661f" providerId="LiveId" clId="{31ABFD99-84AD-4D78-8064-FA3757D44FAB}" dt="2024-07-12T17:16:48.803" v="93"/>
          <ac:spMkLst>
            <pc:docMk/>
            <pc:sldMk cId="1353468667" sldId="4778"/>
            <ac:spMk id="60" creationId="{4BFB15D7-3889-9D3B-28DD-F789135AA10F}"/>
          </ac:spMkLst>
        </pc:spChg>
        <pc:spChg chg="mod">
          <ac:chgData name="Alexander Krause" userId="0b5a8c652400661f" providerId="LiveId" clId="{31ABFD99-84AD-4D78-8064-FA3757D44FAB}" dt="2024-07-12T17:16:48.803" v="93"/>
          <ac:spMkLst>
            <pc:docMk/>
            <pc:sldMk cId="1353468667" sldId="4778"/>
            <ac:spMk id="61" creationId="{2F66EF8D-30C1-E5CF-D3CE-A914047D3338}"/>
          </ac:spMkLst>
        </pc:spChg>
        <pc:spChg chg="mod">
          <ac:chgData name="Alexander Krause" userId="0b5a8c652400661f" providerId="LiveId" clId="{31ABFD99-84AD-4D78-8064-FA3757D44FAB}" dt="2024-07-12T17:16:48.803" v="93"/>
          <ac:spMkLst>
            <pc:docMk/>
            <pc:sldMk cId="1353468667" sldId="4778"/>
            <ac:spMk id="63" creationId="{32E7ED15-8B4E-8465-7676-DEC772828D0C}"/>
          </ac:spMkLst>
        </pc:spChg>
        <pc:spChg chg="add mod">
          <ac:chgData name="Alexander Krause" userId="0b5a8c652400661f" providerId="LiveId" clId="{31ABFD99-84AD-4D78-8064-FA3757D44FAB}" dt="2024-07-12T17:16:48.803" v="93"/>
          <ac:spMkLst>
            <pc:docMk/>
            <pc:sldMk cId="1353468667" sldId="4778"/>
            <ac:spMk id="66" creationId="{0E005DC9-010A-1A75-9F3D-14DB77F39ED4}"/>
          </ac:spMkLst>
        </pc:spChg>
        <pc:spChg chg="add mod">
          <ac:chgData name="Alexander Krause" userId="0b5a8c652400661f" providerId="LiveId" clId="{31ABFD99-84AD-4D78-8064-FA3757D44FAB}" dt="2024-07-12T17:19:09.778" v="113" actId="1076"/>
          <ac:spMkLst>
            <pc:docMk/>
            <pc:sldMk cId="1353468667" sldId="4778"/>
            <ac:spMk id="72" creationId="{E49BAF52-E4AF-1CC5-80C9-7F2D16602E17}"/>
          </ac:spMkLst>
        </pc:spChg>
        <pc:grpChg chg="del">
          <ac:chgData name="Alexander Krause" userId="0b5a8c652400661f" providerId="LiveId" clId="{31ABFD99-84AD-4D78-8064-FA3757D44FAB}" dt="2024-07-12T17:04:29.964" v="3" actId="478"/>
          <ac:grpSpMkLst>
            <pc:docMk/>
            <pc:sldMk cId="1353468667" sldId="4778"/>
            <ac:grpSpMk id="3" creationId="{1307D6EE-519A-1074-0CD9-0DC8C246297C}"/>
          </ac:grpSpMkLst>
        </pc:grpChg>
        <pc:grpChg chg="add del mod">
          <ac:chgData name="Alexander Krause" userId="0b5a8c652400661f" providerId="LiveId" clId="{31ABFD99-84AD-4D78-8064-FA3757D44FAB}" dt="2024-07-12T17:16:47.793" v="92" actId="478"/>
          <ac:grpSpMkLst>
            <pc:docMk/>
            <pc:sldMk cId="1353468667" sldId="4778"/>
            <ac:grpSpMk id="16" creationId="{77903E94-6D92-164D-42B0-51586BB71AD6}"/>
          </ac:grpSpMkLst>
        </pc:grpChg>
        <pc:grpChg chg="add mod">
          <ac:chgData name="Alexander Krause" userId="0b5a8c652400661f" providerId="LiveId" clId="{31ABFD99-84AD-4D78-8064-FA3757D44FAB}" dt="2024-07-12T17:16:48.803" v="93"/>
          <ac:grpSpMkLst>
            <pc:docMk/>
            <pc:sldMk cId="1353468667" sldId="4778"/>
            <ac:grpSpMk id="46" creationId="{2C9638A2-7C97-46A8-FE15-015D2488F65B}"/>
          </ac:grpSpMkLst>
        </pc:grpChg>
        <pc:picChg chg="add mod">
          <ac:chgData name="Alexander Krause" userId="0b5a8c652400661f" providerId="LiveId" clId="{31ABFD99-84AD-4D78-8064-FA3757D44FAB}" dt="2024-07-12T17:04:36.387" v="4"/>
          <ac:picMkLst>
            <pc:docMk/>
            <pc:sldMk cId="1353468667" sldId="4778"/>
            <ac:picMk id="39" creationId="{1C9533EA-AACF-837E-663E-865FF356155C}"/>
          </ac:picMkLst>
        </pc:picChg>
        <pc:picChg chg="add mod">
          <ac:chgData name="Alexander Krause" userId="0b5a8c652400661f" providerId="LiveId" clId="{31ABFD99-84AD-4D78-8064-FA3757D44FAB}" dt="2024-07-12T17:04:36.387" v="4"/>
          <ac:picMkLst>
            <pc:docMk/>
            <pc:sldMk cId="1353468667" sldId="4778"/>
            <ac:picMk id="44" creationId="{E8514AB7-C9EB-80BC-5C3B-D27779606D35}"/>
          </ac:picMkLst>
        </pc:picChg>
        <pc:cxnChg chg="mod">
          <ac:chgData name="Alexander Krause" userId="0b5a8c652400661f" providerId="LiveId" clId="{31ABFD99-84AD-4D78-8064-FA3757D44FAB}" dt="2024-07-12T17:04:36.387" v="4"/>
          <ac:cxnSpMkLst>
            <pc:docMk/>
            <pc:sldMk cId="1353468667" sldId="4778"/>
            <ac:cxnSpMk id="19" creationId="{1AC10F13-020F-672C-5B7A-3EAB1F555924}"/>
          </ac:cxnSpMkLst>
        </pc:cxnChg>
        <pc:cxnChg chg="mod">
          <ac:chgData name="Alexander Krause" userId="0b5a8c652400661f" providerId="LiveId" clId="{31ABFD99-84AD-4D78-8064-FA3757D44FAB}" dt="2024-07-12T17:04:36.387" v="4"/>
          <ac:cxnSpMkLst>
            <pc:docMk/>
            <pc:sldMk cId="1353468667" sldId="4778"/>
            <ac:cxnSpMk id="20" creationId="{0748E18E-795E-3E08-D056-F060F5A5402F}"/>
          </ac:cxnSpMkLst>
        </pc:cxnChg>
        <pc:cxnChg chg="mod">
          <ac:chgData name="Alexander Krause" userId="0b5a8c652400661f" providerId="LiveId" clId="{31ABFD99-84AD-4D78-8064-FA3757D44FAB}" dt="2024-07-12T17:04:36.387" v="4"/>
          <ac:cxnSpMkLst>
            <pc:docMk/>
            <pc:sldMk cId="1353468667" sldId="4778"/>
            <ac:cxnSpMk id="21" creationId="{4C6003C9-0402-97CF-82D4-07D8754FD749}"/>
          </ac:cxnSpMkLst>
        </pc:cxnChg>
        <pc:cxnChg chg="mod">
          <ac:chgData name="Alexander Krause" userId="0b5a8c652400661f" providerId="LiveId" clId="{31ABFD99-84AD-4D78-8064-FA3757D44FAB}" dt="2024-07-12T17:04:36.387" v="4"/>
          <ac:cxnSpMkLst>
            <pc:docMk/>
            <pc:sldMk cId="1353468667" sldId="4778"/>
            <ac:cxnSpMk id="22" creationId="{CC0CD5FB-96AC-56D5-FCF7-3C17D44E6931}"/>
          </ac:cxnSpMkLst>
        </pc:cxnChg>
        <pc:cxnChg chg="mod">
          <ac:chgData name="Alexander Krause" userId="0b5a8c652400661f" providerId="LiveId" clId="{31ABFD99-84AD-4D78-8064-FA3757D44FAB}" dt="2024-07-12T17:04:36.387" v="4"/>
          <ac:cxnSpMkLst>
            <pc:docMk/>
            <pc:sldMk cId="1353468667" sldId="4778"/>
            <ac:cxnSpMk id="27" creationId="{1D44E7F5-702A-6456-18C6-F692F4B1C5A0}"/>
          </ac:cxnSpMkLst>
        </pc:cxnChg>
        <pc:cxnChg chg="add del mod">
          <ac:chgData name="Alexander Krause" userId="0b5a8c652400661f" providerId="LiveId" clId="{31ABFD99-84AD-4D78-8064-FA3757D44FAB}" dt="2024-07-12T17:16:47.793" v="92" actId="478"/>
          <ac:cxnSpMkLst>
            <pc:docMk/>
            <pc:sldMk cId="1353468667" sldId="4778"/>
            <ac:cxnSpMk id="32" creationId="{592528B0-4498-10C7-93BE-6201A9727D0D}"/>
          </ac:cxnSpMkLst>
        </pc:cxnChg>
        <pc:cxnChg chg="mod">
          <ac:chgData name="Alexander Krause" userId="0b5a8c652400661f" providerId="LiveId" clId="{31ABFD99-84AD-4D78-8064-FA3757D44FAB}" dt="2024-07-12T17:16:48.803" v="93"/>
          <ac:cxnSpMkLst>
            <pc:docMk/>
            <pc:sldMk cId="1353468667" sldId="4778"/>
            <ac:cxnSpMk id="48" creationId="{EDA59AA8-3451-A769-65DB-BA52CEE4F2FA}"/>
          </ac:cxnSpMkLst>
        </pc:cxnChg>
        <pc:cxnChg chg="mod">
          <ac:chgData name="Alexander Krause" userId="0b5a8c652400661f" providerId="LiveId" clId="{31ABFD99-84AD-4D78-8064-FA3757D44FAB}" dt="2024-07-12T17:16:48.803" v="93"/>
          <ac:cxnSpMkLst>
            <pc:docMk/>
            <pc:sldMk cId="1353468667" sldId="4778"/>
            <ac:cxnSpMk id="49" creationId="{36A01EAA-FFD6-6238-781A-663E89D0A0CC}"/>
          </ac:cxnSpMkLst>
        </pc:cxnChg>
        <pc:cxnChg chg="mod">
          <ac:chgData name="Alexander Krause" userId="0b5a8c652400661f" providerId="LiveId" clId="{31ABFD99-84AD-4D78-8064-FA3757D44FAB}" dt="2024-07-12T17:16:48.803" v="93"/>
          <ac:cxnSpMkLst>
            <pc:docMk/>
            <pc:sldMk cId="1353468667" sldId="4778"/>
            <ac:cxnSpMk id="50" creationId="{AF08E490-111C-0778-1706-DAB81BEA13D3}"/>
          </ac:cxnSpMkLst>
        </pc:cxnChg>
        <pc:cxnChg chg="mod">
          <ac:chgData name="Alexander Krause" userId="0b5a8c652400661f" providerId="LiveId" clId="{31ABFD99-84AD-4D78-8064-FA3757D44FAB}" dt="2024-07-12T17:16:48.803" v="93"/>
          <ac:cxnSpMkLst>
            <pc:docMk/>
            <pc:sldMk cId="1353468667" sldId="4778"/>
            <ac:cxnSpMk id="51" creationId="{15814606-D300-45C3-D52D-3BE1C0B7F5C3}"/>
          </ac:cxnSpMkLst>
        </pc:cxnChg>
        <pc:cxnChg chg="mod">
          <ac:chgData name="Alexander Krause" userId="0b5a8c652400661f" providerId="LiveId" clId="{31ABFD99-84AD-4D78-8064-FA3757D44FAB}" dt="2024-07-12T17:16:48.803" v="93"/>
          <ac:cxnSpMkLst>
            <pc:docMk/>
            <pc:sldMk cId="1353468667" sldId="4778"/>
            <ac:cxnSpMk id="62" creationId="{153C5121-469A-BAC8-29C1-7F039B04C9BD}"/>
          </ac:cxnSpMkLst>
        </pc:cxnChg>
        <pc:cxnChg chg="add del mod">
          <ac:chgData name="Alexander Krause" userId="0b5a8c652400661f" providerId="LiveId" clId="{31ABFD99-84AD-4D78-8064-FA3757D44FAB}" dt="2024-07-12T17:18:00.993" v="101" actId="478"/>
          <ac:cxnSpMkLst>
            <pc:docMk/>
            <pc:sldMk cId="1353468667" sldId="4778"/>
            <ac:cxnSpMk id="67" creationId="{FFA609FC-5904-AAD4-3952-9A9FAB9357DB}"/>
          </ac:cxnSpMkLst>
        </pc:cxnChg>
        <pc:cxnChg chg="add mod">
          <ac:chgData name="Alexander Krause" userId="0b5a8c652400661f" providerId="LiveId" clId="{31ABFD99-84AD-4D78-8064-FA3757D44FAB}" dt="2024-07-12T17:19:04.299" v="112" actId="1076"/>
          <ac:cxnSpMkLst>
            <pc:docMk/>
            <pc:sldMk cId="1353468667" sldId="4778"/>
            <ac:cxnSpMk id="70" creationId="{C4268F24-595A-09FD-6C29-C744A8A1179A}"/>
          </ac:cxnSpMkLst>
        </pc:cxnChg>
      </pc:sldChg>
      <pc:sldChg chg="delSp del mod">
        <pc:chgData name="Alexander Krause" userId="0b5a8c652400661f" providerId="LiveId" clId="{31ABFD99-84AD-4D78-8064-FA3757D44FAB}" dt="2024-07-12T17:04:48.354" v="5" actId="47"/>
        <pc:sldMkLst>
          <pc:docMk/>
          <pc:sldMk cId="3463798533" sldId="4780"/>
        </pc:sldMkLst>
        <pc:spChg chg="del">
          <ac:chgData name="Alexander Krause" userId="0b5a8c652400661f" providerId="LiveId" clId="{31ABFD99-84AD-4D78-8064-FA3757D44FAB}" dt="2024-07-12T17:04:06.248" v="0" actId="478"/>
          <ac:spMkLst>
            <pc:docMk/>
            <pc:sldMk cId="3463798533" sldId="4780"/>
            <ac:spMk id="51" creationId="{BE7A5B88-D9D8-73FE-6850-C4820862D0DC}"/>
          </ac:spMkLst>
        </pc:spChg>
      </pc:sldChg>
      <pc:sldChg chg="addSp delSp modSp mod modAnim">
        <pc:chgData name="Alexander Krause" userId="0b5a8c652400661f" providerId="LiveId" clId="{31ABFD99-84AD-4D78-8064-FA3757D44FAB}" dt="2024-07-12T17:17:28.358" v="97"/>
        <pc:sldMkLst>
          <pc:docMk/>
          <pc:sldMk cId="812699961" sldId="4782"/>
        </pc:sldMkLst>
        <pc:spChg chg="mod">
          <ac:chgData name="Alexander Krause" userId="0b5a8c652400661f" providerId="LiveId" clId="{31ABFD99-84AD-4D78-8064-FA3757D44FAB}" dt="2024-07-12T17:14:04.534" v="45" actId="14100"/>
          <ac:spMkLst>
            <pc:docMk/>
            <pc:sldMk cId="812699961" sldId="4782"/>
            <ac:spMk id="4" creationId="{BC56AC46-767C-2738-4F33-1CA896453E6F}"/>
          </ac:spMkLst>
        </pc:spChg>
        <pc:spChg chg="mod">
          <ac:chgData name="Alexander Krause" userId="0b5a8c652400661f" providerId="LiveId" clId="{31ABFD99-84AD-4D78-8064-FA3757D44FAB}" dt="2024-07-12T17:15:23.754" v="51" actId="1076"/>
          <ac:spMkLst>
            <pc:docMk/>
            <pc:sldMk cId="812699961" sldId="4782"/>
            <ac:spMk id="9" creationId="{786107F8-6EF3-DD50-70FF-1159F680FE79}"/>
          </ac:spMkLst>
        </pc:spChg>
        <pc:spChg chg="mod">
          <ac:chgData name="Alexander Krause" userId="0b5a8c652400661f" providerId="LiveId" clId="{31ABFD99-84AD-4D78-8064-FA3757D44FAB}" dt="2024-07-12T17:14:04.534" v="45" actId="14100"/>
          <ac:spMkLst>
            <pc:docMk/>
            <pc:sldMk cId="812699961" sldId="4782"/>
            <ac:spMk id="10" creationId="{FB1BFBD2-DC90-04D0-50E8-11C54861FDB0}"/>
          </ac:spMkLst>
        </pc:spChg>
        <pc:spChg chg="mod">
          <ac:chgData name="Alexander Krause" userId="0b5a8c652400661f" providerId="LiveId" clId="{31ABFD99-84AD-4D78-8064-FA3757D44FAB}" dt="2024-07-12T17:15:23.417" v="50" actId="1076"/>
          <ac:spMkLst>
            <pc:docMk/>
            <pc:sldMk cId="812699961" sldId="4782"/>
            <ac:spMk id="11" creationId="{A2A3B9FD-79A1-CD72-DCB8-353EA268DA8C}"/>
          </ac:spMkLst>
        </pc:spChg>
        <pc:spChg chg="mod">
          <ac:chgData name="Alexander Krause" userId="0b5a8c652400661f" providerId="LiveId" clId="{31ABFD99-84AD-4D78-8064-FA3757D44FAB}" dt="2024-07-12T17:15:23.069" v="49" actId="1076"/>
          <ac:spMkLst>
            <pc:docMk/>
            <pc:sldMk cId="812699961" sldId="4782"/>
            <ac:spMk id="12" creationId="{F159841F-1D99-B0CB-267B-85E530C68274}"/>
          </ac:spMkLst>
        </pc:spChg>
        <pc:spChg chg="mod">
          <ac:chgData name="Alexander Krause" userId="0b5a8c652400661f" providerId="LiveId" clId="{31ABFD99-84AD-4D78-8064-FA3757D44FAB}" dt="2024-07-12T17:14:04.534" v="45" actId="14100"/>
          <ac:spMkLst>
            <pc:docMk/>
            <pc:sldMk cId="812699961" sldId="4782"/>
            <ac:spMk id="14" creationId="{A8735DD9-84ED-072E-6619-CE9FC1FEC4B7}"/>
          </ac:spMkLst>
        </pc:spChg>
        <pc:spChg chg="add mod">
          <ac:chgData name="Alexander Krause" userId="0b5a8c652400661f" providerId="LiveId" clId="{31ABFD99-84AD-4D78-8064-FA3757D44FAB}" dt="2024-07-12T17:13:35.175" v="42"/>
          <ac:spMkLst>
            <pc:docMk/>
            <pc:sldMk cId="812699961" sldId="4782"/>
            <ac:spMk id="15" creationId="{2133C0A3-5860-67FF-3CCD-33C6F0C7F801}"/>
          </ac:spMkLst>
        </pc:spChg>
        <pc:spChg chg="add mod">
          <ac:chgData name="Alexander Krause" userId="0b5a8c652400661f" providerId="LiveId" clId="{31ABFD99-84AD-4D78-8064-FA3757D44FAB}" dt="2024-07-12T17:13:35.175" v="42"/>
          <ac:spMkLst>
            <pc:docMk/>
            <pc:sldMk cId="812699961" sldId="4782"/>
            <ac:spMk id="16" creationId="{EAC25CFC-88EC-BCC6-A473-EF262AD9D7E3}"/>
          </ac:spMkLst>
        </pc:spChg>
        <pc:spChg chg="add mod">
          <ac:chgData name="Alexander Krause" userId="0b5a8c652400661f" providerId="LiveId" clId="{31ABFD99-84AD-4D78-8064-FA3757D44FAB}" dt="2024-07-12T17:13:35.175" v="42"/>
          <ac:spMkLst>
            <pc:docMk/>
            <pc:sldMk cId="812699961" sldId="4782"/>
            <ac:spMk id="17" creationId="{F110DD3A-C052-2328-0426-3214894E3C30}"/>
          </ac:spMkLst>
        </pc:spChg>
        <pc:spChg chg="add mod">
          <ac:chgData name="Alexander Krause" userId="0b5a8c652400661f" providerId="LiveId" clId="{31ABFD99-84AD-4D78-8064-FA3757D44FAB}" dt="2024-07-12T17:13:35.175" v="42"/>
          <ac:spMkLst>
            <pc:docMk/>
            <pc:sldMk cId="812699961" sldId="4782"/>
            <ac:spMk id="19" creationId="{05A6F189-6DFA-DB76-2B79-F1D59462DBBE}"/>
          </ac:spMkLst>
        </pc:spChg>
        <pc:spChg chg="add mod">
          <ac:chgData name="Alexander Krause" userId="0b5a8c652400661f" providerId="LiveId" clId="{31ABFD99-84AD-4D78-8064-FA3757D44FAB}" dt="2024-07-12T17:13:35.175" v="42"/>
          <ac:spMkLst>
            <pc:docMk/>
            <pc:sldMk cId="812699961" sldId="4782"/>
            <ac:spMk id="20" creationId="{1388FDF1-ADFD-1A41-B63B-27D2015DCC55}"/>
          </ac:spMkLst>
        </pc:spChg>
        <pc:spChg chg="mod">
          <ac:chgData name="Alexander Krause" userId="0b5a8c652400661f" providerId="LiveId" clId="{31ABFD99-84AD-4D78-8064-FA3757D44FAB}" dt="2024-07-12T17:14:23.004" v="46"/>
          <ac:spMkLst>
            <pc:docMk/>
            <pc:sldMk cId="812699961" sldId="4782"/>
            <ac:spMk id="22" creationId="{32A4BD69-7764-C654-0CC7-F71E7BF5835F}"/>
          </ac:spMkLst>
        </pc:spChg>
        <pc:spChg chg="mod">
          <ac:chgData name="Alexander Krause" userId="0b5a8c652400661f" providerId="LiveId" clId="{31ABFD99-84AD-4D78-8064-FA3757D44FAB}" dt="2024-07-12T17:14:23.004" v="46"/>
          <ac:spMkLst>
            <pc:docMk/>
            <pc:sldMk cId="812699961" sldId="4782"/>
            <ac:spMk id="27" creationId="{A286D903-6E63-B5C2-EC06-508786984C42}"/>
          </ac:spMkLst>
        </pc:spChg>
        <pc:spChg chg="mod">
          <ac:chgData name="Alexander Krause" userId="0b5a8c652400661f" providerId="LiveId" clId="{31ABFD99-84AD-4D78-8064-FA3757D44FAB}" dt="2024-07-12T17:14:23.004" v="46"/>
          <ac:spMkLst>
            <pc:docMk/>
            <pc:sldMk cId="812699961" sldId="4782"/>
            <ac:spMk id="28" creationId="{9679CB5E-F3A1-D960-10A3-9F0C1CF76594}"/>
          </ac:spMkLst>
        </pc:spChg>
        <pc:spChg chg="mod">
          <ac:chgData name="Alexander Krause" userId="0b5a8c652400661f" providerId="LiveId" clId="{31ABFD99-84AD-4D78-8064-FA3757D44FAB}" dt="2024-07-12T17:14:23.004" v="46"/>
          <ac:spMkLst>
            <pc:docMk/>
            <pc:sldMk cId="812699961" sldId="4782"/>
            <ac:spMk id="29" creationId="{9490A99A-2C26-5E64-C053-F03103140C7E}"/>
          </ac:spMkLst>
        </pc:spChg>
        <pc:spChg chg="mod">
          <ac:chgData name="Alexander Krause" userId="0b5a8c652400661f" providerId="LiveId" clId="{31ABFD99-84AD-4D78-8064-FA3757D44FAB}" dt="2024-07-12T17:14:23.004" v="46"/>
          <ac:spMkLst>
            <pc:docMk/>
            <pc:sldMk cId="812699961" sldId="4782"/>
            <ac:spMk id="30" creationId="{B8ED28D6-DB21-3A0A-6CA3-6F5FE85129EA}"/>
          </ac:spMkLst>
        </pc:spChg>
        <pc:spChg chg="mod">
          <ac:chgData name="Alexander Krause" userId="0b5a8c652400661f" providerId="LiveId" clId="{31ABFD99-84AD-4D78-8064-FA3757D44FAB}" dt="2024-07-12T17:14:23.004" v="46"/>
          <ac:spMkLst>
            <pc:docMk/>
            <pc:sldMk cId="812699961" sldId="4782"/>
            <ac:spMk id="34" creationId="{1455779F-C6B9-5223-09CF-BA493BA0C8E7}"/>
          </ac:spMkLst>
        </pc:spChg>
        <pc:spChg chg="del">
          <ac:chgData name="Alexander Krause" userId="0b5a8c652400661f" providerId="LiveId" clId="{31ABFD99-84AD-4D78-8064-FA3757D44FAB}" dt="2024-07-12T17:16:22.270" v="86" actId="478"/>
          <ac:spMkLst>
            <pc:docMk/>
            <pc:sldMk cId="812699961" sldId="4782"/>
            <ac:spMk id="35" creationId="{61F1AFDF-71B6-EDCB-0D0D-FC0616F169F0}"/>
          </ac:spMkLst>
        </pc:spChg>
        <pc:spChg chg="del">
          <ac:chgData name="Alexander Krause" userId="0b5a8c652400661f" providerId="LiveId" clId="{31ABFD99-84AD-4D78-8064-FA3757D44FAB}" dt="2024-07-12T17:04:53.943" v="6" actId="478"/>
          <ac:spMkLst>
            <pc:docMk/>
            <pc:sldMk cId="812699961" sldId="4782"/>
            <ac:spMk id="36" creationId="{4EA32BC0-8292-4C16-7002-7C88CC0B4B31}"/>
          </ac:spMkLst>
        </pc:spChg>
        <pc:spChg chg="add del mod">
          <ac:chgData name="Alexander Krause" userId="0b5a8c652400661f" providerId="LiveId" clId="{31ABFD99-84AD-4D78-8064-FA3757D44FAB}" dt="2024-07-12T17:06:56.782" v="15" actId="478"/>
          <ac:spMkLst>
            <pc:docMk/>
            <pc:sldMk cId="812699961" sldId="4782"/>
            <ac:spMk id="37" creationId="{72F24A3D-67C0-F1AB-DA18-7F76122A2BE0}"/>
          </ac:spMkLst>
        </pc:spChg>
        <pc:spChg chg="del">
          <ac:chgData name="Alexander Krause" userId="0b5a8c652400661f" providerId="LiveId" clId="{31ABFD99-84AD-4D78-8064-FA3757D44FAB}" dt="2024-07-12T17:16:22.270" v="86" actId="478"/>
          <ac:spMkLst>
            <pc:docMk/>
            <pc:sldMk cId="812699961" sldId="4782"/>
            <ac:spMk id="38" creationId="{8B5F5CF5-FEAB-4C34-D3BE-0EE018461A79}"/>
          </ac:spMkLst>
        </pc:spChg>
        <pc:spChg chg="add mod">
          <ac:chgData name="Alexander Krause" userId="0b5a8c652400661f" providerId="LiveId" clId="{31ABFD99-84AD-4D78-8064-FA3757D44FAB}" dt="2024-07-12T17:14:23.004" v="46"/>
          <ac:spMkLst>
            <pc:docMk/>
            <pc:sldMk cId="812699961" sldId="4782"/>
            <ac:spMk id="43" creationId="{79589A89-C2EB-C188-4598-A713E687D16F}"/>
          </ac:spMkLst>
        </pc:spChg>
        <pc:spChg chg="mod">
          <ac:chgData name="Alexander Krause" userId="0b5a8c652400661f" providerId="LiveId" clId="{31ABFD99-84AD-4D78-8064-FA3757D44FAB}" dt="2024-07-12T17:16:28.952" v="91" actId="1036"/>
          <ac:spMkLst>
            <pc:docMk/>
            <pc:sldMk cId="812699961" sldId="4782"/>
            <ac:spMk id="46" creationId="{E7A80DFB-5CE7-E50B-90D7-CF4CC898C9B5}"/>
          </ac:spMkLst>
        </pc:spChg>
        <pc:spChg chg="del mod">
          <ac:chgData name="Alexander Krause" userId="0b5a8c652400661f" providerId="LiveId" clId="{31ABFD99-84AD-4D78-8064-FA3757D44FAB}" dt="2024-07-12T17:07:21.856" v="19" actId="478"/>
          <ac:spMkLst>
            <pc:docMk/>
            <pc:sldMk cId="812699961" sldId="4782"/>
            <ac:spMk id="51" creationId="{BE7A5B88-D9D8-73FE-6850-C4820862D0DC}"/>
          </ac:spMkLst>
        </pc:spChg>
        <pc:spChg chg="mod">
          <ac:chgData name="Alexander Krause" userId="0b5a8c652400661f" providerId="LiveId" clId="{31ABFD99-84AD-4D78-8064-FA3757D44FAB}" dt="2024-07-12T17:16:28.952" v="91" actId="1036"/>
          <ac:spMkLst>
            <pc:docMk/>
            <pc:sldMk cId="812699961" sldId="4782"/>
            <ac:spMk id="56" creationId="{696D9EBB-3811-3A57-72FA-D2C29C28FE8A}"/>
          </ac:spMkLst>
        </pc:spChg>
        <pc:spChg chg="mod">
          <ac:chgData name="Alexander Krause" userId="0b5a8c652400661f" providerId="LiveId" clId="{31ABFD99-84AD-4D78-8064-FA3757D44FAB}" dt="2024-07-12T17:16:28.952" v="91" actId="1036"/>
          <ac:spMkLst>
            <pc:docMk/>
            <pc:sldMk cId="812699961" sldId="4782"/>
            <ac:spMk id="57" creationId="{7BC714DA-30F3-4E0E-4ED4-01DC69DA2416}"/>
          </ac:spMkLst>
        </pc:spChg>
        <pc:spChg chg="mod">
          <ac:chgData name="Alexander Krause" userId="0b5a8c652400661f" providerId="LiveId" clId="{31ABFD99-84AD-4D78-8064-FA3757D44FAB}" dt="2024-07-12T17:16:28.952" v="91" actId="1036"/>
          <ac:spMkLst>
            <pc:docMk/>
            <pc:sldMk cId="812699961" sldId="4782"/>
            <ac:spMk id="60" creationId="{D39CBE8C-435B-D92E-C0F4-E703F088A7D0}"/>
          </ac:spMkLst>
        </pc:spChg>
        <pc:spChg chg="mod">
          <ac:chgData name="Alexander Krause" userId="0b5a8c652400661f" providerId="LiveId" clId="{31ABFD99-84AD-4D78-8064-FA3757D44FAB}" dt="2024-07-12T17:16:28.952" v="91" actId="1036"/>
          <ac:spMkLst>
            <pc:docMk/>
            <pc:sldMk cId="812699961" sldId="4782"/>
            <ac:spMk id="61" creationId="{A16464B1-7E16-E91A-E1CD-9ABB33394777}"/>
          </ac:spMkLst>
        </pc:spChg>
        <pc:spChg chg="mod">
          <ac:chgData name="Alexander Krause" userId="0b5a8c652400661f" providerId="LiveId" clId="{31ABFD99-84AD-4D78-8064-FA3757D44FAB}" dt="2024-07-12T17:16:28.952" v="91" actId="1036"/>
          <ac:spMkLst>
            <pc:docMk/>
            <pc:sldMk cId="812699961" sldId="4782"/>
            <ac:spMk id="63" creationId="{C720DDEF-DE7F-F3FC-1225-1D8D4FC101C0}"/>
          </ac:spMkLst>
        </pc:spChg>
        <pc:spChg chg="add mod">
          <ac:chgData name="Alexander Krause" userId="0b5a8c652400661f" providerId="LiveId" clId="{31ABFD99-84AD-4D78-8064-FA3757D44FAB}" dt="2024-07-12T17:16:28.952" v="91" actId="1036"/>
          <ac:spMkLst>
            <pc:docMk/>
            <pc:sldMk cId="812699961" sldId="4782"/>
            <ac:spMk id="64" creationId="{C5315357-1428-37CD-19F1-0D8FC79BBBEF}"/>
          </ac:spMkLst>
        </pc:spChg>
        <pc:spChg chg="add mod">
          <ac:chgData name="Alexander Krause" userId="0b5a8c652400661f" providerId="LiveId" clId="{31ABFD99-84AD-4D78-8064-FA3757D44FAB}" dt="2024-07-12T17:17:17.306" v="95" actId="1076"/>
          <ac:spMkLst>
            <pc:docMk/>
            <pc:sldMk cId="812699961" sldId="4782"/>
            <ac:spMk id="65" creationId="{8FBE69AA-CA2A-2561-E868-A6040493181D}"/>
          </ac:spMkLst>
        </pc:spChg>
        <pc:grpChg chg="del mod">
          <ac:chgData name="Alexander Krause" userId="0b5a8c652400661f" providerId="LiveId" clId="{31ABFD99-84AD-4D78-8064-FA3757D44FAB}" dt="2024-07-12T17:16:22.270" v="86" actId="478"/>
          <ac:grpSpMkLst>
            <pc:docMk/>
            <pc:sldMk cId="812699961" sldId="4782"/>
            <ac:grpSpMk id="3" creationId="{1307D6EE-519A-1074-0CD9-0DC8C246297C}"/>
          </ac:grpSpMkLst>
        </pc:grpChg>
        <pc:grpChg chg="add mod">
          <ac:chgData name="Alexander Krause" userId="0b5a8c652400661f" providerId="LiveId" clId="{31ABFD99-84AD-4D78-8064-FA3757D44FAB}" dt="2024-07-12T17:14:23.004" v="46"/>
          <ac:grpSpMkLst>
            <pc:docMk/>
            <pc:sldMk cId="812699961" sldId="4782"/>
            <ac:grpSpMk id="21" creationId="{F1D9AB28-12D1-0868-9F63-E46964AB1389}"/>
          </ac:grpSpMkLst>
        </pc:grpChg>
        <pc:grpChg chg="add mod">
          <ac:chgData name="Alexander Krause" userId="0b5a8c652400661f" providerId="LiveId" clId="{31ABFD99-84AD-4D78-8064-FA3757D44FAB}" dt="2024-07-12T17:16:28.952" v="91" actId="1036"/>
          <ac:grpSpMkLst>
            <pc:docMk/>
            <pc:sldMk cId="812699961" sldId="4782"/>
            <ac:grpSpMk id="45" creationId="{44112C5B-A645-2318-8B8E-CE149EA64558}"/>
          </ac:grpSpMkLst>
        </pc:grpChg>
        <pc:cxnChg chg="mod">
          <ac:chgData name="Alexander Krause" userId="0b5a8c652400661f" providerId="LiveId" clId="{31ABFD99-84AD-4D78-8064-FA3757D44FAB}" dt="2024-07-12T17:14:04.534" v="45" actId="14100"/>
          <ac:cxnSpMkLst>
            <pc:docMk/>
            <pc:sldMk cId="812699961" sldId="4782"/>
            <ac:cxnSpMk id="5" creationId="{B5479048-BD77-6B49-2363-6B61D86B4220}"/>
          </ac:cxnSpMkLst>
        </pc:cxnChg>
        <pc:cxnChg chg="mod">
          <ac:chgData name="Alexander Krause" userId="0b5a8c652400661f" providerId="LiveId" clId="{31ABFD99-84AD-4D78-8064-FA3757D44FAB}" dt="2024-07-12T17:14:04.534" v="45" actId="14100"/>
          <ac:cxnSpMkLst>
            <pc:docMk/>
            <pc:sldMk cId="812699961" sldId="4782"/>
            <ac:cxnSpMk id="6" creationId="{0ACEFF3A-BE09-D4EF-6B93-A7AF9A3DE980}"/>
          </ac:cxnSpMkLst>
        </pc:cxnChg>
        <pc:cxnChg chg="mod">
          <ac:chgData name="Alexander Krause" userId="0b5a8c652400661f" providerId="LiveId" clId="{31ABFD99-84AD-4D78-8064-FA3757D44FAB}" dt="2024-07-12T17:14:04.534" v="45" actId="14100"/>
          <ac:cxnSpMkLst>
            <pc:docMk/>
            <pc:sldMk cId="812699961" sldId="4782"/>
            <ac:cxnSpMk id="7" creationId="{6378158C-980B-A798-A29D-F44582D7E309}"/>
          </ac:cxnSpMkLst>
        </pc:cxnChg>
        <pc:cxnChg chg="mod">
          <ac:chgData name="Alexander Krause" userId="0b5a8c652400661f" providerId="LiveId" clId="{31ABFD99-84AD-4D78-8064-FA3757D44FAB}" dt="2024-07-12T17:14:04.534" v="45" actId="14100"/>
          <ac:cxnSpMkLst>
            <pc:docMk/>
            <pc:sldMk cId="812699961" sldId="4782"/>
            <ac:cxnSpMk id="8" creationId="{B9DABA90-2288-41E5-A3AA-EEA3DA922662}"/>
          </ac:cxnSpMkLst>
        </pc:cxnChg>
        <pc:cxnChg chg="mod">
          <ac:chgData name="Alexander Krause" userId="0b5a8c652400661f" providerId="LiveId" clId="{31ABFD99-84AD-4D78-8064-FA3757D44FAB}" dt="2024-07-12T17:14:04.534" v="45" actId="14100"/>
          <ac:cxnSpMkLst>
            <pc:docMk/>
            <pc:sldMk cId="812699961" sldId="4782"/>
            <ac:cxnSpMk id="13" creationId="{12F0169D-5470-9D52-A71C-C504E7E67F5F}"/>
          </ac:cxnSpMkLst>
        </pc:cxnChg>
        <pc:cxnChg chg="mod">
          <ac:chgData name="Alexander Krause" userId="0b5a8c652400661f" providerId="LiveId" clId="{31ABFD99-84AD-4D78-8064-FA3757D44FAB}" dt="2024-07-12T17:14:23.004" v="46"/>
          <ac:cxnSpMkLst>
            <pc:docMk/>
            <pc:sldMk cId="812699961" sldId="4782"/>
            <ac:cxnSpMk id="23" creationId="{F01FB0F2-3512-4E26-2C6D-1B0C03E772E4}"/>
          </ac:cxnSpMkLst>
        </pc:cxnChg>
        <pc:cxnChg chg="mod">
          <ac:chgData name="Alexander Krause" userId="0b5a8c652400661f" providerId="LiveId" clId="{31ABFD99-84AD-4D78-8064-FA3757D44FAB}" dt="2024-07-12T17:14:23.004" v="46"/>
          <ac:cxnSpMkLst>
            <pc:docMk/>
            <pc:sldMk cId="812699961" sldId="4782"/>
            <ac:cxnSpMk id="24" creationId="{AA1C9C82-6425-7C1B-7010-8D1B247E9812}"/>
          </ac:cxnSpMkLst>
        </pc:cxnChg>
        <pc:cxnChg chg="mod">
          <ac:chgData name="Alexander Krause" userId="0b5a8c652400661f" providerId="LiveId" clId="{31ABFD99-84AD-4D78-8064-FA3757D44FAB}" dt="2024-07-12T17:14:23.004" v="46"/>
          <ac:cxnSpMkLst>
            <pc:docMk/>
            <pc:sldMk cId="812699961" sldId="4782"/>
            <ac:cxnSpMk id="25" creationId="{8FEFC4B2-F690-24AF-A1A0-AF88778AD5C7}"/>
          </ac:cxnSpMkLst>
        </pc:cxnChg>
        <pc:cxnChg chg="mod">
          <ac:chgData name="Alexander Krause" userId="0b5a8c652400661f" providerId="LiveId" clId="{31ABFD99-84AD-4D78-8064-FA3757D44FAB}" dt="2024-07-12T17:14:23.004" v="46"/>
          <ac:cxnSpMkLst>
            <pc:docMk/>
            <pc:sldMk cId="812699961" sldId="4782"/>
            <ac:cxnSpMk id="26" creationId="{0AAC25D1-8865-A96D-2286-C34E83B37A56}"/>
          </ac:cxnSpMkLst>
        </pc:cxnChg>
        <pc:cxnChg chg="mod">
          <ac:chgData name="Alexander Krause" userId="0b5a8c652400661f" providerId="LiveId" clId="{31ABFD99-84AD-4D78-8064-FA3757D44FAB}" dt="2024-07-12T17:14:23.004" v="46"/>
          <ac:cxnSpMkLst>
            <pc:docMk/>
            <pc:sldMk cId="812699961" sldId="4782"/>
            <ac:cxnSpMk id="31" creationId="{CF6E8789-E725-2190-4141-7B17200244C0}"/>
          </ac:cxnSpMkLst>
        </pc:cxnChg>
        <pc:cxnChg chg="mod">
          <ac:chgData name="Alexander Krause" userId="0b5a8c652400661f" providerId="LiveId" clId="{31ABFD99-84AD-4D78-8064-FA3757D44FAB}" dt="2024-07-12T17:16:28.952" v="91" actId="1036"/>
          <ac:cxnSpMkLst>
            <pc:docMk/>
            <pc:sldMk cId="812699961" sldId="4782"/>
            <ac:cxnSpMk id="48" creationId="{DCDB87F4-C7EE-612C-E5DB-1BD57B08B612}"/>
          </ac:cxnSpMkLst>
        </pc:cxnChg>
        <pc:cxnChg chg="mod">
          <ac:chgData name="Alexander Krause" userId="0b5a8c652400661f" providerId="LiveId" clId="{31ABFD99-84AD-4D78-8064-FA3757D44FAB}" dt="2024-07-12T17:16:28.952" v="91" actId="1036"/>
          <ac:cxnSpMkLst>
            <pc:docMk/>
            <pc:sldMk cId="812699961" sldId="4782"/>
            <ac:cxnSpMk id="50" creationId="{56E49AC8-818A-F3AC-AEE5-3FCEA4554D63}"/>
          </ac:cxnSpMkLst>
        </pc:cxnChg>
        <pc:cxnChg chg="mod">
          <ac:chgData name="Alexander Krause" userId="0b5a8c652400661f" providerId="LiveId" clId="{31ABFD99-84AD-4D78-8064-FA3757D44FAB}" dt="2024-07-12T17:16:28.952" v="91" actId="1036"/>
          <ac:cxnSpMkLst>
            <pc:docMk/>
            <pc:sldMk cId="812699961" sldId="4782"/>
            <ac:cxnSpMk id="54" creationId="{A5DA14E1-5227-D06F-C60C-BDBE6BB1CC88}"/>
          </ac:cxnSpMkLst>
        </pc:cxnChg>
        <pc:cxnChg chg="mod">
          <ac:chgData name="Alexander Krause" userId="0b5a8c652400661f" providerId="LiveId" clId="{31ABFD99-84AD-4D78-8064-FA3757D44FAB}" dt="2024-07-12T17:16:28.952" v="91" actId="1036"/>
          <ac:cxnSpMkLst>
            <pc:docMk/>
            <pc:sldMk cId="812699961" sldId="4782"/>
            <ac:cxnSpMk id="55" creationId="{D7165DD0-4961-5334-E3A3-F37D73001EEB}"/>
          </ac:cxnSpMkLst>
        </pc:cxnChg>
        <pc:cxnChg chg="mod">
          <ac:chgData name="Alexander Krause" userId="0b5a8c652400661f" providerId="LiveId" clId="{31ABFD99-84AD-4D78-8064-FA3757D44FAB}" dt="2024-07-12T17:16:28.952" v="91" actId="1036"/>
          <ac:cxnSpMkLst>
            <pc:docMk/>
            <pc:sldMk cId="812699961" sldId="4782"/>
            <ac:cxnSpMk id="62" creationId="{644B4D65-CBD0-B85C-E7AD-B523133F7717}"/>
          </ac:cxnSpMkLst>
        </pc:cxnChg>
      </pc:sldChg>
      <pc:sldChg chg="addSp delSp modSp mod delAnim modAnim">
        <pc:chgData name="Alexander Krause" userId="0b5a8c652400661f" providerId="LiveId" clId="{31ABFD99-84AD-4D78-8064-FA3757D44FAB}" dt="2024-07-12T17:16:09.441" v="85" actId="1076"/>
        <pc:sldMkLst>
          <pc:docMk/>
          <pc:sldMk cId="904799067" sldId="4783"/>
        </pc:sldMkLst>
        <pc:spChg chg="mod">
          <ac:chgData name="Alexander Krause" userId="0b5a8c652400661f" providerId="LiveId" clId="{31ABFD99-84AD-4D78-8064-FA3757D44FAB}" dt="2024-07-12T17:15:44.266" v="82" actId="1076"/>
          <ac:spMkLst>
            <pc:docMk/>
            <pc:sldMk cId="904799067" sldId="4783"/>
            <ac:spMk id="9" creationId="{786107F8-6EF3-DD50-70FF-1159F680FE79}"/>
          </ac:spMkLst>
        </pc:spChg>
        <pc:spChg chg="mod">
          <ac:chgData name="Alexander Krause" userId="0b5a8c652400661f" providerId="LiveId" clId="{31ABFD99-84AD-4D78-8064-FA3757D44FAB}" dt="2024-07-12T17:16:06.353" v="84" actId="1076"/>
          <ac:spMkLst>
            <pc:docMk/>
            <pc:sldMk cId="904799067" sldId="4783"/>
            <ac:spMk id="10" creationId="{FB1BFBD2-DC90-04D0-50E8-11C54861FDB0}"/>
          </ac:spMkLst>
        </pc:spChg>
        <pc:spChg chg="mod">
          <ac:chgData name="Alexander Krause" userId="0b5a8c652400661f" providerId="LiveId" clId="{31ABFD99-84AD-4D78-8064-FA3757D44FAB}" dt="2024-07-12T17:16:02.102" v="83" actId="1076"/>
          <ac:spMkLst>
            <pc:docMk/>
            <pc:sldMk cId="904799067" sldId="4783"/>
            <ac:spMk id="11" creationId="{A2A3B9FD-79A1-CD72-DCB8-353EA268DA8C}"/>
          </ac:spMkLst>
        </pc:spChg>
        <pc:spChg chg="mod">
          <ac:chgData name="Alexander Krause" userId="0b5a8c652400661f" providerId="LiveId" clId="{31ABFD99-84AD-4D78-8064-FA3757D44FAB}" dt="2024-07-12T17:16:09.441" v="85" actId="1076"/>
          <ac:spMkLst>
            <pc:docMk/>
            <pc:sldMk cId="904799067" sldId="4783"/>
            <ac:spMk id="12" creationId="{F159841F-1D99-B0CB-267B-85E530C68274}"/>
          </ac:spMkLst>
        </pc:spChg>
        <pc:spChg chg="add mod">
          <ac:chgData name="Alexander Krause" userId="0b5a8c652400661f" providerId="LiveId" clId="{31ABFD99-84AD-4D78-8064-FA3757D44FAB}" dt="2024-07-12T17:05:31.758" v="11"/>
          <ac:spMkLst>
            <pc:docMk/>
            <pc:sldMk cId="904799067" sldId="4783"/>
            <ac:spMk id="15" creationId="{81E1EB50-511B-0824-8D48-0EFEED349D4A}"/>
          </ac:spMkLst>
        </pc:spChg>
        <pc:spChg chg="add del mod">
          <ac:chgData name="Alexander Krause" userId="0b5a8c652400661f" providerId="LiveId" clId="{31ABFD99-84AD-4D78-8064-FA3757D44FAB}" dt="2024-07-12T17:07:38.686" v="21" actId="478"/>
          <ac:spMkLst>
            <pc:docMk/>
            <pc:sldMk cId="904799067" sldId="4783"/>
            <ac:spMk id="16" creationId="{532B14D1-4B41-6BA3-8A33-724E580B04CA}"/>
          </ac:spMkLst>
        </pc:spChg>
        <pc:spChg chg="add mod">
          <ac:chgData name="Alexander Krause" userId="0b5a8c652400661f" providerId="LiveId" clId="{31ABFD99-84AD-4D78-8064-FA3757D44FAB}" dt="2024-07-12T17:05:31.758" v="11"/>
          <ac:spMkLst>
            <pc:docMk/>
            <pc:sldMk cId="904799067" sldId="4783"/>
            <ac:spMk id="17" creationId="{0BCBEE9A-C206-ADBD-9529-F88EC9B3C1A0}"/>
          </ac:spMkLst>
        </pc:spChg>
        <pc:spChg chg="add mod">
          <ac:chgData name="Alexander Krause" userId="0b5a8c652400661f" providerId="LiveId" clId="{31ABFD99-84AD-4D78-8064-FA3757D44FAB}" dt="2024-07-12T17:05:31.758" v="11"/>
          <ac:spMkLst>
            <pc:docMk/>
            <pc:sldMk cId="904799067" sldId="4783"/>
            <ac:spMk id="18" creationId="{A0D529A3-2654-8ECB-B215-6ADEEBE5F15A}"/>
          </ac:spMkLst>
        </pc:spChg>
        <pc:spChg chg="add del mod">
          <ac:chgData name="Alexander Krause" userId="0b5a8c652400661f" providerId="LiveId" clId="{31ABFD99-84AD-4D78-8064-FA3757D44FAB}" dt="2024-07-12T17:07:00.267" v="17" actId="478"/>
          <ac:spMkLst>
            <pc:docMk/>
            <pc:sldMk cId="904799067" sldId="4783"/>
            <ac:spMk id="19" creationId="{BF206C3E-A404-3A58-61A4-341F41DF65B2}"/>
          </ac:spMkLst>
        </pc:spChg>
        <pc:spChg chg="add mod">
          <ac:chgData name="Alexander Krause" userId="0b5a8c652400661f" providerId="LiveId" clId="{31ABFD99-84AD-4D78-8064-FA3757D44FAB}" dt="2024-07-12T17:15:37.509" v="69" actId="1076"/>
          <ac:spMkLst>
            <pc:docMk/>
            <pc:sldMk cId="904799067" sldId="4783"/>
            <ac:spMk id="20" creationId="{5998A2F1-E5FF-4C94-0F19-279864655488}"/>
          </ac:spMkLst>
        </pc:spChg>
        <pc:spChg chg="del">
          <ac:chgData name="Alexander Krause" userId="0b5a8c652400661f" providerId="LiveId" clId="{31ABFD99-84AD-4D78-8064-FA3757D44FAB}" dt="2024-07-12T17:05:06.052" v="8" actId="478"/>
          <ac:spMkLst>
            <pc:docMk/>
            <pc:sldMk cId="904799067" sldId="4783"/>
            <ac:spMk id="36" creationId="{4EA32BC0-8292-4C16-7002-7C88CC0B4B31}"/>
          </ac:spMkLst>
        </pc:spChg>
        <pc:spChg chg="del mod">
          <ac:chgData name="Alexander Krause" userId="0b5a8c652400661f" providerId="LiveId" clId="{31ABFD99-84AD-4D78-8064-FA3757D44FAB}" dt="2024-07-12T17:05:30.610" v="10" actId="478"/>
          <ac:spMkLst>
            <pc:docMk/>
            <pc:sldMk cId="904799067" sldId="4783"/>
            <ac:spMk id="37" creationId="{72F24A3D-67C0-F1AB-DA18-7F76122A2BE0}"/>
          </ac:spMkLst>
        </pc:spChg>
        <pc:spChg chg="del">
          <ac:chgData name="Alexander Krause" userId="0b5a8c652400661f" providerId="LiveId" clId="{31ABFD99-84AD-4D78-8064-FA3757D44FAB}" dt="2024-07-12T17:05:30.610" v="10" actId="478"/>
          <ac:spMkLst>
            <pc:docMk/>
            <pc:sldMk cId="904799067" sldId="4783"/>
            <ac:spMk id="42" creationId="{E0383EE7-3096-E527-CDF8-903360EAB01A}"/>
          </ac:spMkLst>
        </pc:spChg>
        <pc:spChg chg="del">
          <ac:chgData name="Alexander Krause" userId="0b5a8c652400661f" providerId="LiveId" clId="{31ABFD99-84AD-4D78-8064-FA3757D44FAB}" dt="2024-07-12T17:05:30.610" v="10" actId="478"/>
          <ac:spMkLst>
            <pc:docMk/>
            <pc:sldMk cId="904799067" sldId="4783"/>
            <ac:spMk id="51" creationId="{BE7A5B88-D9D8-73FE-6850-C4820862D0DC}"/>
          </ac:spMkLst>
        </pc:spChg>
      </pc:sldChg>
      <pc:sldChg chg="modSp mod">
        <pc:chgData name="Alexander Krause" userId="0b5a8c652400661f" providerId="LiveId" clId="{31ABFD99-84AD-4D78-8064-FA3757D44FAB}" dt="2024-07-12T17:15:40.181" v="76" actId="207"/>
        <pc:sldMkLst>
          <pc:docMk/>
          <pc:sldMk cId="3845758411" sldId="4788"/>
        </pc:sldMkLst>
        <pc:spChg chg="mod">
          <ac:chgData name="Alexander Krause" userId="0b5a8c652400661f" providerId="LiveId" clId="{31ABFD99-84AD-4D78-8064-FA3757D44FAB}" dt="2024-07-12T17:15:40.181" v="76" actId="207"/>
          <ac:spMkLst>
            <pc:docMk/>
            <pc:sldMk cId="3845758411" sldId="4788"/>
            <ac:spMk id="16" creationId="{76D7063E-4F8E-F105-A653-009B17A95B3E}"/>
          </ac:spMkLst>
        </pc:spChg>
        <pc:spChg chg="mod">
          <ac:chgData name="Alexander Krause" userId="0b5a8c652400661f" providerId="LiveId" clId="{31ABFD99-84AD-4D78-8064-FA3757D44FAB}" dt="2024-07-12T17:15:40.181" v="76" actId="207"/>
          <ac:spMkLst>
            <pc:docMk/>
            <pc:sldMk cId="3845758411" sldId="4788"/>
            <ac:spMk id="17" creationId="{6C9D39C2-7CB1-C19A-879B-81B2C172ABE3}"/>
          </ac:spMkLst>
        </pc:spChg>
        <pc:grpChg chg="mod">
          <ac:chgData name="Alexander Krause" userId="0b5a8c652400661f" providerId="LiveId" clId="{31ABFD99-84AD-4D78-8064-FA3757D44FAB}" dt="2024-07-12T17:15:40.181" v="76" actId="207"/>
          <ac:grpSpMkLst>
            <pc:docMk/>
            <pc:sldMk cId="3845758411" sldId="4788"/>
            <ac:grpSpMk id="15" creationId="{AFBFCC55-E99A-5FE8-AF21-8372D6643C18}"/>
          </ac:grpSpMkLst>
        </pc:grpChg>
      </pc:sldChg>
      <pc:sldChg chg="addSp modSp mod ord modAnim">
        <pc:chgData name="Alexander Krause" userId="0b5a8c652400661f" providerId="LiveId" clId="{31ABFD99-84AD-4D78-8064-FA3757D44FAB}" dt="2024-07-14T19:39:54.727" v="1210" actId="20577"/>
        <pc:sldMkLst>
          <pc:docMk/>
          <pc:sldMk cId="1596298377" sldId="4790"/>
        </pc:sldMkLst>
        <pc:spChg chg="mod">
          <ac:chgData name="Alexander Krause" userId="0b5a8c652400661f" providerId="LiveId" clId="{31ABFD99-84AD-4D78-8064-FA3757D44FAB}" dt="2024-07-14T19:39:49.908" v="1208" actId="20577"/>
          <ac:spMkLst>
            <pc:docMk/>
            <pc:sldMk cId="1596298377" sldId="4790"/>
            <ac:spMk id="2" creationId="{0C73BE61-068C-09A4-EEF2-E9A830EB4C48}"/>
          </ac:spMkLst>
        </pc:spChg>
        <pc:spChg chg="mod">
          <ac:chgData name="Alexander Krause" userId="0b5a8c652400661f" providerId="LiveId" clId="{31ABFD99-84AD-4D78-8064-FA3757D44FAB}" dt="2024-07-14T18:18:39.048" v="1070" actId="164"/>
          <ac:spMkLst>
            <pc:docMk/>
            <pc:sldMk cId="1596298377" sldId="4790"/>
            <ac:spMk id="11" creationId="{956CF6EC-D2D2-14CC-E895-A78BB7DB7685}"/>
          </ac:spMkLst>
        </pc:spChg>
        <pc:spChg chg="mod">
          <ac:chgData name="Alexander Krause" userId="0b5a8c652400661f" providerId="LiveId" clId="{31ABFD99-84AD-4D78-8064-FA3757D44FAB}" dt="2024-07-14T18:18:21.690" v="1069" actId="408"/>
          <ac:spMkLst>
            <pc:docMk/>
            <pc:sldMk cId="1596298377" sldId="4790"/>
            <ac:spMk id="13" creationId="{31B8F1B5-00BE-E400-46BF-D3AD8D86B25E}"/>
          </ac:spMkLst>
        </pc:spChg>
        <pc:spChg chg="mod">
          <ac:chgData name="Alexander Krause" userId="0b5a8c652400661f" providerId="LiveId" clId="{31ABFD99-84AD-4D78-8064-FA3757D44FAB}" dt="2024-07-14T18:18:39.048" v="1070" actId="164"/>
          <ac:spMkLst>
            <pc:docMk/>
            <pc:sldMk cId="1596298377" sldId="4790"/>
            <ac:spMk id="15" creationId="{BB3760F4-24DC-5CB3-1BB1-870CD9BF6D05}"/>
          </ac:spMkLst>
        </pc:spChg>
        <pc:spChg chg="mod">
          <ac:chgData name="Alexander Krause" userId="0b5a8c652400661f" providerId="LiveId" clId="{31ABFD99-84AD-4D78-8064-FA3757D44FAB}" dt="2024-07-14T19:39:54.727" v="1210" actId="20577"/>
          <ac:spMkLst>
            <pc:docMk/>
            <pc:sldMk cId="1596298377" sldId="4790"/>
            <ac:spMk id="17" creationId="{DB32FC12-12DC-A022-3842-3824626B4304}"/>
          </ac:spMkLst>
        </pc:spChg>
        <pc:spChg chg="mod">
          <ac:chgData name="Alexander Krause" userId="0b5a8c652400661f" providerId="LiveId" clId="{31ABFD99-84AD-4D78-8064-FA3757D44FAB}" dt="2024-07-14T18:27:50.294" v="1119" actId="20577"/>
          <ac:spMkLst>
            <pc:docMk/>
            <pc:sldMk cId="1596298377" sldId="4790"/>
            <ac:spMk id="19" creationId="{7FD5FA0D-2537-AF08-EC1F-9EFE3525D413}"/>
          </ac:spMkLst>
        </pc:spChg>
        <pc:grpChg chg="add mod">
          <ac:chgData name="Alexander Krause" userId="0b5a8c652400661f" providerId="LiveId" clId="{31ABFD99-84AD-4D78-8064-FA3757D44FAB}" dt="2024-07-14T18:27:53.705" v="1121" actId="1076"/>
          <ac:grpSpMkLst>
            <pc:docMk/>
            <pc:sldMk cId="1596298377" sldId="4790"/>
            <ac:grpSpMk id="5" creationId="{E494C531-CACC-A0A5-84CE-C7E038CC7614}"/>
          </ac:grpSpMkLst>
        </pc:grpChg>
        <pc:grpChg chg="add mod">
          <ac:chgData name="Alexander Krause" userId="0b5a8c652400661f" providerId="LiveId" clId="{31ABFD99-84AD-4D78-8064-FA3757D44FAB}" dt="2024-07-14T18:19:23.330" v="1076" actId="14100"/>
          <ac:grpSpMkLst>
            <pc:docMk/>
            <pc:sldMk cId="1596298377" sldId="4790"/>
            <ac:grpSpMk id="14" creationId="{30554D5A-D3EA-352F-1805-EAE93582A1BC}"/>
          </ac:grpSpMkLst>
        </pc:grpChg>
        <pc:picChg chg="mod">
          <ac:chgData name="Alexander Krause" userId="0b5a8c652400661f" providerId="LiveId" clId="{31ABFD99-84AD-4D78-8064-FA3757D44FAB}" dt="2024-07-14T18:18:39.048" v="1070" actId="164"/>
          <ac:picMkLst>
            <pc:docMk/>
            <pc:sldMk cId="1596298377" sldId="4790"/>
            <ac:picMk id="16" creationId="{F88DE854-C161-9907-4F3C-F883E1D5E2E5}"/>
          </ac:picMkLst>
        </pc:picChg>
        <pc:picChg chg="mod">
          <ac:chgData name="Alexander Krause" userId="0b5a8c652400661f" providerId="LiveId" clId="{31ABFD99-84AD-4D78-8064-FA3757D44FAB}" dt="2024-07-14T18:19:23.330" v="1076" actId="14100"/>
          <ac:picMkLst>
            <pc:docMk/>
            <pc:sldMk cId="1596298377" sldId="4790"/>
            <ac:picMk id="18" creationId="{38B8C0DA-08DA-C6A5-0F62-4CBBE983607A}"/>
          </ac:picMkLst>
        </pc:picChg>
        <pc:picChg chg="mod">
          <ac:chgData name="Alexander Krause" userId="0b5a8c652400661f" providerId="LiveId" clId="{31ABFD99-84AD-4D78-8064-FA3757D44FAB}" dt="2024-07-14T18:19:04.893" v="1073" actId="164"/>
          <ac:picMkLst>
            <pc:docMk/>
            <pc:sldMk cId="1596298377" sldId="4790"/>
            <ac:picMk id="31" creationId="{3273BABC-202F-191C-70CE-BECF2142B24C}"/>
          </ac:picMkLst>
        </pc:picChg>
        <pc:cxnChg chg="mod">
          <ac:chgData name="Alexander Krause" userId="0b5a8c652400661f" providerId="LiveId" clId="{31ABFD99-84AD-4D78-8064-FA3757D44FAB}" dt="2024-07-14T18:18:39.048" v="1070" actId="164"/>
          <ac:cxnSpMkLst>
            <pc:docMk/>
            <pc:sldMk cId="1596298377" sldId="4790"/>
            <ac:cxnSpMk id="3" creationId="{FDAC25F3-73DD-CA62-9F30-B425319FAB1D}"/>
          </ac:cxnSpMkLst>
        </pc:cxnChg>
        <pc:cxnChg chg="mod">
          <ac:chgData name="Alexander Krause" userId="0b5a8c652400661f" providerId="LiveId" clId="{31ABFD99-84AD-4D78-8064-FA3757D44FAB}" dt="2024-07-14T18:18:39.048" v="1070" actId="164"/>
          <ac:cxnSpMkLst>
            <pc:docMk/>
            <pc:sldMk cId="1596298377" sldId="4790"/>
            <ac:cxnSpMk id="4" creationId="{0BEB0B52-8C84-A441-BDE2-33CF7E68849D}"/>
          </ac:cxnSpMkLst>
        </pc:cxnChg>
        <pc:cxnChg chg="mod">
          <ac:chgData name="Alexander Krause" userId="0b5a8c652400661f" providerId="LiveId" clId="{31ABFD99-84AD-4D78-8064-FA3757D44FAB}" dt="2024-07-14T18:18:39.048" v="1070" actId="164"/>
          <ac:cxnSpMkLst>
            <pc:docMk/>
            <pc:sldMk cId="1596298377" sldId="4790"/>
            <ac:cxnSpMk id="6" creationId="{AE5DCE1D-B192-AACA-8BAD-9BC49368A524}"/>
          </ac:cxnSpMkLst>
        </pc:cxnChg>
      </pc:sldChg>
      <pc:sldChg chg="addSp delSp modSp mod ord modAnim">
        <pc:chgData name="Alexander Krause" userId="0b5a8c652400661f" providerId="LiveId" clId="{31ABFD99-84AD-4D78-8064-FA3757D44FAB}" dt="2024-07-13T19:38:10.766" v="248"/>
        <pc:sldMkLst>
          <pc:docMk/>
          <pc:sldMk cId="3403344079" sldId="4791"/>
        </pc:sldMkLst>
        <pc:spChg chg="mod">
          <ac:chgData name="Alexander Krause" userId="0b5a8c652400661f" providerId="LiveId" clId="{31ABFD99-84AD-4D78-8064-FA3757D44FAB}" dt="2024-07-13T19:28:29.427" v="216" actId="164"/>
          <ac:spMkLst>
            <pc:docMk/>
            <pc:sldMk cId="3403344079" sldId="4791"/>
            <ac:spMk id="2" creationId="{749D6EC2-DD48-03AE-629E-A217164801D4}"/>
          </ac:spMkLst>
        </pc:spChg>
        <pc:spChg chg="add del mod">
          <ac:chgData name="Alexander Krause" userId="0b5a8c652400661f" providerId="LiveId" clId="{31ABFD99-84AD-4D78-8064-FA3757D44FAB}" dt="2024-07-13T19:25:17.201" v="207" actId="478"/>
          <ac:spMkLst>
            <pc:docMk/>
            <pc:sldMk cId="3403344079" sldId="4791"/>
            <ac:spMk id="6" creationId="{762F9D9C-0593-83A2-C375-781E6E500961}"/>
          </ac:spMkLst>
        </pc:spChg>
        <pc:spChg chg="add mod">
          <ac:chgData name="Alexander Krause" userId="0b5a8c652400661f" providerId="LiveId" clId="{31ABFD99-84AD-4D78-8064-FA3757D44FAB}" dt="2024-07-13T19:25:25.915" v="208"/>
          <ac:spMkLst>
            <pc:docMk/>
            <pc:sldMk cId="3403344079" sldId="4791"/>
            <ac:spMk id="7" creationId="{DB559BA3-09C9-196A-C144-47DF3CE2F694}"/>
          </ac:spMkLst>
        </pc:spChg>
        <pc:spChg chg="add mod">
          <ac:chgData name="Alexander Krause" userId="0b5a8c652400661f" providerId="LiveId" clId="{31ABFD99-84AD-4D78-8064-FA3757D44FAB}" dt="2024-07-13T19:25:52.323" v="213"/>
          <ac:spMkLst>
            <pc:docMk/>
            <pc:sldMk cId="3403344079" sldId="4791"/>
            <ac:spMk id="8" creationId="{3158F170-0A80-0E78-456C-AE516630B8B5}"/>
          </ac:spMkLst>
        </pc:spChg>
        <pc:spChg chg="mod">
          <ac:chgData name="Alexander Krause" userId="0b5a8c652400661f" providerId="LiveId" clId="{31ABFD99-84AD-4D78-8064-FA3757D44FAB}" dt="2024-07-13T19:28:29.427" v="216" actId="164"/>
          <ac:spMkLst>
            <pc:docMk/>
            <pc:sldMk cId="3403344079" sldId="4791"/>
            <ac:spMk id="13" creationId="{31B8F1B5-00BE-E400-46BF-D3AD8D86B25E}"/>
          </ac:spMkLst>
        </pc:spChg>
        <pc:spChg chg="add del">
          <ac:chgData name="Alexander Krause" userId="0b5a8c652400661f" providerId="LiveId" clId="{31ABFD99-84AD-4D78-8064-FA3757D44FAB}" dt="2024-07-13T19:25:56.171" v="214" actId="478"/>
          <ac:spMkLst>
            <pc:docMk/>
            <pc:sldMk cId="3403344079" sldId="4791"/>
            <ac:spMk id="14" creationId="{D06C648A-527D-6053-9043-C815013E7F0A}"/>
          </ac:spMkLst>
        </pc:spChg>
        <pc:spChg chg="add mod">
          <ac:chgData name="Alexander Krause" userId="0b5a8c652400661f" providerId="LiveId" clId="{31ABFD99-84AD-4D78-8064-FA3757D44FAB}" dt="2024-07-13T19:31:35.173" v="225"/>
          <ac:spMkLst>
            <pc:docMk/>
            <pc:sldMk cId="3403344079" sldId="4791"/>
            <ac:spMk id="15" creationId="{0DE783E5-306C-A5F2-EA39-B353A1763585}"/>
          </ac:spMkLst>
        </pc:spChg>
        <pc:spChg chg="add mod">
          <ac:chgData name="Alexander Krause" userId="0b5a8c652400661f" providerId="LiveId" clId="{31ABFD99-84AD-4D78-8064-FA3757D44FAB}" dt="2024-07-13T19:31:35.173" v="225"/>
          <ac:spMkLst>
            <pc:docMk/>
            <pc:sldMk cId="3403344079" sldId="4791"/>
            <ac:spMk id="16" creationId="{01AB6817-A8D9-A1AD-0293-9F307416C57B}"/>
          </ac:spMkLst>
        </pc:spChg>
        <pc:grpChg chg="add del mod">
          <ac:chgData name="Alexander Krause" userId="0b5a8c652400661f" providerId="LiveId" clId="{31ABFD99-84AD-4D78-8064-FA3757D44FAB}" dt="2024-07-13T19:31:34.199" v="224" actId="478"/>
          <ac:grpSpMkLst>
            <pc:docMk/>
            <pc:sldMk cId="3403344079" sldId="4791"/>
            <ac:grpSpMk id="9" creationId="{337832B7-19C5-49D2-9D13-2D572C225B56}"/>
          </ac:grpSpMkLst>
        </pc:grpChg>
      </pc:sldChg>
      <pc:sldChg chg="add del">
        <pc:chgData name="Alexander Krause" userId="0b5a8c652400661f" providerId="LiveId" clId="{31ABFD99-84AD-4D78-8064-FA3757D44FAB}" dt="2024-07-14T15:47:54.117" v="1064" actId="47"/>
        <pc:sldMkLst>
          <pc:docMk/>
          <pc:sldMk cId="3768188520" sldId="4794"/>
        </pc:sldMkLst>
      </pc:sldChg>
      <pc:sldChg chg="modSp del mod">
        <pc:chgData name="Alexander Krause" userId="0b5a8c652400661f" providerId="LiveId" clId="{31ABFD99-84AD-4D78-8064-FA3757D44FAB}" dt="2024-07-14T15:14:26.823" v="494" actId="2696"/>
        <pc:sldMkLst>
          <pc:docMk/>
          <pc:sldMk cId="4247288243" sldId="4794"/>
        </pc:sldMkLst>
        <pc:spChg chg="mod">
          <ac:chgData name="Alexander Krause" userId="0b5a8c652400661f" providerId="LiveId" clId="{31ABFD99-84AD-4D78-8064-FA3757D44FAB}" dt="2024-07-13T19:12:21.141" v="151" actId="208"/>
          <ac:spMkLst>
            <pc:docMk/>
            <pc:sldMk cId="4247288243" sldId="4794"/>
            <ac:spMk id="28" creationId="{C3D48D27-7112-C379-7A3F-9B5C20D39901}"/>
          </ac:spMkLst>
        </pc:spChg>
        <pc:spChg chg="mod">
          <ac:chgData name="Alexander Krause" userId="0b5a8c652400661f" providerId="LiveId" clId="{31ABFD99-84AD-4D78-8064-FA3757D44FAB}" dt="2024-07-13T19:12:25.716" v="152" actId="208"/>
          <ac:spMkLst>
            <pc:docMk/>
            <pc:sldMk cId="4247288243" sldId="4794"/>
            <ac:spMk id="29" creationId="{66CE74EC-C4D2-654F-0F00-30B2602A6202}"/>
          </ac:spMkLst>
        </pc:spChg>
      </pc:sldChg>
      <pc:sldChg chg="modSp del mod">
        <pc:chgData name="Alexander Krause" userId="0b5a8c652400661f" providerId="LiveId" clId="{31ABFD99-84AD-4D78-8064-FA3757D44FAB}" dt="2024-07-14T15:14:26.823" v="494" actId="2696"/>
        <pc:sldMkLst>
          <pc:docMk/>
          <pc:sldMk cId="1860754364" sldId="4795"/>
        </pc:sldMkLst>
        <pc:spChg chg="mod">
          <ac:chgData name="Alexander Krause" userId="0b5a8c652400661f" providerId="LiveId" clId="{31ABFD99-84AD-4D78-8064-FA3757D44FAB}" dt="2024-07-13T19:13:07.740" v="153" actId="208"/>
          <ac:spMkLst>
            <pc:docMk/>
            <pc:sldMk cId="1860754364" sldId="4795"/>
            <ac:spMk id="28" creationId="{C3D48D27-7112-C379-7A3F-9B5C20D39901}"/>
          </ac:spMkLst>
        </pc:spChg>
        <pc:spChg chg="mod">
          <ac:chgData name="Alexander Krause" userId="0b5a8c652400661f" providerId="LiveId" clId="{31ABFD99-84AD-4D78-8064-FA3757D44FAB}" dt="2024-07-13T19:13:07.740" v="153" actId="208"/>
          <ac:spMkLst>
            <pc:docMk/>
            <pc:sldMk cId="1860754364" sldId="4795"/>
            <ac:spMk id="29" creationId="{66CE74EC-C4D2-654F-0F00-30B2602A6202}"/>
          </ac:spMkLst>
        </pc:spChg>
        <pc:spChg chg="mod">
          <ac:chgData name="Alexander Krause" userId="0b5a8c652400661f" providerId="LiveId" clId="{31ABFD99-84AD-4D78-8064-FA3757D44FAB}" dt="2024-07-13T19:13:11.871" v="154" actId="208"/>
          <ac:spMkLst>
            <pc:docMk/>
            <pc:sldMk cId="1860754364" sldId="4795"/>
            <ac:spMk id="34" creationId="{D02379AB-D97B-B440-B05C-07CE7118BCE4}"/>
          </ac:spMkLst>
        </pc:spChg>
        <pc:spChg chg="mod">
          <ac:chgData name="Alexander Krause" userId="0b5a8c652400661f" providerId="LiveId" clId="{31ABFD99-84AD-4D78-8064-FA3757D44FAB}" dt="2024-07-13T19:13:11.871" v="154" actId="208"/>
          <ac:spMkLst>
            <pc:docMk/>
            <pc:sldMk cId="1860754364" sldId="4795"/>
            <ac:spMk id="35" creationId="{9E98CDEE-4DC9-EABF-3649-B2A135DB51C6}"/>
          </ac:spMkLst>
        </pc:spChg>
      </pc:sldChg>
      <pc:sldChg chg="add del">
        <pc:chgData name="Alexander Krause" userId="0b5a8c652400661f" providerId="LiveId" clId="{31ABFD99-84AD-4D78-8064-FA3757D44FAB}" dt="2024-07-14T15:47:54.600" v="1065" actId="47"/>
        <pc:sldMkLst>
          <pc:docMk/>
          <pc:sldMk cId="2491589438" sldId="4795"/>
        </pc:sldMkLst>
      </pc:sldChg>
      <pc:sldChg chg="del">
        <pc:chgData name="Alexander Krause" userId="0b5a8c652400661f" providerId="LiveId" clId="{31ABFD99-84AD-4D78-8064-FA3757D44FAB}" dt="2024-07-14T15:14:26.823" v="494" actId="2696"/>
        <pc:sldMkLst>
          <pc:docMk/>
          <pc:sldMk cId="313342539" sldId="4796"/>
        </pc:sldMkLst>
      </pc:sldChg>
      <pc:sldChg chg="add del">
        <pc:chgData name="Alexander Krause" userId="0b5a8c652400661f" providerId="LiveId" clId="{31ABFD99-84AD-4D78-8064-FA3757D44FAB}" dt="2024-07-14T15:47:55.166" v="1066" actId="47"/>
        <pc:sldMkLst>
          <pc:docMk/>
          <pc:sldMk cId="1350541415" sldId="4796"/>
        </pc:sldMkLst>
      </pc:sldChg>
      <pc:sldChg chg="modSp mod">
        <pc:chgData name="Alexander Krause" userId="0b5a8c652400661f" providerId="LiveId" clId="{31ABFD99-84AD-4D78-8064-FA3757D44FAB}" dt="2024-07-14T19:07:21.980" v="1157" actId="207"/>
        <pc:sldMkLst>
          <pc:docMk/>
          <pc:sldMk cId="1429568150" sldId="4833"/>
        </pc:sldMkLst>
        <pc:spChg chg="mod">
          <ac:chgData name="Alexander Krause" userId="0b5a8c652400661f" providerId="LiveId" clId="{31ABFD99-84AD-4D78-8064-FA3757D44FAB}" dt="2024-07-14T19:07:21.980" v="1157" actId="207"/>
          <ac:spMkLst>
            <pc:docMk/>
            <pc:sldMk cId="1429568150" sldId="4833"/>
            <ac:spMk id="84" creationId="{15C68B2F-0951-C560-2348-8CA1B238056F}"/>
          </ac:spMkLst>
        </pc:spChg>
        <pc:spChg chg="mod">
          <ac:chgData name="Alexander Krause" userId="0b5a8c652400661f" providerId="LiveId" clId="{31ABFD99-84AD-4D78-8064-FA3757D44FAB}" dt="2024-07-14T19:07:21.980" v="1157" actId="207"/>
          <ac:spMkLst>
            <pc:docMk/>
            <pc:sldMk cId="1429568150" sldId="4833"/>
            <ac:spMk id="90" creationId="{422AC727-5D3D-3B5F-FB73-28F9176264EF}"/>
          </ac:spMkLst>
        </pc:spChg>
        <pc:spChg chg="mod">
          <ac:chgData name="Alexander Krause" userId="0b5a8c652400661f" providerId="LiveId" clId="{31ABFD99-84AD-4D78-8064-FA3757D44FAB}" dt="2024-07-14T19:07:21.980" v="1157" actId="207"/>
          <ac:spMkLst>
            <pc:docMk/>
            <pc:sldMk cId="1429568150" sldId="4833"/>
            <ac:spMk id="91" creationId="{EDD17356-7B4F-356A-F622-61646BF6B750}"/>
          </ac:spMkLst>
        </pc:spChg>
        <pc:spChg chg="mod">
          <ac:chgData name="Alexander Krause" userId="0b5a8c652400661f" providerId="LiveId" clId="{31ABFD99-84AD-4D78-8064-FA3757D44FAB}" dt="2024-07-14T19:07:21.980" v="1157" actId="207"/>
          <ac:spMkLst>
            <pc:docMk/>
            <pc:sldMk cId="1429568150" sldId="4833"/>
            <ac:spMk id="97" creationId="{3A1CCF6D-A273-688F-DB3B-50FA0A9CE43B}"/>
          </ac:spMkLst>
        </pc:spChg>
      </pc:sldChg>
      <pc:sldChg chg="addSp delSp modSp mod modAnim">
        <pc:chgData name="Alexander Krause" userId="0b5a8c652400661f" providerId="LiveId" clId="{31ABFD99-84AD-4D78-8064-FA3757D44FAB}" dt="2024-07-14T19:34:22.263" v="1203" actId="20577"/>
        <pc:sldMkLst>
          <pc:docMk/>
          <pc:sldMk cId="3580058025" sldId="4835"/>
        </pc:sldMkLst>
        <pc:spChg chg="mod">
          <ac:chgData name="Alexander Krause" userId="0b5a8c652400661f" providerId="LiveId" clId="{31ABFD99-84AD-4D78-8064-FA3757D44FAB}" dt="2024-07-14T19:34:02.109" v="1191" actId="255"/>
          <ac:spMkLst>
            <pc:docMk/>
            <pc:sldMk cId="3580058025" sldId="4835"/>
            <ac:spMk id="2" creationId="{693EABEF-64B8-45C1-9574-9C9FF106A0E6}"/>
          </ac:spMkLst>
        </pc:spChg>
        <pc:spChg chg="mod topLvl">
          <ac:chgData name="Alexander Krause" userId="0b5a8c652400661f" providerId="LiveId" clId="{31ABFD99-84AD-4D78-8064-FA3757D44FAB}" dt="2024-07-13T19:17:12.551" v="160" actId="165"/>
          <ac:spMkLst>
            <pc:docMk/>
            <pc:sldMk cId="3580058025" sldId="4835"/>
            <ac:spMk id="4" creationId="{8DA08B50-EF7B-6B13-E172-30059C1B21C2}"/>
          </ac:spMkLst>
        </pc:spChg>
        <pc:spChg chg="mod">
          <ac:chgData name="Alexander Krause" userId="0b5a8c652400661f" providerId="LiveId" clId="{31ABFD99-84AD-4D78-8064-FA3757D44FAB}" dt="2024-07-13T19:17:12.551" v="160" actId="165"/>
          <ac:spMkLst>
            <pc:docMk/>
            <pc:sldMk cId="3580058025" sldId="4835"/>
            <ac:spMk id="7" creationId="{94FD5AE8-57D6-E695-A5DA-EAC65E170682}"/>
          </ac:spMkLst>
        </pc:spChg>
        <pc:spChg chg="mod">
          <ac:chgData name="Alexander Krause" userId="0b5a8c652400661f" providerId="LiveId" clId="{31ABFD99-84AD-4D78-8064-FA3757D44FAB}" dt="2024-07-13T19:17:12.551" v="160" actId="165"/>
          <ac:spMkLst>
            <pc:docMk/>
            <pc:sldMk cId="3580058025" sldId="4835"/>
            <ac:spMk id="8" creationId="{113F9195-3746-FFF2-C416-DB7B1C1A729E}"/>
          </ac:spMkLst>
        </pc:spChg>
        <pc:spChg chg="mod topLvl">
          <ac:chgData name="Alexander Krause" userId="0b5a8c652400661f" providerId="LiveId" clId="{31ABFD99-84AD-4D78-8064-FA3757D44FAB}" dt="2024-07-13T19:17:12.551" v="160" actId="165"/>
          <ac:spMkLst>
            <pc:docMk/>
            <pc:sldMk cId="3580058025" sldId="4835"/>
            <ac:spMk id="9" creationId="{10EA5AE0-C1DD-44E7-3B4D-DC55132B5296}"/>
          </ac:spMkLst>
        </pc:spChg>
        <pc:spChg chg="mod topLvl">
          <ac:chgData name="Alexander Krause" userId="0b5a8c652400661f" providerId="LiveId" clId="{31ABFD99-84AD-4D78-8064-FA3757D44FAB}" dt="2024-07-14T19:34:22.263" v="1203" actId="20577"/>
          <ac:spMkLst>
            <pc:docMk/>
            <pc:sldMk cId="3580058025" sldId="4835"/>
            <ac:spMk id="10" creationId="{89687576-1F2D-E1E7-4308-94D1523A6337}"/>
          </ac:spMkLst>
        </pc:spChg>
        <pc:spChg chg="mod topLvl">
          <ac:chgData name="Alexander Krause" userId="0b5a8c652400661f" providerId="LiveId" clId="{31ABFD99-84AD-4D78-8064-FA3757D44FAB}" dt="2024-07-14T19:34:07.693" v="1195" actId="20577"/>
          <ac:spMkLst>
            <pc:docMk/>
            <pc:sldMk cId="3580058025" sldId="4835"/>
            <ac:spMk id="11" creationId="{AD378574-62A8-9721-D907-137CC53AE8E6}"/>
          </ac:spMkLst>
        </pc:spChg>
        <pc:spChg chg="mod topLvl">
          <ac:chgData name="Alexander Krause" userId="0b5a8c652400661f" providerId="LiveId" clId="{31ABFD99-84AD-4D78-8064-FA3757D44FAB}" dt="2024-07-13T19:17:12.551" v="160" actId="165"/>
          <ac:spMkLst>
            <pc:docMk/>
            <pc:sldMk cId="3580058025" sldId="4835"/>
            <ac:spMk id="12" creationId="{50327CE7-3469-2022-8F3E-E69D51718CD4}"/>
          </ac:spMkLst>
        </pc:spChg>
        <pc:spChg chg="mod topLvl">
          <ac:chgData name="Alexander Krause" userId="0b5a8c652400661f" providerId="LiveId" clId="{31ABFD99-84AD-4D78-8064-FA3757D44FAB}" dt="2024-07-13T19:17:12.551" v="160" actId="165"/>
          <ac:spMkLst>
            <pc:docMk/>
            <pc:sldMk cId="3580058025" sldId="4835"/>
            <ac:spMk id="13" creationId="{9A762022-D0ED-3697-9B19-0493EFA3249A}"/>
          </ac:spMkLst>
        </pc:spChg>
        <pc:spChg chg="mod">
          <ac:chgData name="Alexander Krause" userId="0b5a8c652400661f" providerId="LiveId" clId="{31ABFD99-84AD-4D78-8064-FA3757D44FAB}" dt="2024-07-13T19:17:12.551" v="160" actId="165"/>
          <ac:spMkLst>
            <pc:docMk/>
            <pc:sldMk cId="3580058025" sldId="4835"/>
            <ac:spMk id="22" creationId="{942DBDD3-7D15-CEC5-3616-BD741B4B8CC9}"/>
          </ac:spMkLst>
        </pc:spChg>
        <pc:spChg chg="mod">
          <ac:chgData name="Alexander Krause" userId="0b5a8c652400661f" providerId="LiveId" clId="{31ABFD99-84AD-4D78-8064-FA3757D44FAB}" dt="2024-07-13T19:17:12.551" v="160" actId="165"/>
          <ac:spMkLst>
            <pc:docMk/>
            <pc:sldMk cId="3580058025" sldId="4835"/>
            <ac:spMk id="23" creationId="{AA40FD83-2338-1568-BFE1-D30A3A2475D1}"/>
          </ac:spMkLst>
        </pc:spChg>
        <pc:spChg chg="mod topLvl">
          <ac:chgData name="Alexander Krause" userId="0b5a8c652400661f" providerId="LiveId" clId="{31ABFD99-84AD-4D78-8064-FA3757D44FAB}" dt="2024-07-14T19:34:14.284" v="1199" actId="20577"/>
          <ac:spMkLst>
            <pc:docMk/>
            <pc:sldMk cId="3580058025" sldId="4835"/>
            <ac:spMk id="27" creationId="{8E46ADE5-D8A0-0C1B-9F70-B8BDD83CAA6D}"/>
          </ac:spMkLst>
        </pc:spChg>
        <pc:spChg chg="mod">
          <ac:chgData name="Alexander Krause" userId="0b5a8c652400661f" providerId="LiveId" clId="{31ABFD99-84AD-4D78-8064-FA3757D44FAB}" dt="2024-07-13T19:17:12.551" v="160" actId="165"/>
          <ac:spMkLst>
            <pc:docMk/>
            <pc:sldMk cId="3580058025" sldId="4835"/>
            <ac:spMk id="29" creationId="{99E9280E-FA8C-A5B2-35A8-3FFA73F98154}"/>
          </ac:spMkLst>
        </pc:spChg>
        <pc:spChg chg="mod">
          <ac:chgData name="Alexander Krause" userId="0b5a8c652400661f" providerId="LiveId" clId="{31ABFD99-84AD-4D78-8064-FA3757D44FAB}" dt="2024-07-14T19:33:13.085" v="1181" actId="20577"/>
          <ac:spMkLst>
            <pc:docMk/>
            <pc:sldMk cId="3580058025" sldId="4835"/>
            <ac:spMk id="30" creationId="{3F6925E7-6B1E-70AD-CF97-F34201AA6588}"/>
          </ac:spMkLst>
        </pc:spChg>
        <pc:spChg chg="mod">
          <ac:chgData name="Alexander Krause" userId="0b5a8c652400661f" providerId="LiveId" clId="{31ABFD99-84AD-4D78-8064-FA3757D44FAB}" dt="2024-07-13T19:17:12.551" v="160" actId="165"/>
          <ac:spMkLst>
            <pc:docMk/>
            <pc:sldMk cId="3580058025" sldId="4835"/>
            <ac:spMk id="33" creationId="{77972BD0-DA48-6B07-9992-67A30DA265A6}"/>
          </ac:spMkLst>
        </pc:spChg>
        <pc:spChg chg="mod">
          <ac:chgData name="Alexander Krause" userId="0b5a8c652400661f" providerId="LiveId" clId="{31ABFD99-84AD-4D78-8064-FA3757D44FAB}" dt="2024-07-14T19:33:23.776" v="1186" actId="20577"/>
          <ac:spMkLst>
            <pc:docMk/>
            <pc:sldMk cId="3580058025" sldId="4835"/>
            <ac:spMk id="34" creationId="{D0A04A48-B08A-EBAB-82EF-112C35C4A0F5}"/>
          </ac:spMkLst>
        </pc:spChg>
        <pc:spChg chg="mod">
          <ac:chgData name="Alexander Krause" userId="0b5a8c652400661f" providerId="LiveId" clId="{31ABFD99-84AD-4D78-8064-FA3757D44FAB}" dt="2024-07-12T17:15:43.167" v="80" actId="164"/>
          <ac:spMkLst>
            <pc:docMk/>
            <pc:sldMk cId="3580058025" sldId="4835"/>
            <ac:spMk id="93" creationId="{CD6DAA88-8E5F-85C6-60FC-07FC12E6A652}"/>
          </ac:spMkLst>
        </pc:spChg>
        <pc:spChg chg="mod">
          <ac:chgData name="Alexander Krause" userId="0b5a8c652400661f" providerId="LiveId" clId="{31ABFD99-84AD-4D78-8064-FA3757D44FAB}" dt="2024-07-13T19:17:12.551" v="160" actId="165"/>
          <ac:spMkLst>
            <pc:docMk/>
            <pc:sldMk cId="3580058025" sldId="4835"/>
            <ac:spMk id="101" creationId="{F40392E4-34FC-C2F7-74FC-B22623217761}"/>
          </ac:spMkLst>
        </pc:spChg>
        <pc:spChg chg="mod">
          <ac:chgData name="Alexander Krause" userId="0b5a8c652400661f" providerId="LiveId" clId="{31ABFD99-84AD-4D78-8064-FA3757D44FAB}" dt="2024-07-13T19:17:12.551" v="160" actId="165"/>
          <ac:spMkLst>
            <pc:docMk/>
            <pc:sldMk cId="3580058025" sldId="4835"/>
            <ac:spMk id="103" creationId="{5523D0DB-FF8B-FEEE-3549-5440B3CF8345}"/>
          </ac:spMkLst>
        </pc:spChg>
        <pc:grpChg chg="add del mod">
          <ac:chgData name="Alexander Krause" userId="0b5a8c652400661f" providerId="LiveId" clId="{31ABFD99-84AD-4D78-8064-FA3757D44FAB}" dt="2024-07-13T19:17:12.551" v="160" actId="165"/>
          <ac:grpSpMkLst>
            <pc:docMk/>
            <pc:sldMk cId="3580058025" sldId="4835"/>
            <ac:grpSpMk id="3" creationId="{FAB40167-440C-BC70-0D36-A33E0E04B69D}"/>
          </ac:grpSpMkLst>
        </pc:grpChg>
        <pc:grpChg chg="add mod">
          <ac:chgData name="Alexander Krause" userId="0b5a8c652400661f" providerId="LiveId" clId="{31ABFD99-84AD-4D78-8064-FA3757D44FAB}" dt="2024-07-14T15:12:49.288" v="493" actId="408"/>
          <ac:grpSpMkLst>
            <pc:docMk/>
            <pc:sldMk cId="3580058025" sldId="4835"/>
            <ac:grpSpMk id="5" creationId="{DCA7525E-CC32-58C1-46B8-A56CEC643B94}"/>
          </ac:grpSpMkLst>
        </pc:grpChg>
        <pc:grpChg chg="mod topLvl">
          <ac:chgData name="Alexander Krause" userId="0b5a8c652400661f" providerId="LiveId" clId="{31ABFD99-84AD-4D78-8064-FA3757D44FAB}" dt="2024-07-13T19:17:12.551" v="160" actId="165"/>
          <ac:grpSpMkLst>
            <pc:docMk/>
            <pc:sldMk cId="3580058025" sldId="4835"/>
            <ac:grpSpMk id="20" creationId="{17E8DBCF-DA2A-F509-FA2C-CD4177DA1FDF}"/>
          </ac:grpSpMkLst>
        </pc:grpChg>
        <pc:grpChg chg="mod topLvl">
          <ac:chgData name="Alexander Krause" userId="0b5a8c652400661f" providerId="LiveId" clId="{31ABFD99-84AD-4D78-8064-FA3757D44FAB}" dt="2024-07-13T19:17:12.551" v="160" actId="165"/>
          <ac:grpSpMkLst>
            <pc:docMk/>
            <pc:sldMk cId="3580058025" sldId="4835"/>
            <ac:grpSpMk id="21" creationId="{0BED1F77-48F4-612D-41AB-D7CEC97FCAB3}"/>
          </ac:grpSpMkLst>
        </pc:grpChg>
        <pc:grpChg chg="mod topLvl">
          <ac:chgData name="Alexander Krause" userId="0b5a8c652400661f" providerId="LiveId" clId="{31ABFD99-84AD-4D78-8064-FA3757D44FAB}" dt="2024-07-13T19:17:12.551" v="160" actId="165"/>
          <ac:grpSpMkLst>
            <pc:docMk/>
            <pc:sldMk cId="3580058025" sldId="4835"/>
            <ac:grpSpMk id="28" creationId="{EC38F726-E561-EEDE-744D-9CE292D5424F}"/>
          </ac:grpSpMkLst>
        </pc:grpChg>
        <pc:grpChg chg="mod topLvl">
          <ac:chgData name="Alexander Krause" userId="0b5a8c652400661f" providerId="LiveId" clId="{31ABFD99-84AD-4D78-8064-FA3757D44FAB}" dt="2024-07-13T19:17:12.551" v="160" actId="165"/>
          <ac:grpSpMkLst>
            <pc:docMk/>
            <pc:sldMk cId="3580058025" sldId="4835"/>
            <ac:grpSpMk id="31" creationId="{362DDC8C-2E22-27CE-634D-F130E1046D2C}"/>
          </ac:grpSpMkLst>
        </pc:grpChg>
        <pc:grpChg chg="mod topLvl">
          <ac:chgData name="Alexander Krause" userId="0b5a8c652400661f" providerId="LiveId" clId="{31ABFD99-84AD-4D78-8064-FA3757D44FAB}" dt="2024-07-13T19:17:12.551" v="160" actId="165"/>
          <ac:grpSpMkLst>
            <pc:docMk/>
            <pc:sldMk cId="3580058025" sldId="4835"/>
            <ac:grpSpMk id="32" creationId="{744865D5-11DC-579E-92FB-513977802A28}"/>
          </ac:grpSpMkLst>
        </pc:grpChg>
        <pc:grpChg chg="add del mod">
          <ac:chgData name="Alexander Krause" userId="0b5a8c652400661f" providerId="LiveId" clId="{31ABFD99-84AD-4D78-8064-FA3757D44FAB}" dt="2024-07-12T17:15:40.559" v="77" actId="165"/>
          <ac:grpSpMkLst>
            <pc:docMk/>
            <pc:sldMk cId="3580058025" sldId="4835"/>
            <ac:grpSpMk id="35" creationId="{248773DF-2113-A918-A500-8F39E7BED585}"/>
          </ac:grpSpMkLst>
        </pc:grpChg>
        <pc:picChg chg="mod">
          <ac:chgData name="Alexander Krause" userId="0b5a8c652400661f" providerId="LiveId" clId="{31ABFD99-84AD-4D78-8064-FA3757D44FAB}" dt="2024-07-12T17:15:43.167" v="80" actId="164"/>
          <ac:picMkLst>
            <pc:docMk/>
            <pc:sldMk cId="3580058025" sldId="4835"/>
            <ac:picMk id="92" creationId="{EDE7C8F5-E035-0665-1D24-E38911E4813D}"/>
          </ac:picMkLst>
        </pc:picChg>
      </pc:sldChg>
      <pc:sldChg chg="modSp add mod ord modAnim">
        <pc:chgData name="Alexander Krause" userId="0b5a8c652400661f" providerId="LiveId" clId="{31ABFD99-84AD-4D78-8064-FA3757D44FAB}" dt="2024-07-14T18:17:45.780" v="1067"/>
        <pc:sldMkLst>
          <pc:docMk/>
          <pc:sldMk cId="2340630680" sldId="4840"/>
        </pc:sldMkLst>
        <pc:spChg chg="mod">
          <ac:chgData name="Alexander Krause" userId="0b5a8c652400661f" providerId="LiveId" clId="{31ABFD99-84AD-4D78-8064-FA3757D44FAB}" dt="2024-07-13T19:24:53.456" v="203" actId="408"/>
          <ac:spMkLst>
            <pc:docMk/>
            <pc:sldMk cId="2340630680" sldId="4840"/>
            <ac:spMk id="13" creationId="{31B8F1B5-00BE-E400-46BF-D3AD8D86B25E}"/>
          </ac:spMkLst>
        </pc:spChg>
        <pc:spChg chg="mod">
          <ac:chgData name="Alexander Krause" userId="0b5a8c652400661f" providerId="LiveId" clId="{31ABFD99-84AD-4D78-8064-FA3757D44FAB}" dt="2024-07-13T19:24:53.456" v="203" actId="408"/>
          <ac:spMkLst>
            <pc:docMk/>
            <pc:sldMk cId="2340630680" sldId="4840"/>
            <ac:spMk id="14" creationId="{D06C648A-527D-6053-9043-C815013E7F0A}"/>
          </ac:spMkLst>
        </pc:spChg>
      </pc:sldChg>
      <pc:sldChg chg="addSp delSp modSp add del mod ord modAnim">
        <pc:chgData name="Alexander Krause" userId="0b5a8c652400661f" providerId="LiveId" clId="{31ABFD99-84AD-4D78-8064-FA3757D44FAB}" dt="2024-07-14T15:14:26.823" v="494" actId="2696"/>
        <pc:sldMkLst>
          <pc:docMk/>
          <pc:sldMk cId="3392268917" sldId="4841"/>
        </pc:sldMkLst>
        <pc:spChg chg="mod">
          <ac:chgData name="Alexander Krause" userId="0b5a8c652400661f" providerId="LiveId" clId="{31ABFD99-84AD-4D78-8064-FA3757D44FAB}" dt="2024-07-13T19:30:06.280" v="222" actId="12789"/>
          <ac:spMkLst>
            <pc:docMk/>
            <pc:sldMk cId="3392268917" sldId="4841"/>
            <ac:spMk id="2" creationId="{749D6EC2-DD48-03AE-629E-A217164801D4}"/>
          </ac:spMkLst>
        </pc:spChg>
        <pc:spChg chg="add mod">
          <ac:chgData name="Alexander Krause" userId="0b5a8c652400661f" providerId="LiveId" clId="{31ABFD99-84AD-4D78-8064-FA3757D44FAB}" dt="2024-07-13T19:29:42.075" v="220"/>
          <ac:spMkLst>
            <pc:docMk/>
            <pc:sldMk cId="3392268917" sldId="4841"/>
            <ac:spMk id="6" creationId="{EF6C7302-D36E-E42F-E5C8-7B4149E40FD8}"/>
          </ac:spMkLst>
        </pc:spChg>
        <pc:spChg chg="mod">
          <ac:chgData name="Alexander Krause" userId="0b5a8c652400661f" providerId="LiveId" clId="{31ABFD99-84AD-4D78-8064-FA3757D44FAB}" dt="2024-07-13T19:30:06.280" v="222" actId="12789"/>
          <ac:spMkLst>
            <pc:docMk/>
            <pc:sldMk cId="3392268917" sldId="4841"/>
            <ac:spMk id="13" creationId="{31B8F1B5-00BE-E400-46BF-D3AD8D86B25E}"/>
          </ac:spMkLst>
        </pc:spChg>
        <pc:spChg chg="del">
          <ac:chgData name="Alexander Krause" userId="0b5a8c652400661f" providerId="LiveId" clId="{31ABFD99-84AD-4D78-8064-FA3757D44FAB}" dt="2024-07-13T19:29:40.859" v="219" actId="478"/>
          <ac:spMkLst>
            <pc:docMk/>
            <pc:sldMk cId="3392268917" sldId="4841"/>
            <ac:spMk id="14" creationId="{D06C648A-527D-6053-9043-C815013E7F0A}"/>
          </ac:spMkLst>
        </pc:spChg>
      </pc:sldChg>
      <pc:sldChg chg="add del">
        <pc:chgData name="Alexander Krause" userId="0b5a8c652400661f" providerId="LiveId" clId="{31ABFD99-84AD-4D78-8064-FA3757D44FAB}" dt="2024-07-14T15:47:53.026" v="1062" actId="47"/>
        <pc:sldMkLst>
          <pc:docMk/>
          <pc:sldMk cId="4169937488" sldId="4841"/>
        </pc:sldMkLst>
      </pc:sldChg>
      <pc:sldChg chg="addSp delSp modSp add mod ord modAnim">
        <pc:chgData name="Alexander Krause" userId="0b5a8c652400661f" providerId="LiveId" clId="{31ABFD99-84AD-4D78-8064-FA3757D44FAB}" dt="2024-07-13T19:44:21.744" v="272"/>
        <pc:sldMkLst>
          <pc:docMk/>
          <pc:sldMk cId="1675954530" sldId="4842"/>
        </pc:sldMkLst>
        <pc:spChg chg="mod">
          <ac:chgData name="Alexander Krause" userId="0b5a8c652400661f" providerId="LiveId" clId="{31ABFD99-84AD-4D78-8064-FA3757D44FAB}" dt="2024-07-13T19:32:59.440" v="230" actId="12789"/>
          <ac:spMkLst>
            <pc:docMk/>
            <pc:sldMk cId="1675954530" sldId="4842"/>
            <ac:spMk id="2" creationId="{749D6EC2-DD48-03AE-629E-A217164801D4}"/>
          </ac:spMkLst>
        </pc:spChg>
        <pc:spChg chg="mod">
          <ac:chgData name="Alexander Krause" userId="0b5a8c652400661f" providerId="LiveId" clId="{31ABFD99-84AD-4D78-8064-FA3757D44FAB}" dt="2024-07-13T19:41:41.600" v="257" actId="1076"/>
          <ac:spMkLst>
            <pc:docMk/>
            <pc:sldMk cId="1675954530" sldId="4842"/>
            <ac:spMk id="3" creationId="{6472E6A4-323C-2A92-8ABC-F82E241CCF16}"/>
          </ac:spMkLst>
        </pc:spChg>
        <pc:spChg chg="add mod">
          <ac:chgData name="Alexander Krause" userId="0b5a8c652400661f" providerId="LiveId" clId="{31ABFD99-84AD-4D78-8064-FA3757D44FAB}" dt="2024-07-13T19:41:08.993" v="255" actId="1076"/>
          <ac:spMkLst>
            <pc:docMk/>
            <pc:sldMk cId="1675954530" sldId="4842"/>
            <ac:spMk id="7" creationId="{E2AEEFBF-FB7D-1FA3-4790-95FE88434C80}"/>
          </ac:spMkLst>
        </pc:spChg>
        <pc:spChg chg="mod">
          <ac:chgData name="Alexander Krause" userId="0b5a8c652400661f" providerId="LiveId" clId="{31ABFD99-84AD-4D78-8064-FA3757D44FAB}" dt="2024-07-13T19:40:55.851" v="253" actId="14100"/>
          <ac:spMkLst>
            <pc:docMk/>
            <pc:sldMk cId="1675954530" sldId="4842"/>
            <ac:spMk id="13" creationId="{31B8F1B5-00BE-E400-46BF-D3AD8D86B25E}"/>
          </ac:spMkLst>
        </pc:spChg>
        <pc:spChg chg="del">
          <ac:chgData name="Alexander Krause" userId="0b5a8c652400661f" providerId="LiveId" clId="{31ABFD99-84AD-4D78-8064-FA3757D44FAB}" dt="2024-07-13T19:32:28.379" v="226" actId="478"/>
          <ac:spMkLst>
            <pc:docMk/>
            <pc:sldMk cId="1675954530" sldId="4842"/>
            <ac:spMk id="14" creationId="{D06C648A-527D-6053-9043-C815013E7F0A}"/>
          </ac:spMkLst>
        </pc:spChg>
        <pc:spChg chg="mod">
          <ac:chgData name="Alexander Krause" userId="0b5a8c652400661f" providerId="LiveId" clId="{31ABFD99-84AD-4D78-8064-FA3757D44FAB}" dt="2024-07-13T19:43:54.605" v="266" actId="165"/>
          <ac:spMkLst>
            <pc:docMk/>
            <pc:sldMk cId="1675954530" sldId="4842"/>
            <ac:spMk id="31" creationId="{C71E6621-806E-C24F-B7EE-3BE951B0E559}"/>
          </ac:spMkLst>
        </pc:spChg>
        <pc:spChg chg="mod">
          <ac:chgData name="Alexander Krause" userId="0b5a8c652400661f" providerId="LiveId" clId="{31ABFD99-84AD-4D78-8064-FA3757D44FAB}" dt="2024-07-13T19:43:54.605" v="266" actId="165"/>
          <ac:spMkLst>
            <pc:docMk/>
            <pc:sldMk cId="1675954530" sldId="4842"/>
            <ac:spMk id="32" creationId="{1302865B-88FA-3052-42E3-C5ED4D0D25B1}"/>
          </ac:spMkLst>
        </pc:spChg>
        <pc:spChg chg="mod">
          <ac:chgData name="Alexander Krause" userId="0b5a8c652400661f" providerId="LiveId" clId="{31ABFD99-84AD-4D78-8064-FA3757D44FAB}" dt="2024-07-13T19:43:54.605" v="266" actId="165"/>
          <ac:spMkLst>
            <pc:docMk/>
            <pc:sldMk cId="1675954530" sldId="4842"/>
            <ac:spMk id="34" creationId="{621D6999-D46A-3C2C-463A-9CCBE70FFFB5}"/>
          </ac:spMkLst>
        </pc:spChg>
        <pc:spChg chg="mod">
          <ac:chgData name="Alexander Krause" userId="0b5a8c652400661f" providerId="LiveId" clId="{31ABFD99-84AD-4D78-8064-FA3757D44FAB}" dt="2024-07-13T19:43:54.605" v="266" actId="165"/>
          <ac:spMkLst>
            <pc:docMk/>
            <pc:sldMk cId="1675954530" sldId="4842"/>
            <ac:spMk id="35" creationId="{3840FA81-AC3B-2786-D6B3-4C2591192057}"/>
          </ac:spMkLst>
        </pc:spChg>
        <pc:spChg chg="mod">
          <ac:chgData name="Alexander Krause" userId="0b5a8c652400661f" providerId="LiveId" clId="{31ABFD99-84AD-4D78-8064-FA3757D44FAB}" dt="2024-07-13T19:43:54.605" v="266" actId="165"/>
          <ac:spMkLst>
            <pc:docMk/>
            <pc:sldMk cId="1675954530" sldId="4842"/>
            <ac:spMk id="36" creationId="{ABEFE718-99B6-D362-D8C8-D8DC449E9D1C}"/>
          </ac:spMkLst>
        </pc:spChg>
        <pc:spChg chg="mod">
          <ac:chgData name="Alexander Krause" userId="0b5a8c652400661f" providerId="LiveId" clId="{31ABFD99-84AD-4D78-8064-FA3757D44FAB}" dt="2024-07-13T19:43:54.605" v="266" actId="165"/>
          <ac:spMkLst>
            <pc:docMk/>
            <pc:sldMk cId="1675954530" sldId="4842"/>
            <ac:spMk id="37" creationId="{1720FB25-EA4C-17C2-3C0A-9B20861ADEAA}"/>
          </ac:spMkLst>
        </pc:spChg>
        <pc:spChg chg="mod">
          <ac:chgData name="Alexander Krause" userId="0b5a8c652400661f" providerId="LiveId" clId="{31ABFD99-84AD-4D78-8064-FA3757D44FAB}" dt="2024-07-13T19:43:54.605" v="266" actId="165"/>
          <ac:spMkLst>
            <pc:docMk/>
            <pc:sldMk cId="1675954530" sldId="4842"/>
            <ac:spMk id="39" creationId="{A3869433-D33B-3387-2D4F-53E33A4BA913}"/>
          </ac:spMkLst>
        </pc:spChg>
        <pc:spChg chg="mod">
          <ac:chgData name="Alexander Krause" userId="0b5a8c652400661f" providerId="LiveId" clId="{31ABFD99-84AD-4D78-8064-FA3757D44FAB}" dt="2024-07-13T19:43:54.605" v="266" actId="165"/>
          <ac:spMkLst>
            <pc:docMk/>
            <pc:sldMk cId="1675954530" sldId="4842"/>
            <ac:spMk id="40" creationId="{124D5F0B-0299-A33F-7112-4E6CE103D41E}"/>
          </ac:spMkLst>
        </pc:spChg>
        <pc:spChg chg="mod">
          <ac:chgData name="Alexander Krause" userId="0b5a8c652400661f" providerId="LiveId" clId="{31ABFD99-84AD-4D78-8064-FA3757D44FAB}" dt="2024-07-13T19:43:54.605" v="266" actId="165"/>
          <ac:spMkLst>
            <pc:docMk/>
            <pc:sldMk cId="1675954530" sldId="4842"/>
            <ac:spMk id="41" creationId="{A38EBF69-999A-9776-8C1E-4DAF6B50464D}"/>
          </ac:spMkLst>
        </pc:spChg>
        <pc:spChg chg="mod">
          <ac:chgData name="Alexander Krause" userId="0b5a8c652400661f" providerId="LiveId" clId="{31ABFD99-84AD-4D78-8064-FA3757D44FAB}" dt="2024-07-13T19:43:54.605" v="266" actId="165"/>
          <ac:spMkLst>
            <pc:docMk/>
            <pc:sldMk cId="1675954530" sldId="4842"/>
            <ac:spMk id="42" creationId="{A05E9F63-8C54-6FAD-390F-86D8F0FF907F}"/>
          </ac:spMkLst>
        </pc:spChg>
        <pc:spChg chg="mod">
          <ac:chgData name="Alexander Krause" userId="0b5a8c652400661f" providerId="LiveId" clId="{31ABFD99-84AD-4D78-8064-FA3757D44FAB}" dt="2024-07-13T19:43:54.605" v="266" actId="165"/>
          <ac:spMkLst>
            <pc:docMk/>
            <pc:sldMk cId="1675954530" sldId="4842"/>
            <ac:spMk id="63" creationId="{061A38A9-9705-6412-8F40-54E51CDF5CE9}"/>
          </ac:spMkLst>
        </pc:spChg>
        <pc:spChg chg="mod">
          <ac:chgData name="Alexander Krause" userId="0b5a8c652400661f" providerId="LiveId" clId="{31ABFD99-84AD-4D78-8064-FA3757D44FAB}" dt="2024-07-13T19:43:54.605" v="266" actId="165"/>
          <ac:spMkLst>
            <pc:docMk/>
            <pc:sldMk cId="1675954530" sldId="4842"/>
            <ac:spMk id="65" creationId="{F8F2166F-CDEB-5AFE-9A3B-0C97F6AB2DBC}"/>
          </ac:spMkLst>
        </pc:spChg>
        <pc:spChg chg="mod">
          <ac:chgData name="Alexander Krause" userId="0b5a8c652400661f" providerId="LiveId" clId="{31ABFD99-84AD-4D78-8064-FA3757D44FAB}" dt="2024-07-13T19:43:54.605" v="266" actId="165"/>
          <ac:spMkLst>
            <pc:docMk/>
            <pc:sldMk cId="1675954530" sldId="4842"/>
            <ac:spMk id="66" creationId="{BD23FC98-9C46-6C74-1D63-D0FA3150CD55}"/>
          </ac:spMkLst>
        </pc:spChg>
        <pc:spChg chg="mod">
          <ac:chgData name="Alexander Krause" userId="0b5a8c652400661f" providerId="LiveId" clId="{31ABFD99-84AD-4D78-8064-FA3757D44FAB}" dt="2024-07-13T19:43:54.605" v="266" actId="165"/>
          <ac:spMkLst>
            <pc:docMk/>
            <pc:sldMk cId="1675954530" sldId="4842"/>
            <ac:spMk id="67" creationId="{0A96911D-B91C-867F-DF5A-7C42ABF581E1}"/>
          </ac:spMkLst>
        </pc:spChg>
        <pc:grpChg chg="add mod">
          <ac:chgData name="Alexander Krause" userId="0b5a8c652400661f" providerId="LiveId" clId="{31ABFD99-84AD-4D78-8064-FA3757D44FAB}" dt="2024-07-13T19:42:34.243" v="259" actId="164"/>
          <ac:grpSpMkLst>
            <pc:docMk/>
            <pc:sldMk cId="1675954530" sldId="4842"/>
            <ac:grpSpMk id="8" creationId="{1BE7B614-CE29-39EB-6575-E519658D5066}"/>
          </ac:grpSpMkLst>
        </pc:grpChg>
        <pc:grpChg chg="add mod">
          <ac:chgData name="Alexander Krause" userId="0b5a8c652400661f" providerId="LiveId" clId="{31ABFD99-84AD-4D78-8064-FA3757D44FAB}" dt="2024-07-13T19:43:13.807" v="263" actId="164"/>
          <ac:grpSpMkLst>
            <pc:docMk/>
            <pc:sldMk cId="1675954530" sldId="4842"/>
            <ac:grpSpMk id="9" creationId="{BCB0C444-39A5-E81F-2F7D-E4CCE0DC0475}"/>
          </ac:grpSpMkLst>
        </pc:grpChg>
        <pc:grpChg chg="add del mod">
          <ac:chgData name="Alexander Krause" userId="0b5a8c652400661f" providerId="LiveId" clId="{31ABFD99-84AD-4D78-8064-FA3757D44FAB}" dt="2024-07-13T19:43:54.605" v="266" actId="165"/>
          <ac:grpSpMkLst>
            <pc:docMk/>
            <pc:sldMk cId="1675954530" sldId="4842"/>
            <ac:grpSpMk id="15" creationId="{3F4057E8-5B9C-BC80-EC52-5097FDA19A2B}"/>
          </ac:grpSpMkLst>
        </pc:grpChg>
        <pc:grpChg chg="mod">
          <ac:chgData name="Alexander Krause" userId="0b5a8c652400661f" providerId="LiveId" clId="{31ABFD99-84AD-4D78-8064-FA3757D44FAB}" dt="2024-07-13T19:43:54.605" v="266" actId="165"/>
          <ac:grpSpMkLst>
            <pc:docMk/>
            <pc:sldMk cId="1675954530" sldId="4842"/>
            <ac:grpSpMk id="33" creationId="{B4D628C1-C529-FE65-C625-DD0AA930F349}"/>
          </ac:grpSpMkLst>
        </pc:grpChg>
        <pc:grpChg chg="mod topLvl">
          <ac:chgData name="Alexander Krause" userId="0b5a8c652400661f" providerId="LiveId" clId="{31ABFD99-84AD-4D78-8064-FA3757D44FAB}" dt="2024-07-13T19:43:54.605" v="266" actId="165"/>
          <ac:grpSpMkLst>
            <pc:docMk/>
            <pc:sldMk cId="1675954530" sldId="4842"/>
            <ac:grpSpMk id="38" creationId="{DD5D2E18-34FE-826F-900F-C555ABF229F9}"/>
          </ac:grpSpMkLst>
        </pc:grpChg>
        <pc:grpChg chg="mod topLvl">
          <ac:chgData name="Alexander Krause" userId="0b5a8c652400661f" providerId="LiveId" clId="{31ABFD99-84AD-4D78-8064-FA3757D44FAB}" dt="2024-07-13T19:43:54.605" v="266" actId="165"/>
          <ac:grpSpMkLst>
            <pc:docMk/>
            <pc:sldMk cId="1675954530" sldId="4842"/>
            <ac:grpSpMk id="69" creationId="{E2E30261-103C-5D46-1C1B-3A86C2BA5CCE}"/>
          </ac:grpSpMkLst>
        </pc:grpChg>
        <pc:grpChg chg="mod topLvl">
          <ac:chgData name="Alexander Krause" userId="0b5a8c652400661f" providerId="LiveId" clId="{31ABFD99-84AD-4D78-8064-FA3757D44FAB}" dt="2024-07-13T19:44:08.285" v="268" actId="1076"/>
          <ac:grpSpMkLst>
            <pc:docMk/>
            <pc:sldMk cId="1675954530" sldId="4842"/>
            <ac:grpSpMk id="70" creationId="{7EA7B75B-D165-BCFC-6632-9764A51FF3EF}"/>
          </ac:grpSpMkLst>
        </pc:grpChg>
        <pc:grpChg chg="mod topLvl">
          <ac:chgData name="Alexander Krause" userId="0b5a8c652400661f" providerId="LiveId" clId="{31ABFD99-84AD-4D78-8064-FA3757D44FAB}" dt="2024-07-13T19:43:54.605" v="266" actId="165"/>
          <ac:grpSpMkLst>
            <pc:docMk/>
            <pc:sldMk cId="1675954530" sldId="4842"/>
            <ac:grpSpMk id="71" creationId="{4C02A58F-C74E-A1F6-BCF2-2CE86894A575}"/>
          </ac:grpSpMkLst>
        </pc:grpChg>
        <pc:grpChg chg="mod topLvl">
          <ac:chgData name="Alexander Krause" userId="0b5a8c652400661f" providerId="LiveId" clId="{31ABFD99-84AD-4D78-8064-FA3757D44FAB}" dt="2024-07-13T19:43:54.605" v="266" actId="165"/>
          <ac:grpSpMkLst>
            <pc:docMk/>
            <pc:sldMk cId="1675954530" sldId="4842"/>
            <ac:grpSpMk id="72" creationId="{D69FA70D-E166-5733-6C0F-CF1B9483B94E}"/>
          </ac:grpSpMkLst>
        </pc:grpChg>
        <pc:picChg chg="mod">
          <ac:chgData name="Alexander Krause" userId="0b5a8c652400661f" providerId="LiveId" clId="{31ABFD99-84AD-4D78-8064-FA3757D44FAB}" dt="2024-07-13T19:43:54.605" v="266" actId="165"/>
          <ac:picMkLst>
            <pc:docMk/>
            <pc:sldMk cId="1675954530" sldId="4842"/>
            <ac:picMk id="23" creationId="{8F4F79EE-10D3-0543-9FA1-EBA56E927EFF}"/>
          </ac:picMkLst>
        </pc:picChg>
        <pc:picChg chg="mod">
          <ac:chgData name="Alexander Krause" userId="0b5a8c652400661f" providerId="LiveId" clId="{31ABFD99-84AD-4D78-8064-FA3757D44FAB}" dt="2024-07-13T19:43:54.605" v="266" actId="165"/>
          <ac:picMkLst>
            <pc:docMk/>
            <pc:sldMk cId="1675954530" sldId="4842"/>
            <ac:picMk id="25" creationId="{19BE89D9-9AAD-118D-6AB8-4AEBDB12EED6}"/>
          </ac:picMkLst>
        </pc:picChg>
        <pc:picChg chg="mod">
          <ac:chgData name="Alexander Krause" userId="0b5a8c652400661f" providerId="LiveId" clId="{31ABFD99-84AD-4D78-8064-FA3757D44FAB}" dt="2024-07-13T19:43:54.605" v="266" actId="165"/>
          <ac:picMkLst>
            <pc:docMk/>
            <pc:sldMk cId="1675954530" sldId="4842"/>
            <ac:picMk id="27" creationId="{15A616FC-0844-73F8-BC52-661AD65EEA8E}"/>
          </ac:picMkLst>
        </pc:picChg>
        <pc:picChg chg="mod">
          <ac:chgData name="Alexander Krause" userId="0b5a8c652400661f" providerId="LiveId" clId="{31ABFD99-84AD-4D78-8064-FA3757D44FAB}" dt="2024-07-13T19:43:54.605" v="266" actId="165"/>
          <ac:picMkLst>
            <pc:docMk/>
            <pc:sldMk cId="1675954530" sldId="4842"/>
            <ac:picMk id="29" creationId="{2D13D3FD-D8AA-A6E1-DD71-A44DE516EB4D}"/>
          </ac:picMkLst>
        </pc:picChg>
      </pc:sldChg>
      <pc:sldChg chg="addSp delSp modSp add mod modAnim">
        <pc:chgData name="Alexander Krause" userId="0b5a8c652400661f" providerId="LiveId" clId="{31ABFD99-84AD-4D78-8064-FA3757D44FAB}" dt="2024-07-14T18:42:22.890" v="1155"/>
        <pc:sldMkLst>
          <pc:docMk/>
          <pc:sldMk cId="4196100929" sldId="4843"/>
        </pc:sldMkLst>
        <pc:spChg chg="mod">
          <ac:chgData name="Alexander Krause" userId="0b5a8c652400661f" providerId="LiveId" clId="{31ABFD99-84AD-4D78-8064-FA3757D44FAB}" dt="2024-07-14T18:41:30.603" v="1146" actId="165"/>
          <ac:spMkLst>
            <pc:docMk/>
            <pc:sldMk cId="4196100929" sldId="4843"/>
            <ac:spMk id="4" creationId="{4DD8443F-DF91-88E3-3120-0EFD8A580F7B}"/>
          </ac:spMkLst>
        </pc:spChg>
        <pc:spChg chg="add mod">
          <ac:chgData name="Alexander Krause" userId="0b5a8c652400661f" providerId="LiveId" clId="{31ABFD99-84AD-4D78-8064-FA3757D44FAB}" dt="2024-07-14T18:26:55.882" v="1116"/>
          <ac:spMkLst>
            <pc:docMk/>
            <pc:sldMk cId="4196100929" sldId="4843"/>
            <ac:spMk id="8" creationId="{FD634F26-EB0C-D816-5697-8DC77CD63D82}"/>
          </ac:spMkLst>
        </pc:spChg>
        <pc:spChg chg="del mod">
          <ac:chgData name="Alexander Krause" userId="0b5a8c652400661f" providerId="LiveId" clId="{31ABFD99-84AD-4D78-8064-FA3757D44FAB}" dt="2024-07-14T18:26:54.865" v="1115" actId="478"/>
          <ac:spMkLst>
            <pc:docMk/>
            <pc:sldMk cId="4196100929" sldId="4843"/>
            <ac:spMk id="14" creationId="{D06C648A-527D-6053-9043-C815013E7F0A}"/>
          </ac:spMkLst>
        </pc:spChg>
        <pc:spChg chg="mod">
          <ac:chgData name="Alexander Krause" userId="0b5a8c652400661f" providerId="LiveId" clId="{31ABFD99-84AD-4D78-8064-FA3757D44FAB}" dt="2024-07-14T18:41:30.603" v="1146" actId="165"/>
          <ac:spMkLst>
            <pc:docMk/>
            <pc:sldMk cId="4196100929" sldId="4843"/>
            <ac:spMk id="16" creationId="{94684945-8AFB-E54F-FAA6-5D502E8882BA}"/>
          </ac:spMkLst>
        </pc:spChg>
        <pc:spChg chg="mod">
          <ac:chgData name="Alexander Krause" userId="0b5a8c652400661f" providerId="LiveId" clId="{31ABFD99-84AD-4D78-8064-FA3757D44FAB}" dt="2024-07-14T18:41:30.603" v="1146" actId="165"/>
          <ac:spMkLst>
            <pc:docMk/>
            <pc:sldMk cId="4196100929" sldId="4843"/>
            <ac:spMk id="20" creationId="{FB19C8B1-7813-98AD-83EC-620FE0099757}"/>
          </ac:spMkLst>
        </pc:spChg>
        <pc:spChg chg="add mod">
          <ac:chgData name="Alexander Krause" userId="0b5a8c652400661f" providerId="LiveId" clId="{31ABFD99-84AD-4D78-8064-FA3757D44FAB}" dt="2024-07-14T18:42:07.256" v="1152" actId="164"/>
          <ac:spMkLst>
            <pc:docMk/>
            <pc:sldMk cId="4196100929" sldId="4843"/>
            <ac:spMk id="22" creationId="{9055D713-C108-EFCC-2382-025B43EFD36C}"/>
          </ac:spMkLst>
        </pc:spChg>
        <pc:spChg chg="mod">
          <ac:chgData name="Alexander Krause" userId="0b5a8c652400661f" providerId="LiveId" clId="{31ABFD99-84AD-4D78-8064-FA3757D44FAB}" dt="2024-07-14T18:41:30.603" v="1146" actId="165"/>
          <ac:spMkLst>
            <pc:docMk/>
            <pc:sldMk cId="4196100929" sldId="4843"/>
            <ac:spMk id="23" creationId="{78762981-F65C-A7CA-4417-9C28D2A92190}"/>
          </ac:spMkLst>
        </pc:spChg>
        <pc:spChg chg="mod topLvl">
          <ac:chgData name="Alexander Krause" userId="0b5a8c652400661f" providerId="LiveId" clId="{31ABFD99-84AD-4D78-8064-FA3757D44FAB}" dt="2024-07-14T18:41:30.603" v="1146" actId="165"/>
          <ac:spMkLst>
            <pc:docMk/>
            <pc:sldMk cId="4196100929" sldId="4843"/>
            <ac:spMk id="28" creationId="{C3D48D27-7112-C379-7A3F-9B5C20D39901}"/>
          </ac:spMkLst>
        </pc:spChg>
        <pc:spChg chg="mod topLvl">
          <ac:chgData name="Alexander Krause" userId="0b5a8c652400661f" providerId="LiveId" clId="{31ABFD99-84AD-4D78-8064-FA3757D44FAB}" dt="2024-07-14T18:41:30.603" v="1146" actId="165"/>
          <ac:spMkLst>
            <pc:docMk/>
            <pc:sldMk cId="4196100929" sldId="4843"/>
            <ac:spMk id="29" creationId="{66CE74EC-C4D2-654F-0F00-30B2602A6202}"/>
          </ac:spMkLst>
        </pc:spChg>
        <pc:spChg chg="mod">
          <ac:chgData name="Alexander Krause" userId="0b5a8c652400661f" providerId="LiveId" clId="{31ABFD99-84AD-4D78-8064-FA3757D44FAB}" dt="2024-07-14T18:20:19.010" v="1083" actId="408"/>
          <ac:spMkLst>
            <pc:docMk/>
            <pc:sldMk cId="4196100929" sldId="4843"/>
            <ac:spMk id="31" creationId="{C3DA468D-BA46-7369-34A3-1C1A3A6E627B}"/>
          </ac:spMkLst>
        </pc:spChg>
        <pc:grpChg chg="mod topLvl">
          <ac:chgData name="Alexander Krause" userId="0b5a8c652400661f" providerId="LiveId" clId="{31ABFD99-84AD-4D78-8064-FA3757D44FAB}" dt="2024-07-14T18:41:30.603" v="1146" actId="165"/>
          <ac:grpSpMkLst>
            <pc:docMk/>
            <pc:sldMk cId="4196100929" sldId="4843"/>
            <ac:grpSpMk id="2" creationId="{38981030-2149-632F-4102-E232BC93C0D3}"/>
          </ac:grpSpMkLst>
        </pc:grpChg>
        <pc:grpChg chg="add mod topLvl">
          <ac:chgData name="Alexander Krause" userId="0b5a8c652400661f" providerId="LiveId" clId="{31ABFD99-84AD-4D78-8064-FA3757D44FAB}" dt="2024-07-14T18:42:07.256" v="1152" actId="164"/>
          <ac:grpSpMkLst>
            <pc:docMk/>
            <pc:sldMk cId="4196100929" sldId="4843"/>
            <ac:grpSpMk id="7" creationId="{20584B3D-3715-69FA-B4C8-2B9F16E97037}"/>
          </ac:grpSpMkLst>
        </pc:grpChg>
        <pc:grpChg chg="add del mod">
          <ac:chgData name="Alexander Krause" userId="0b5a8c652400661f" providerId="LiveId" clId="{31ABFD99-84AD-4D78-8064-FA3757D44FAB}" dt="2024-07-14T15:10:33.721" v="492" actId="165"/>
          <ac:grpSpMkLst>
            <pc:docMk/>
            <pc:sldMk cId="4196100929" sldId="4843"/>
            <ac:grpSpMk id="7" creationId="{33EAA2E0-97A9-1754-C4A8-B88937C6DE62}"/>
          </ac:grpSpMkLst>
        </pc:grpChg>
        <pc:grpChg chg="add del mod">
          <ac:chgData name="Alexander Krause" userId="0b5a8c652400661f" providerId="LiveId" clId="{31ABFD99-84AD-4D78-8064-FA3757D44FAB}" dt="2024-07-14T18:41:30.603" v="1146" actId="165"/>
          <ac:grpSpMkLst>
            <pc:docMk/>
            <pc:sldMk cId="4196100929" sldId="4843"/>
            <ac:grpSpMk id="9" creationId="{6F8B5CFE-58BF-0C4D-5944-9A44A3675D96}"/>
          </ac:grpSpMkLst>
        </pc:grpChg>
        <pc:grpChg chg="mod">
          <ac:chgData name="Alexander Krause" userId="0b5a8c652400661f" providerId="LiveId" clId="{31ABFD99-84AD-4D78-8064-FA3757D44FAB}" dt="2024-07-14T18:41:30.603" v="1146" actId="165"/>
          <ac:grpSpMkLst>
            <pc:docMk/>
            <pc:sldMk cId="4196100929" sldId="4843"/>
            <ac:grpSpMk id="15" creationId="{B5114924-A2C7-7FC3-FA61-2C85F82CDAC3}"/>
          </ac:grpSpMkLst>
        </pc:grpChg>
        <pc:grpChg chg="mod topLvl">
          <ac:chgData name="Alexander Krause" userId="0b5a8c652400661f" providerId="LiveId" clId="{31ABFD99-84AD-4D78-8064-FA3757D44FAB}" dt="2024-07-14T18:41:30.603" v="1146" actId="165"/>
          <ac:grpSpMkLst>
            <pc:docMk/>
            <pc:sldMk cId="4196100929" sldId="4843"/>
            <ac:grpSpMk id="17" creationId="{94041A48-6112-AD21-F82F-B772E5D6BB6C}"/>
          </ac:grpSpMkLst>
        </pc:grpChg>
        <pc:grpChg chg="mod">
          <ac:chgData name="Alexander Krause" userId="0b5a8c652400661f" providerId="LiveId" clId="{31ABFD99-84AD-4D78-8064-FA3757D44FAB}" dt="2024-07-14T18:41:30.603" v="1146" actId="165"/>
          <ac:grpSpMkLst>
            <pc:docMk/>
            <pc:sldMk cId="4196100929" sldId="4843"/>
            <ac:grpSpMk id="19" creationId="{F783BF81-8606-6C90-3C24-F905F7FAE9F5}"/>
          </ac:grpSpMkLst>
        </pc:grpChg>
        <pc:grpChg chg="add mod">
          <ac:chgData name="Alexander Krause" userId="0b5a8c652400661f" providerId="LiveId" clId="{31ABFD99-84AD-4D78-8064-FA3757D44FAB}" dt="2024-07-14T18:42:07.256" v="1152" actId="164"/>
          <ac:grpSpMkLst>
            <pc:docMk/>
            <pc:sldMk cId="4196100929" sldId="4843"/>
            <ac:grpSpMk id="24" creationId="{9802D3E6-CDA6-3B79-D09A-E83E64CA1365}"/>
          </ac:grpSpMkLst>
        </pc:grpChg>
        <pc:picChg chg="mod">
          <ac:chgData name="Alexander Krause" userId="0b5a8c652400661f" providerId="LiveId" clId="{31ABFD99-84AD-4D78-8064-FA3757D44FAB}" dt="2024-07-14T18:41:30.603" v="1146" actId="165"/>
          <ac:picMkLst>
            <pc:docMk/>
            <pc:sldMk cId="4196100929" sldId="4843"/>
            <ac:picMk id="3" creationId="{F16FCDEA-70ED-9961-D759-17DAC3AA5F51}"/>
          </ac:picMkLst>
        </pc:picChg>
        <pc:picChg chg="mod">
          <ac:chgData name="Alexander Krause" userId="0b5a8c652400661f" providerId="LiveId" clId="{31ABFD99-84AD-4D78-8064-FA3757D44FAB}" dt="2024-07-14T18:41:30.603" v="1146" actId="165"/>
          <ac:picMkLst>
            <pc:docMk/>
            <pc:sldMk cId="4196100929" sldId="4843"/>
            <ac:picMk id="6" creationId="{53F290A2-EA6D-332A-2359-B3EDFFD38C3E}"/>
          </ac:picMkLst>
        </pc:picChg>
        <pc:picChg chg="mod">
          <ac:chgData name="Alexander Krause" userId="0b5a8c652400661f" providerId="LiveId" clId="{31ABFD99-84AD-4D78-8064-FA3757D44FAB}" dt="2024-07-14T18:41:30.603" v="1146" actId="165"/>
          <ac:picMkLst>
            <pc:docMk/>
            <pc:sldMk cId="4196100929" sldId="4843"/>
            <ac:picMk id="11" creationId="{4EFB40D3-547E-43B6-AE4C-EBD889AD15C5}"/>
          </ac:picMkLst>
        </pc:picChg>
        <pc:picChg chg="mod">
          <ac:chgData name="Alexander Krause" userId="0b5a8c652400661f" providerId="LiveId" clId="{31ABFD99-84AD-4D78-8064-FA3757D44FAB}" dt="2024-07-14T18:41:30.603" v="1146" actId="165"/>
          <ac:picMkLst>
            <pc:docMk/>
            <pc:sldMk cId="4196100929" sldId="4843"/>
            <ac:picMk id="27" creationId="{A29C65B8-3709-9566-F974-86497F333C6F}"/>
          </ac:picMkLst>
        </pc:picChg>
      </pc:sldChg>
      <pc:sldChg chg="addSp delSp modSp add mod delAnim modAnim">
        <pc:chgData name="Alexander Krause" userId="0b5a8c652400661f" providerId="LiveId" clId="{31ABFD99-84AD-4D78-8064-FA3757D44FAB}" dt="2024-07-14T19:39:27.129" v="1206" actId="1076"/>
        <pc:sldMkLst>
          <pc:docMk/>
          <pc:sldMk cId="3818423006" sldId="4844"/>
        </pc:sldMkLst>
        <pc:spChg chg="add del mod">
          <ac:chgData name="Alexander Krause" userId="0b5a8c652400661f" providerId="LiveId" clId="{31ABFD99-84AD-4D78-8064-FA3757D44FAB}" dt="2024-07-14T15:34:29.773" v="752" actId="478"/>
          <ac:spMkLst>
            <pc:docMk/>
            <pc:sldMk cId="3818423006" sldId="4844"/>
            <ac:spMk id="7" creationId="{B7B8B182-63A1-A983-3C79-C167172F93FA}"/>
          </ac:spMkLst>
        </pc:spChg>
        <pc:spChg chg="add del mod">
          <ac:chgData name="Alexander Krause" userId="0b5a8c652400661f" providerId="LiveId" clId="{31ABFD99-84AD-4D78-8064-FA3757D44FAB}" dt="2024-07-14T15:34:27.315" v="751" actId="478"/>
          <ac:spMkLst>
            <pc:docMk/>
            <pc:sldMk cId="3818423006" sldId="4844"/>
            <ac:spMk id="8" creationId="{76E3DC80-EF47-CC4C-B1FC-8A779F1DFA52}"/>
          </ac:spMkLst>
        </pc:spChg>
        <pc:spChg chg="add mod">
          <ac:chgData name="Alexander Krause" userId="0b5a8c652400661f" providerId="LiveId" clId="{31ABFD99-84AD-4D78-8064-FA3757D44FAB}" dt="2024-07-14T18:40:10.985" v="1139" actId="20577"/>
          <ac:spMkLst>
            <pc:docMk/>
            <pc:sldMk cId="3818423006" sldId="4844"/>
            <ac:spMk id="9" creationId="{3DD27D64-9C93-7E51-3174-3F15A1CB11F7}"/>
          </ac:spMkLst>
        </pc:spChg>
        <pc:spChg chg="mod">
          <ac:chgData name="Alexander Krause" userId="0b5a8c652400661f" providerId="LiveId" clId="{31ABFD99-84AD-4D78-8064-FA3757D44FAB}" dt="2024-07-14T18:23:23.637" v="1103" actId="408"/>
          <ac:spMkLst>
            <pc:docMk/>
            <pc:sldMk cId="3818423006" sldId="4844"/>
            <ac:spMk id="14" creationId="{D06C648A-527D-6053-9043-C815013E7F0A}"/>
          </ac:spMkLst>
        </pc:spChg>
        <pc:spChg chg="mod">
          <ac:chgData name="Alexander Krause" userId="0b5a8c652400661f" providerId="LiveId" clId="{31ABFD99-84AD-4D78-8064-FA3757D44FAB}" dt="2024-07-14T18:22:43.057" v="1099" actId="1076"/>
          <ac:spMkLst>
            <pc:docMk/>
            <pc:sldMk cId="3818423006" sldId="4844"/>
            <ac:spMk id="20" creationId="{FB19C8B1-7813-98AD-83EC-620FE0099757}"/>
          </ac:spMkLst>
        </pc:spChg>
        <pc:spChg chg="mod">
          <ac:chgData name="Alexander Krause" userId="0b5a8c652400661f" providerId="LiveId" clId="{31ABFD99-84AD-4D78-8064-FA3757D44FAB}" dt="2024-07-14T18:22:27.848" v="1098" actId="408"/>
          <ac:spMkLst>
            <pc:docMk/>
            <pc:sldMk cId="3818423006" sldId="4844"/>
            <ac:spMk id="21" creationId="{51DF535E-4733-8892-F41D-BC5C554B9C54}"/>
          </ac:spMkLst>
        </pc:spChg>
        <pc:spChg chg="mod">
          <ac:chgData name="Alexander Krause" userId="0b5a8c652400661f" providerId="LiveId" clId="{31ABFD99-84AD-4D78-8064-FA3757D44FAB}" dt="2024-07-14T18:22:43.057" v="1099" actId="1076"/>
          <ac:spMkLst>
            <pc:docMk/>
            <pc:sldMk cId="3818423006" sldId="4844"/>
            <ac:spMk id="23" creationId="{78762981-F65C-A7CA-4417-9C28D2A92190}"/>
          </ac:spMkLst>
        </pc:spChg>
        <pc:spChg chg="mod">
          <ac:chgData name="Alexander Krause" userId="0b5a8c652400661f" providerId="LiveId" clId="{31ABFD99-84AD-4D78-8064-FA3757D44FAB}" dt="2024-07-14T18:22:27.848" v="1098" actId="408"/>
          <ac:spMkLst>
            <pc:docMk/>
            <pc:sldMk cId="3818423006" sldId="4844"/>
            <ac:spMk id="25" creationId="{04247515-B5DE-3EFA-CBB9-B2698006353B}"/>
          </ac:spMkLst>
        </pc:spChg>
        <pc:spChg chg="add mod">
          <ac:chgData name="Alexander Krause" userId="0b5a8c652400661f" providerId="LiveId" clId="{31ABFD99-84AD-4D78-8064-FA3757D44FAB}" dt="2024-07-14T19:39:03.133" v="1204" actId="20577"/>
          <ac:spMkLst>
            <pc:docMk/>
            <pc:sldMk cId="3818423006" sldId="4844"/>
            <ac:spMk id="26" creationId="{C7DAE0F4-D15D-D61E-12EC-D21E2716ACAA}"/>
          </ac:spMkLst>
        </pc:spChg>
        <pc:spChg chg="mod">
          <ac:chgData name="Alexander Krause" userId="0b5a8c652400661f" providerId="LiveId" clId="{31ABFD99-84AD-4D78-8064-FA3757D44FAB}" dt="2024-07-14T18:21:23.015" v="1089" actId="408"/>
          <ac:spMkLst>
            <pc:docMk/>
            <pc:sldMk cId="3818423006" sldId="4844"/>
            <ac:spMk id="28" creationId="{C3D48D27-7112-C379-7A3F-9B5C20D39901}"/>
          </ac:spMkLst>
        </pc:spChg>
        <pc:spChg chg="mod">
          <ac:chgData name="Alexander Krause" userId="0b5a8c652400661f" providerId="LiveId" clId="{31ABFD99-84AD-4D78-8064-FA3757D44FAB}" dt="2024-07-14T18:21:23.015" v="1089" actId="408"/>
          <ac:spMkLst>
            <pc:docMk/>
            <pc:sldMk cId="3818423006" sldId="4844"/>
            <ac:spMk id="29" creationId="{66CE74EC-C4D2-654F-0F00-30B2602A6202}"/>
          </ac:spMkLst>
        </pc:spChg>
        <pc:spChg chg="del">
          <ac:chgData name="Alexander Krause" userId="0b5a8c652400661f" providerId="LiveId" clId="{31ABFD99-84AD-4D78-8064-FA3757D44FAB}" dt="2024-07-14T15:35:48.111" v="939" actId="478"/>
          <ac:spMkLst>
            <pc:docMk/>
            <pc:sldMk cId="3818423006" sldId="4844"/>
            <ac:spMk id="31" creationId="{C3DA468D-BA46-7369-34A3-1C1A3A6E627B}"/>
          </ac:spMkLst>
        </pc:spChg>
        <pc:spChg chg="add mod">
          <ac:chgData name="Alexander Krause" userId="0b5a8c652400661f" providerId="LiveId" clId="{31ABFD99-84AD-4D78-8064-FA3757D44FAB}" dt="2024-07-14T19:39:07.425" v="1205" actId="20577"/>
          <ac:spMkLst>
            <pc:docMk/>
            <pc:sldMk cId="3818423006" sldId="4844"/>
            <ac:spMk id="32" creationId="{B04096C4-4823-6D0E-4B3F-AA02A27BDF4C}"/>
          </ac:spMkLst>
        </pc:spChg>
        <pc:spChg chg="mod">
          <ac:chgData name="Alexander Krause" userId="0b5a8c652400661f" providerId="LiveId" clId="{31ABFD99-84AD-4D78-8064-FA3757D44FAB}" dt="2024-07-14T18:21:23.015" v="1089" actId="408"/>
          <ac:spMkLst>
            <pc:docMk/>
            <pc:sldMk cId="3818423006" sldId="4844"/>
            <ac:spMk id="34" creationId="{D02379AB-D97B-B440-B05C-07CE7118BCE4}"/>
          </ac:spMkLst>
        </pc:spChg>
        <pc:spChg chg="mod">
          <ac:chgData name="Alexander Krause" userId="0b5a8c652400661f" providerId="LiveId" clId="{31ABFD99-84AD-4D78-8064-FA3757D44FAB}" dt="2024-07-14T18:21:23.015" v="1089" actId="408"/>
          <ac:spMkLst>
            <pc:docMk/>
            <pc:sldMk cId="3818423006" sldId="4844"/>
            <ac:spMk id="35" creationId="{9E98CDEE-4DC9-EABF-3649-B2A135DB51C6}"/>
          </ac:spMkLst>
        </pc:spChg>
        <pc:spChg chg="del">
          <ac:chgData name="Alexander Krause" userId="0b5a8c652400661f" providerId="LiveId" clId="{31ABFD99-84AD-4D78-8064-FA3757D44FAB}" dt="2024-07-14T15:36:19.202" v="944" actId="478"/>
          <ac:spMkLst>
            <pc:docMk/>
            <pc:sldMk cId="3818423006" sldId="4844"/>
            <ac:spMk id="38" creationId="{E9015F50-F38F-9741-1C3D-FA955F9473D8}"/>
          </ac:spMkLst>
        </pc:spChg>
        <pc:grpChg chg="mod">
          <ac:chgData name="Alexander Krause" userId="0b5a8c652400661f" providerId="LiveId" clId="{31ABFD99-84AD-4D78-8064-FA3757D44FAB}" dt="2024-07-14T18:22:43.057" v="1099" actId="1076"/>
          <ac:grpSpMkLst>
            <pc:docMk/>
            <pc:sldMk cId="3818423006" sldId="4844"/>
            <ac:grpSpMk id="2" creationId="{89F17CBC-00AA-D924-EC39-D6556A662D87}"/>
          </ac:grpSpMkLst>
        </pc:grpChg>
        <pc:grpChg chg="mod">
          <ac:chgData name="Alexander Krause" userId="0b5a8c652400661f" providerId="LiveId" clId="{31ABFD99-84AD-4D78-8064-FA3757D44FAB}" dt="2024-07-14T18:22:51.169" v="1101" actId="1076"/>
          <ac:grpSpMkLst>
            <pc:docMk/>
            <pc:sldMk cId="3818423006" sldId="4844"/>
            <ac:grpSpMk id="13" creationId="{D933559A-4F42-6877-FF44-D0854B978D9D}"/>
          </ac:grpSpMkLst>
        </pc:grpChg>
        <pc:grpChg chg="mod">
          <ac:chgData name="Alexander Krause" userId="0b5a8c652400661f" providerId="LiveId" clId="{31ABFD99-84AD-4D78-8064-FA3757D44FAB}" dt="2024-07-14T18:22:25.853" v="1097" actId="408"/>
          <ac:grpSpMkLst>
            <pc:docMk/>
            <pc:sldMk cId="3818423006" sldId="4844"/>
            <ac:grpSpMk id="17" creationId="{94041A48-6112-AD21-F82F-B772E5D6BB6C}"/>
          </ac:grpSpMkLst>
        </pc:grpChg>
        <pc:grpChg chg="mod">
          <ac:chgData name="Alexander Krause" userId="0b5a8c652400661f" providerId="LiveId" clId="{31ABFD99-84AD-4D78-8064-FA3757D44FAB}" dt="2024-07-14T18:22:27.848" v="1098" actId="408"/>
          <ac:grpSpMkLst>
            <pc:docMk/>
            <pc:sldMk cId="3818423006" sldId="4844"/>
            <ac:grpSpMk id="18" creationId="{DF32402C-F944-13B9-BBAC-1AE8B101B7E1}"/>
          </ac:grpSpMkLst>
        </pc:grpChg>
        <pc:grpChg chg="mod">
          <ac:chgData name="Alexander Krause" userId="0b5a8c652400661f" providerId="LiveId" clId="{31ABFD99-84AD-4D78-8064-FA3757D44FAB}" dt="2024-07-14T18:22:43.057" v="1099" actId="1076"/>
          <ac:grpSpMkLst>
            <pc:docMk/>
            <pc:sldMk cId="3818423006" sldId="4844"/>
            <ac:grpSpMk id="19" creationId="{F783BF81-8606-6C90-3C24-F905F7FAE9F5}"/>
          </ac:grpSpMkLst>
        </pc:grpChg>
        <pc:grpChg chg="mod">
          <ac:chgData name="Alexander Krause" userId="0b5a8c652400661f" providerId="LiveId" clId="{31ABFD99-84AD-4D78-8064-FA3757D44FAB}" dt="2024-07-14T18:22:47.160" v="1100" actId="1076"/>
          <ac:grpSpMkLst>
            <pc:docMk/>
            <pc:sldMk cId="3818423006" sldId="4844"/>
            <ac:grpSpMk id="33" creationId="{81335E51-81E1-3248-5FF2-DC866A51E958}"/>
          </ac:grpSpMkLst>
        </pc:grpChg>
        <pc:picChg chg="mod">
          <ac:chgData name="Alexander Krause" userId="0b5a8c652400661f" providerId="LiveId" clId="{31ABFD99-84AD-4D78-8064-FA3757D44FAB}" dt="2024-07-14T18:22:43.057" v="1099" actId="1076"/>
          <ac:picMkLst>
            <pc:docMk/>
            <pc:sldMk cId="3818423006" sldId="4844"/>
            <ac:picMk id="27" creationId="{A29C65B8-3709-9566-F974-86497F333C6F}"/>
          </ac:picMkLst>
        </pc:picChg>
        <pc:picChg chg="mod">
          <ac:chgData name="Alexander Krause" userId="0b5a8c652400661f" providerId="LiveId" clId="{31ABFD99-84AD-4D78-8064-FA3757D44FAB}" dt="2024-07-14T19:39:27.129" v="1206" actId="1076"/>
          <ac:picMkLst>
            <pc:docMk/>
            <pc:sldMk cId="3818423006" sldId="4844"/>
            <ac:picMk id="37" creationId="{C4086C6D-B03D-E5B7-865B-9A346CA24319}"/>
          </ac:picMkLst>
        </pc:picChg>
      </pc:sldChg>
      <pc:sldChg chg="addSp delSp modSp add mod delAnim modAnim">
        <pc:chgData name="Alexander Krause" userId="0b5a8c652400661f" providerId="LiveId" clId="{31ABFD99-84AD-4D78-8064-FA3757D44FAB}" dt="2024-07-13T20:17:12.304" v="483"/>
        <pc:sldMkLst>
          <pc:docMk/>
          <pc:sldMk cId="3814989991" sldId="4845"/>
        </pc:sldMkLst>
        <pc:spChg chg="mod">
          <ac:chgData name="Alexander Krause" userId="0b5a8c652400661f" providerId="LiveId" clId="{31ABFD99-84AD-4D78-8064-FA3757D44FAB}" dt="2024-07-13T20:02:35.845" v="377" actId="1076"/>
          <ac:spMkLst>
            <pc:docMk/>
            <pc:sldMk cId="3814989991" sldId="4845"/>
            <ac:spMk id="4" creationId="{BC56AC46-767C-2738-4F33-1CA896453E6F}"/>
          </ac:spMkLst>
        </pc:spChg>
        <pc:spChg chg="del mod">
          <ac:chgData name="Alexander Krause" userId="0b5a8c652400661f" providerId="LiveId" clId="{31ABFD99-84AD-4D78-8064-FA3757D44FAB}" dt="2024-07-13T20:09:06.045" v="430" actId="478"/>
          <ac:spMkLst>
            <pc:docMk/>
            <pc:sldMk cId="3814989991" sldId="4845"/>
            <ac:spMk id="9" creationId="{786107F8-6EF3-DD50-70FF-1159F680FE79}"/>
          </ac:spMkLst>
        </pc:spChg>
        <pc:spChg chg="del mod">
          <ac:chgData name="Alexander Krause" userId="0b5a8c652400661f" providerId="LiveId" clId="{31ABFD99-84AD-4D78-8064-FA3757D44FAB}" dt="2024-07-13T20:09:20.780" v="433" actId="478"/>
          <ac:spMkLst>
            <pc:docMk/>
            <pc:sldMk cId="3814989991" sldId="4845"/>
            <ac:spMk id="10" creationId="{FB1BFBD2-DC90-04D0-50E8-11C54861FDB0}"/>
          </ac:spMkLst>
        </pc:spChg>
        <pc:spChg chg="del mod">
          <ac:chgData name="Alexander Krause" userId="0b5a8c652400661f" providerId="LiveId" clId="{31ABFD99-84AD-4D78-8064-FA3757D44FAB}" dt="2024-07-13T20:10:42.541" v="438" actId="478"/>
          <ac:spMkLst>
            <pc:docMk/>
            <pc:sldMk cId="3814989991" sldId="4845"/>
            <ac:spMk id="11" creationId="{A2A3B9FD-79A1-CD72-DCB8-353EA268DA8C}"/>
          </ac:spMkLst>
        </pc:spChg>
        <pc:spChg chg="del mod">
          <ac:chgData name="Alexander Krause" userId="0b5a8c652400661f" providerId="LiveId" clId="{31ABFD99-84AD-4D78-8064-FA3757D44FAB}" dt="2024-07-13T20:09:00.752" v="429" actId="478"/>
          <ac:spMkLst>
            <pc:docMk/>
            <pc:sldMk cId="3814989991" sldId="4845"/>
            <ac:spMk id="12" creationId="{F159841F-1D99-B0CB-267B-85E530C68274}"/>
          </ac:spMkLst>
        </pc:spChg>
        <pc:spChg chg="mod">
          <ac:chgData name="Alexander Krause" userId="0b5a8c652400661f" providerId="LiveId" clId="{31ABFD99-84AD-4D78-8064-FA3757D44FAB}" dt="2024-07-13T20:02:35.845" v="377" actId="1076"/>
          <ac:spMkLst>
            <pc:docMk/>
            <pc:sldMk cId="3814989991" sldId="4845"/>
            <ac:spMk id="14" creationId="{A8735DD9-84ED-072E-6619-CE9FC1FEC4B7}"/>
          </ac:spMkLst>
        </pc:spChg>
        <pc:spChg chg="mod">
          <ac:chgData name="Alexander Krause" userId="0b5a8c652400661f" providerId="LiveId" clId="{31ABFD99-84AD-4D78-8064-FA3757D44FAB}" dt="2024-07-13T20:04:15.029" v="417" actId="2711"/>
          <ac:spMkLst>
            <pc:docMk/>
            <pc:sldMk cId="3814989991" sldId="4845"/>
            <ac:spMk id="16" creationId="{361E7319-DAED-EED4-F2DB-09EB04118ED0}"/>
          </ac:spMkLst>
        </pc:spChg>
        <pc:spChg chg="add del mod">
          <ac:chgData name="Alexander Krause" userId="0b5a8c652400661f" providerId="LiveId" clId="{31ABFD99-84AD-4D78-8064-FA3757D44FAB}" dt="2024-07-13T19:53:47.935" v="315" actId="478"/>
          <ac:spMkLst>
            <pc:docMk/>
            <pc:sldMk cId="3814989991" sldId="4845"/>
            <ac:spMk id="18" creationId="{D7517D40-DC09-6FC0-EC5D-FEF93311890F}"/>
          </ac:spMkLst>
        </pc:spChg>
        <pc:spChg chg="add del mod ord">
          <ac:chgData name="Alexander Krause" userId="0b5a8c652400661f" providerId="LiveId" clId="{31ABFD99-84AD-4D78-8064-FA3757D44FAB}" dt="2024-07-13T19:52:01.649" v="295" actId="478"/>
          <ac:spMkLst>
            <pc:docMk/>
            <pc:sldMk cId="3814989991" sldId="4845"/>
            <ac:spMk id="19" creationId="{90129D48-9B29-07E2-4A45-686799A24268}"/>
          </ac:spMkLst>
        </pc:spChg>
        <pc:spChg chg="add mod">
          <ac:chgData name="Alexander Krause" userId="0b5a8c652400661f" providerId="LiveId" clId="{31ABFD99-84AD-4D78-8064-FA3757D44FAB}" dt="2024-07-13T19:52:19.771" v="301"/>
          <ac:spMkLst>
            <pc:docMk/>
            <pc:sldMk cId="3814989991" sldId="4845"/>
            <ac:spMk id="21" creationId="{378B63F1-902E-6B04-F987-D8491EC876ED}"/>
          </ac:spMkLst>
        </pc:spChg>
        <pc:spChg chg="add mod ord">
          <ac:chgData name="Alexander Krause" userId="0b5a8c652400661f" providerId="LiveId" clId="{31ABFD99-84AD-4D78-8064-FA3757D44FAB}" dt="2024-07-13T19:53:26.654" v="313" actId="164"/>
          <ac:spMkLst>
            <pc:docMk/>
            <pc:sldMk cId="3814989991" sldId="4845"/>
            <ac:spMk id="22" creationId="{B65370F1-1C04-E457-8E8F-FC3A48CA4C42}"/>
          </ac:spMkLst>
        </pc:spChg>
        <pc:spChg chg="add mod">
          <ac:chgData name="Alexander Krause" userId="0b5a8c652400661f" providerId="LiveId" clId="{31ABFD99-84AD-4D78-8064-FA3757D44FAB}" dt="2024-07-13T19:54:30.252" v="321" actId="164"/>
          <ac:spMkLst>
            <pc:docMk/>
            <pc:sldMk cId="3814989991" sldId="4845"/>
            <ac:spMk id="24" creationId="{DD8EF19D-5EB4-7EC2-6302-FEAE206CF7BA}"/>
          </ac:spMkLst>
        </pc:spChg>
        <pc:spChg chg="add mod">
          <ac:chgData name="Alexander Krause" userId="0b5a8c652400661f" providerId="LiveId" clId="{31ABFD99-84AD-4D78-8064-FA3757D44FAB}" dt="2024-07-13T19:54:30.252" v="321" actId="164"/>
          <ac:spMkLst>
            <pc:docMk/>
            <pc:sldMk cId="3814989991" sldId="4845"/>
            <ac:spMk id="25" creationId="{4140AE8F-B06D-F21F-B2EE-6C5351CBAA33}"/>
          </ac:spMkLst>
        </pc:spChg>
        <pc:spChg chg="mod">
          <ac:chgData name="Alexander Krause" userId="0b5a8c652400661f" providerId="LiveId" clId="{31ABFD99-84AD-4D78-8064-FA3757D44FAB}" dt="2024-07-13T19:55:52.038" v="331"/>
          <ac:spMkLst>
            <pc:docMk/>
            <pc:sldMk cId="3814989991" sldId="4845"/>
            <ac:spMk id="28" creationId="{16935E56-37A5-F94E-3093-9A878A99F2FF}"/>
          </ac:spMkLst>
        </pc:spChg>
        <pc:spChg chg="mod">
          <ac:chgData name="Alexander Krause" userId="0b5a8c652400661f" providerId="LiveId" clId="{31ABFD99-84AD-4D78-8064-FA3757D44FAB}" dt="2024-07-13T19:57:28.815" v="345" actId="207"/>
          <ac:spMkLst>
            <pc:docMk/>
            <pc:sldMk cId="3814989991" sldId="4845"/>
            <ac:spMk id="29" creationId="{7F49782A-4E49-B70B-96DA-20A16C10C7B7}"/>
          </ac:spMkLst>
        </pc:spChg>
        <pc:spChg chg="mod">
          <ac:chgData name="Alexander Krause" userId="0b5a8c652400661f" providerId="LiveId" clId="{31ABFD99-84AD-4D78-8064-FA3757D44FAB}" dt="2024-07-13T19:57:18.455" v="344" actId="207"/>
          <ac:spMkLst>
            <pc:docMk/>
            <pc:sldMk cId="3814989991" sldId="4845"/>
            <ac:spMk id="30" creationId="{8BB97926-59EB-B5C6-A60B-A4EF2A5DEBC9}"/>
          </ac:spMkLst>
        </pc:spChg>
        <pc:spChg chg="mod">
          <ac:chgData name="Alexander Krause" userId="0b5a8c652400661f" providerId="LiveId" clId="{31ABFD99-84AD-4D78-8064-FA3757D44FAB}" dt="2024-07-13T19:56:12.476" v="333"/>
          <ac:spMkLst>
            <pc:docMk/>
            <pc:sldMk cId="3814989991" sldId="4845"/>
            <ac:spMk id="33" creationId="{53D1372C-A177-F8CE-6DCF-E34B73F3AC77}"/>
          </ac:spMkLst>
        </pc:spChg>
        <pc:spChg chg="mod">
          <ac:chgData name="Alexander Krause" userId="0b5a8c652400661f" providerId="LiveId" clId="{31ABFD99-84AD-4D78-8064-FA3757D44FAB}" dt="2024-07-13T19:56:12.476" v="333"/>
          <ac:spMkLst>
            <pc:docMk/>
            <pc:sldMk cId="3814989991" sldId="4845"/>
            <ac:spMk id="34" creationId="{C12A76AF-EE72-CC7F-3B30-AC3DEA9660B8}"/>
          </ac:spMkLst>
        </pc:spChg>
        <pc:spChg chg="mod">
          <ac:chgData name="Alexander Krause" userId="0b5a8c652400661f" providerId="LiveId" clId="{31ABFD99-84AD-4D78-8064-FA3757D44FAB}" dt="2024-07-13T20:10:20.016" v="437" actId="1076"/>
          <ac:spMkLst>
            <pc:docMk/>
            <pc:sldMk cId="3814989991" sldId="4845"/>
            <ac:spMk id="35" creationId="{61F1AFDF-71B6-EDCB-0D0D-FC0616F169F0}"/>
          </ac:spMkLst>
        </pc:spChg>
        <pc:spChg chg="mod">
          <ac:chgData name="Alexander Krause" userId="0b5a8c652400661f" providerId="LiveId" clId="{31ABFD99-84AD-4D78-8064-FA3757D44FAB}" dt="2024-07-13T19:56:12.476" v="333"/>
          <ac:spMkLst>
            <pc:docMk/>
            <pc:sldMk cId="3814989991" sldId="4845"/>
            <ac:spMk id="36" creationId="{F0B37172-F42E-ABAE-BECC-E2CE1D214C2A}"/>
          </ac:spMkLst>
        </pc:spChg>
        <pc:spChg chg="del mod ord topLvl">
          <ac:chgData name="Alexander Krause" userId="0b5a8c652400661f" providerId="LiveId" clId="{31ABFD99-84AD-4D78-8064-FA3757D44FAB}" dt="2024-07-13T20:01:52.140" v="369" actId="478"/>
          <ac:spMkLst>
            <pc:docMk/>
            <pc:sldMk cId="3814989991" sldId="4845"/>
            <ac:spMk id="38" creationId="{60599740-9129-4382-9764-CCC455CBC446}"/>
          </ac:spMkLst>
        </pc:spChg>
        <pc:spChg chg="mod ord">
          <ac:chgData name="Alexander Krause" userId="0b5a8c652400661f" providerId="LiveId" clId="{31ABFD99-84AD-4D78-8064-FA3757D44FAB}" dt="2024-07-13T19:53:26.654" v="313" actId="164"/>
          <ac:spMkLst>
            <pc:docMk/>
            <pc:sldMk cId="3814989991" sldId="4845"/>
            <ac:spMk id="39" creationId="{B19D1CBB-CFB2-A4C0-6223-1AD4A7532A37}"/>
          </ac:spMkLst>
        </pc:spChg>
        <pc:spChg chg="del mod topLvl">
          <ac:chgData name="Alexander Krause" userId="0b5a8c652400661f" providerId="LiveId" clId="{31ABFD99-84AD-4D78-8064-FA3757D44FAB}" dt="2024-07-13T19:56:35.111" v="337" actId="478"/>
          <ac:spMkLst>
            <pc:docMk/>
            <pc:sldMk cId="3814989991" sldId="4845"/>
            <ac:spMk id="40" creationId="{DB1BA648-292E-6DA1-B3A8-03FE223A6292}"/>
          </ac:spMkLst>
        </pc:spChg>
        <pc:spChg chg="add mod ord">
          <ac:chgData name="Alexander Krause" userId="0b5a8c652400661f" providerId="LiveId" clId="{31ABFD99-84AD-4D78-8064-FA3757D44FAB}" dt="2024-07-13T20:01:37.440" v="368" actId="171"/>
          <ac:spMkLst>
            <pc:docMk/>
            <pc:sldMk cId="3814989991" sldId="4845"/>
            <ac:spMk id="41" creationId="{E97F87DA-D326-8352-E2F1-A1A5ACE98F45}"/>
          </ac:spMkLst>
        </pc:spChg>
        <pc:spChg chg="add mod">
          <ac:chgData name="Alexander Krause" userId="0b5a8c652400661f" providerId="LiveId" clId="{31ABFD99-84AD-4D78-8064-FA3757D44FAB}" dt="2024-07-13T20:09:12.431" v="431" actId="14100"/>
          <ac:spMkLst>
            <pc:docMk/>
            <pc:sldMk cId="3814989991" sldId="4845"/>
            <ac:spMk id="42" creationId="{6482636C-AC89-F898-AE53-81444DDABC23}"/>
          </ac:spMkLst>
        </pc:spChg>
        <pc:spChg chg="add mod">
          <ac:chgData name="Alexander Krause" userId="0b5a8c652400661f" providerId="LiveId" clId="{31ABFD99-84AD-4D78-8064-FA3757D44FAB}" dt="2024-07-13T20:09:32.697" v="434"/>
          <ac:spMkLst>
            <pc:docMk/>
            <pc:sldMk cId="3814989991" sldId="4845"/>
            <ac:spMk id="43" creationId="{F100F731-78FC-733E-F7BC-512C24AD9C2D}"/>
          </ac:spMkLst>
        </pc:spChg>
        <pc:spChg chg="add mod">
          <ac:chgData name="Alexander Krause" userId="0b5a8c652400661f" providerId="LiveId" clId="{31ABFD99-84AD-4D78-8064-FA3757D44FAB}" dt="2024-07-13T20:09:32.697" v="434"/>
          <ac:spMkLst>
            <pc:docMk/>
            <pc:sldMk cId="3814989991" sldId="4845"/>
            <ac:spMk id="44" creationId="{5B45EB24-D872-6081-13C8-3B1D4909506F}"/>
          </ac:spMkLst>
        </pc:spChg>
        <pc:spChg chg="add mod">
          <ac:chgData name="Alexander Krause" userId="0b5a8c652400661f" providerId="LiveId" clId="{31ABFD99-84AD-4D78-8064-FA3757D44FAB}" dt="2024-07-13T20:09:32.697" v="434"/>
          <ac:spMkLst>
            <pc:docMk/>
            <pc:sldMk cId="3814989991" sldId="4845"/>
            <ac:spMk id="45" creationId="{AF748B53-6AF6-F3B2-CF36-E830879874A9}"/>
          </ac:spMkLst>
        </pc:spChg>
        <pc:spChg chg="add mod">
          <ac:chgData name="Alexander Krause" userId="0b5a8c652400661f" providerId="LiveId" clId="{31ABFD99-84AD-4D78-8064-FA3757D44FAB}" dt="2024-07-13T20:09:44.285" v="435"/>
          <ac:spMkLst>
            <pc:docMk/>
            <pc:sldMk cId="3814989991" sldId="4845"/>
            <ac:spMk id="46" creationId="{5FB010DF-3ACA-D47D-27EF-411AE35639E4}"/>
          </ac:spMkLst>
        </pc:spChg>
        <pc:spChg chg="add mod">
          <ac:chgData name="Alexander Krause" userId="0b5a8c652400661f" providerId="LiveId" clId="{31ABFD99-84AD-4D78-8064-FA3757D44FAB}" dt="2024-07-13T20:09:44.285" v="435"/>
          <ac:spMkLst>
            <pc:docMk/>
            <pc:sldMk cId="3814989991" sldId="4845"/>
            <ac:spMk id="47" creationId="{7431ADAF-73EB-A0EF-1849-B5D7D64193FA}"/>
          </ac:spMkLst>
        </pc:spChg>
        <pc:spChg chg="add mod">
          <ac:chgData name="Alexander Krause" userId="0b5a8c652400661f" providerId="LiveId" clId="{31ABFD99-84AD-4D78-8064-FA3757D44FAB}" dt="2024-07-13T20:09:44.285" v="435"/>
          <ac:spMkLst>
            <pc:docMk/>
            <pc:sldMk cId="3814989991" sldId="4845"/>
            <ac:spMk id="48" creationId="{56DDF20E-3417-8679-E7CD-779F62F15507}"/>
          </ac:spMkLst>
        </pc:spChg>
        <pc:spChg chg="add mod">
          <ac:chgData name="Alexander Krause" userId="0b5a8c652400661f" providerId="LiveId" clId="{31ABFD99-84AD-4D78-8064-FA3757D44FAB}" dt="2024-07-13T20:10:52.037" v="439"/>
          <ac:spMkLst>
            <pc:docMk/>
            <pc:sldMk cId="3814989991" sldId="4845"/>
            <ac:spMk id="49" creationId="{C78DF544-5E18-1EA4-2B87-F0BB2148F8E4}"/>
          </ac:spMkLst>
        </pc:spChg>
        <pc:spChg chg="mod ord">
          <ac:chgData name="Alexander Krause" userId="0b5a8c652400661f" providerId="LiveId" clId="{31ABFD99-84AD-4D78-8064-FA3757D44FAB}" dt="2024-07-13T19:54:30.252" v="321" actId="164"/>
          <ac:spMkLst>
            <pc:docMk/>
            <pc:sldMk cId="3814989991" sldId="4845"/>
            <ac:spMk id="50" creationId="{0ABF8032-DBA6-41B6-7CF3-AEA5ABDE42E0}"/>
          </ac:spMkLst>
        </pc:spChg>
        <pc:grpChg chg="mod">
          <ac:chgData name="Alexander Krause" userId="0b5a8c652400661f" providerId="LiveId" clId="{31ABFD99-84AD-4D78-8064-FA3757D44FAB}" dt="2024-07-13T20:02:35.845" v="377" actId="1076"/>
          <ac:grpSpMkLst>
            <pc:docMk/>
            <pc:sldMk cId="3814989991" sldId="4845"/>
            <ac:grpSpMk id="3" creationId="{1307D6EE-519A-1074-0CD9-0DC8C246297C}"/>
          </ac:grpSpMkLst>
        </pc:grpChg>
        <pc:grpChg chg="add del mod ord">
          <ac:chgData name="Alexander Krause" userId="0b5a8c652400661f" providerId="LiveId" clId="{31ABFD99-84AD-4D78-8064-FA3757D44FAB}" dt="2024-07-13T20:01:22.602" v="360" actId="478"/>
          <ac:grpSpMkLst>
            <pc:docMk/>
            <pc:sldMk cId="3814989991" sldId="4845"/>
            <ac:grpSpMk id="23" creationId="{AB949A3F-C64F-476C-D7C9-25385B9ECD85}"/>
          </ac:grpSpMkLst>
        </pc:grpChg>
        <pc:grpChg chg="add mod ord">
          <ac:chgData name="Alexander Krause" userId="0b5a8c652400661f" providerId="LiveId" clId="{31ABFD99-84AD-4D78-8064-FA3757D44FAB}" dt="2024-07-13T20:06:01.472" v="421" actId="1076"/>
          <ac:grpSpMkLst>
            <pc:docMk/>
            <pc:sldMk cId="3814989991" sldId="4845"/>
            <ac:grpSpMk id="26" creationId="{63BC41D1-4DD6-8553-1F5D-DB7DBF2AFDE3}"/>
          </ac:grpSpMkLst>
        </pc:grpChg>
        <pc:grpChg chg="add del mod">
          <ac:chgData name="Alexander Krause" userId="0b5a8c652400661f" providerId="LiveId" clId="{31ABFD99-84AD-4D78-8064-FA3757D44FAB}" dt="2024-07-13T19:59:03.640" v="353" actId="478"/>
          <ac:grpSpMkLst>
            <pc:docMk/>
            <pc:sldMk cId="3814989991" sldId="4845"/>
            <ac:grpSpMk id="27" creationId="{5CC57F19-AE15-A278-BE42-B67500BDD600}"/>
          </ac:grpSpMkLst>
        </pc:grpChg>
        <pc:grpChg chg="add del mod">
          <ac:chgData name="Alexander Krause" userId="0b5a8c652400661f" providerId="LiveId" clId="{31ABFD99-84AD-4D78-8064-FA3757D44FAB}" dt="2024-07-13T19:56:14.170" v="334" actId="478"/>
          <ac:grpSpMkLst>
            <pc:docMk/>
            <pc:sldMk cId="3814989991" sldId="4845"/>
            <ac:grpSpMk id="32" creationId="{A4E45CF4-6F1B-4109-16A6-6E06A5E4C03F}"/>
          </ac:grpSpMkLst>
        </pc:grpChg>
        <pc:grpChg chg="add del mod">
          <ac:chgData name="Alexander Krause" userId="0b5a8c652400661f" providerId="LiveId" clId="{31ABFD99-84AD-4D78-8064-FA3757D44FAB}" dt="2024-07-13T19:56:35.111" v="337" actId="478"/>
          <ac:grpSpMkLst>
            <pc:docMk/>
            <pc:sldMk cId="3814989991" sldId="4845"/>
            <ac:grpSpMk id="37" creationId="{766E88E2-D16C-ED81-1079-92D69F089389}"/>
          </ac:grpSpMkLst>
        </pc:grpChg>
        <pc:grpChg chg="mod">
          <ac:chgData name="Alexander Krause" userId="0b5a8c652400661f" providerId="LiveId" clId="{31ABFD99-84AD-4D78-8064-FA3757D44FAB}" dt="2024-07-13T20:02:35.845" v="377" actId="1076"/>
          <ac:grpSpMkLst>
            <pc:docMk/>
            <pc:sldMk cId="3814989991" sldId="4845"/>
            <ac:grpSpMk id="59" creationId="{7F548AF9-AFC3-9959-EE21-C5EE132F7541}"/>
          </ac:grpSpMkLst>
        </pc:grpChg>
        <pc:cxnChg chg="mod">
          <ac:chgData name="Alexander Krause" userId="0b5a8c652400661f" providerId="LiveId" clId="{31ABFD99-84AD-4D78-8064-FA3757D44FAB}" dt="2024-07-13T20:02:35.845" v="377" actId="1076"/>
          <ac:cxnSpMkLst>
            <pc:docMk/>
            <pc:sldMk cId="3814989991" sldId="4845"/>
            <ac:cxnSpMk id="5" creationId="{B5479048-BD77-6B49-2363-6B61D86B4220}"/>
          </ac:cxnSpMkLst>
        </pc:cxnChg>
        <pc:cxnChg chg="mod">
          <ac:chgData name="Alexander Krause" userId="0b5a8c652400661f" providerId="LiveId" clId="{31ABFD99-84AD-4D78-8064-FA3757D44FAB}" dt="2024-07-13T20:02:35.845" v="377" actId="1076"/>
          <ac:cxnSpMkLst>
            <pc:docMk/>
            <pc:sldMk cId="3814989991" sldId="4845"/>
            <ac:cxnSpMk id="6" creationId="{0ACEFF3A-BE09-D4EF-6B93-A7AF9A3DE980}"/>
          </ac:cxnSpMkLst>
        </pc:cxnChg>
        <pc:cxnChg chg="mod">
          <ac:chgData name="Alexander Krause" userId="0b5a8c652400661f" providerId="LiveId" clId="{31ABFD99-84AD-4D78-8064-FA3757D44FAB}" dt="2024-07-13T20:02:35.845" v="377" actId="1076"/>
          <ac:cxnSpMkLst>
            <pc:docMk/>
            <pc:sldMk cId="3814989991" sldId="4845"/>
            <ac:cxnSpMk id="7" creationId="{6378158C-980B-A798-A29D-F44582D7E309}"/>
          </ac:cxnSpMkLst>
        </pc:cxnChg>
        <pc:cxnChg chg="mod">
          <ac:chgData name="Alexander Krause" userId="0b5a8c652400661f" providerId="LiveId" clId="{31ABFD99-84AD-4D78-8064-FA3757D44FAB}" dt="2024-07-13T20:02:35.845" v="377" actId="1076"/>
          <ac:cxnSpMkLst>
            <pc:docMk/>
            <pc:sldMk cId="3814989991" sldId="4845"/>
            <ac:cxnSpMk id="8" creationId="{B9DABA90-2288-41E5-A3AA-EEA3DA922662}"/>
          </ac:cxnSpMkLst>
        </pc:cxnChg>
        <pc:cxnChg chg="mod">
          <ac:chgData name="Alexander Krause" userId="0b5a8c652400661f" providerId="LiveId" clId="{31ABFD99-84AD-4D78-8064-FA3757D44FAB}" dt="2024-07-13T20:02:35.845" v="377" actId="1076"/>
          <ac:cxnSpMkLst>
            <pc:docMk/>
            <pc:sldMk cId="3814989991" sldId="4845"/>
            <ac:cxnSpMk id="13" creationId="{12F0169D-5470-9D52-A71C-C504E7E67F5F}"/>
          </ac:cxnSpMkLst>
        </pc:cxnChg>
      </pc:sldChg>
      <pc:sldChg chg="add del modTransition modAnim">
        <pc:chgData name="Alexander Krause" userId="0b5a8c652400661f" providerId="LiveId" clId="{31ABFD99-84AD-4D78-8064-FA3757D44FAB}" dt="2024-07-14T18:25:29.428" v="1114" actId="47"/>
        <pc:sldMkLst>
          <pc:docMk/>
          <pc:sldMk cId="36956916" sldId="4846"/>
        </pc:sldMkLst>
      </pc:sldChg>
      <pc:sldChg chg="addSp delSp modSp add mod delAnim modAnim">
        <pc:chgData name="Alexander Krause" userId="0b5a8c652400661f" providerId="LiveId" clId="{31ABFD99-84AD-4D78-8064-FA3757D44FAB}" dt="2024-07-14T19:41:43.041" v="1211" actId="1076"/>
        <pc:sldMkLst>
          <pc:docMk/>
          <pc:sldMk cId="4075914019" sldId="4847"/>
        </pc:sldMkLst>
        <pc:spChg chg="add mod">
          <ac:chgData name="Alexander Krause" userId="0b5a8c652400661f" providerId="LiveId" clId="{31ABFD99-84AD-4D78-8064-FA3757D44FAB}" dt="2024-07-14T18:23:52.411" v="1106"/>
          <ac:spMkLst>
            <pc:docMk/>
            <pc:sldMk cId="4075914019" sldId="4847"/>
            <ac:spMk id="7" creationId="{3AA4C8C7-3ACA-25C8-9592-E1D1968BE682}"/>
          </ac:spMkLst>
        </pc:spChg>
        <pc:spChg chg="add mod">
          <ac:chgData name="Alexander Krause" userId="0b5a8c652400661f" providerId="LiveId" clId="{31ABFD99-84AD-4D78-8064-FA3757D44FAB}" dt="2024-07-14T18:23:52.411" v="1106"/>
          <ac:spMkLst>
            <pc:docMk/>
            <pc:sldMk cId="4075914019" sldId="4847"/>
            <ac:spMk id="8" creationId="{C2A26F5B-CABD-E77E-0B29-54542E606A54}"/>
          </ac:spMkLst>
        </pc:spChg>
        <pc:spChg chg="del">
          <ac:chgData name="Alexander Krause" userId="0b5a8c652400661f" providerId="LiveId" clId="{31ABFD99-84AD-4D78-8064-FA3757D44FAB}" dt="2024-07-14T18:23:51.547" v="1105" actId="478"/>
          <ac:spMkLst>
            <pc:docMk/>
            <pc:sldMk cId="4075914019" sldId="4847"/>
            <ac:spMk id="9" creationId="{3DD27D64-9C93-7E51-3174-3F15A1CB11F7}"/>
          </ac:spMkLst>
        </pc:spChg>
        <pc:spChg chg="del">
          <ac:chgData name="Alexander Krause" userId="0b5a8c652400661f" providerId="LiveId" clId="{31ABFD99-84AD-4D78-8064-FA3757D44FAB}" dt="2024-07-14T18:23:51.547" v="1105" actId="478"/>
          <ac:spMkLst>
            <pc:docMk/>
            <pc:sldMk cId="4075914019" sldId="4847"/>
            <ac:spMk id="26" creationId="{C7DAE0F4-D15D-D61E-12EC-D21E2716ACAA}"/>
          </ac:spMkLst>
        </pc:spChg>
        <pc:spChg chg="del">
          <ac:chgData name="Alexander Krause" userId="0b5a8c652400661f" providerId="LiveId" clId="{31ABFD99-84AD-4D78-8064-FA3757D44FAB}" dt="2024-07-14T18:23:51.547" v="1105" actId="478"/>
          <ac:spMkLst>
            <pc:docMk/>
            <pc:sldMk cId="4075914019" sldId="4847"/>
            <ac:spMk id="30" creationId="{9B845DA0-11B7-257A-6039-44A3111C1C45}"/>
          </ac:spMkLst>
        </pc:spChg>
        <pc:spChg chg="del">
          <ac:chgData name="Alexander Krause" userId="0b5a8c652400661f" providerId="LiveId" clId="{31ABFD99-84AD-4D78-8064-FA3757D44FAB}" dt="2024-07-14T18:23:51.547" v="1105" actId="478"/>
          <ac:spMkLst>
            <pc:docMk/>
            <pc:sldMk cId="4075914019" sldId="4847"/>
            <ac:spMk id="32" creationId="{B04096C4-4823-6D0E-4B3F-AA02A27BDF4C}"/>
          </ac:spMkLst>
        </pc:spChg>
        <pc:picChg chg="mod">
          <ac:chgData name="Alexander Krause" userId="0b5a8c652400661f" providerId="LiveId" clId="{31ABFD99-84AD-4D78-8064-FA3757D44FAB}" dt="2024-07-14T19:41:43.041" v="1211" actId="1076"/>
          <ac:picMkLst>
            <pc:docMk/>
            <pc:sldMk cId="4075914019" sldId="4847"/>
            <ac:picMk id="37" creationId="{C4086C6D-B03D-E5B7-865B-9A346CA24319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Mappe5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unki\Downloads\quant_list_no_id3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b="1" baseline="0"/>
              <a:t>ID3 distribution for product 11 - 12</a:t>
            </a:r>
            <a:endParaRPr lang="de-DE" b="1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numRef>
              <c:f>Tabelle1!$F$13:$F$33</c:f>
              <c:numCache>
                <c:formatCode>0%</c:formatCode>
                <c:ptCount val="21"/>
                <c:pt idx="0">
                  <c:v>0</c:v>
                </c:pt>
                <c:pt idx="1">
                  <c:v>0.05</c:v>
                </c:pt>
                <c:pt idx="2">
                  <c:v>0.1</c:v>
                </c:pt>
                <c:pt idx="3">
                  <c:v>0.15</c:v>
                </c:pt>
                <c:pt idx="4">
                  <c:v>0.2</c:v>
                </c:pt>
                <c:pt idx="5">
                  <c:v>0.25</c:v>
                </c:pt>
                <c:pt idx="6">
                  <c:v>0.3</c:v>
                </c:pt>
                <c:pt idx="7">
                  <c:v>0.35</c:v>
                </c:pt>
                <c:pt idx="8">
                  <c:v>0.4</c:v>
                </c:pt>
                <c:pt idx="9">
                  <c:v>0.45</c:v>
                </c:pt>
                <c:pt idx="10">
                  <c:v>0.5</c:v>
                </c:pt>
                <c:pt idx="11">
                  <c:v>0.55000000000000004</c:v>
                </c:pt>
                <c:pt idx="12">
                  <c:v>0.6</c:v>
                </c:pt>
                <c:pt idx="13">
                  <c:v>0.65</c:v>
                </c:pt>
                <c:pt idx="14">
                  <c:v>0.7</c:v>
                </c:pt>
                <c:pt idx="15">
                  <c:v>0.75</c:v>
                </c:pt>
                <c:pt idx="16">
                  <c:v>0.8</c:v>
                </c:pt>
                <c:pt idx="17">
                  <c:v>0.85</c:v>
                </c:pt>
                <c:pt idx="18">
                  <c:v>0.9</c:v>
                </c:pt>
                <c:pt idx="19">
                  <c:v>0.95</c:v>
                </c:pt>
                <c:pt idx="20">
                  <c:v>1</c:v>
                </c:pt>
              </c:numCache>
            </c:numRef>
          </c:cat>
          <c:val>
            <c:numRef>
              <c:f>Tabelle1!$G$13:$G$33</c:f>
              <c:numCache>
                <c:formatCode>General</c:formatCode>
                <c:ptCount val="21"/>
                <c:pt idx="0">
                  <c:v>0</c:v>
                </c:pt>
                <c:pt idx="1">
                  <c:v>286.83059832999999</c:v>
                </c:pt>
                <c:pt idx="2">
                  <c:v>332.52898334000002</c:v>
                </c:pt>
                <c:pt idx="3">
                  <c:v>385.32682048999999</c:v>
                </c:pt>
                <c:pt idx="4">
                  <c:v>493.99299129000002</c:v>
                </c:pt>
                <c:pt idx="5">
                  <c:v>621.24657655999999</c:v>
                </c:pt>
                <c:pt idx="6">
                  <c:v>719.71252759000004</c:v>
                </c:pt>
                <c:pt idx="7">
                  <c:v>990.42564373000005</c:v>
                </c:pt>
                <c:pt idx="8">
                  <c:v>1238.7491192099999</c:v>
                </c:pt>
                <c:pt idx="9">
                  <c:v>1494.94203965</c:v>
                </c:pt>
                <c:pt idx="10">
                  <c:v>1740.0470902100001</c:v>
                </c:pt>
                <c:pt idx="11">
                  <c:v>1883.1872512100001</c:v>
                </c:pt>
                <c:pt idx="12">
                  <c:v>2048.1988466100001</c:v>
                </c:pt>
                <c:pt idx="13">
                  <c:v>2185.3232049100002</c:v>
                </c:pt>
                <c:pt idx="14">
                  <c:v>2334.7368252299998</c:v>
                </c:pt>
                <c:pt idx="15">
                  <c:v>2496.3096765300002</c:v>
                </c:pt>
                <c:pt idx="16">
                  <c:v>2694.10073014</c:v>
                </c:pt>
                <c:pt idx="17">
                  <c:v>3171.7566235899999</c:v>
                </c:pt>
                <c:pt idx="18">
                  <c:v>3709.8885444500002</c:v>
                </c:pt>
                <c:pt idx="19">
                  <c:v>4154.5092360500003</c:v>
                </c:pt>
                <c:pt idx="20">
                  <c:v>4934.49605706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DE5-4E35-8671-5C60D5812E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87553232"/>
        <c:axId val="1187558032"/>
      </c:lineChart>
      <c:catAx>
        <c:axId val="118755323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 b="1"/>
                  <a:t>Percentag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187558032"/>
        <c:crosses val="autoZero"/>
        <c:auto val="1"/>
        <c:lblAlgn val="ctr"/>
        <c:lblOffset val="100"/>
        <c:noMultiLvlLbl val="0"/>
      </c:catAx>
      <c:valAx>
        <c:axId val="11875580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 b="1"/>
                  <a:t>TL / MWh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1875532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/>
              <a:t>Av. quantity per hour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No ID3 trades</c:v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val>
            <c:numRef>
              <c:f>Sheet1!$B$2:$B$25</c:f>
              <c:numCache>
                <c:formatCode>General</c:formatCode>
                <c:ptCount val="24"/>
                <c:pt idx="0">
                  <c:v>64.769634369287019</c:v>
                </c:pt>
                <c:pt idx="1">
                  <c:v>57.269113345521028</c:v>
                </c:pt>
                <c:pt idx="2">
                  <c:v>65.893244972577691</c:v>
                </c:pt>
                <c:pt idx="3">
                  <c:v>75.697917808219188</c:v>
                </c:pt>
                <c:pt idx="4">
                  <c:v>81.00778284671533</c:v>
                </c:pt>
                <c:pt idx="5">
                  <c:v>84.9272835004558</c:v>
                </c:pt>
                <c:pt idx="6">
                  <c:v>95.79968094804012</c:v>
                </c:pt>
                <c:pt idx="7">
                  <c:v>102.32054694621699</c:v>
                </c:pt>
                <c:pt idx="8">
                  <c:v>117.47254329990881</c:v>
                </c:pt>
                <c:pt idx="9">
                  <c:v>114.249708295351</c:v>
                </c:pt>
                <c:pt idx="10">
                  <c:v>97.338204193254327</c:v>
                </c:pt>
                <c:pt idx="11">
                  <c:v>88.490747493163184</c:v>
                </c:pt>
                <c:pt idx="12">
                  <c:v>98.241085766423367</c:v>
                </c:pt>
                <c:pt idx="13">
                  <c:v>122.4627281021898</c:v>
                </c:pt>
                <c:pt idx="14">
                  <c:v>143.37870556061989</c:v>
                </c:pt>
                <c:pt idx="15">
                  <c:v>169.05853236098449</c:v>
                </c:pt>
                <c:pt idx="16">
                  <c:v>177.3829261622607</c:v>
                </c:pt>
                <c:pt idx="17">
                  <c:v>183.52709206927989</c:v>
                </c:pt>
                <c:pt idx="18">
                  <c:v>181.15420237010031</c:v>
                </c:pt>
                <c:pt idx="19">
                  <c:v>180.67087511394709</c:v>
                </c:pt>
                <c:pt idx="20">
                  <c:v>197.03566605839421</c:v>
                </c:pt>
                <c:pt idx="21">
                  <c:v>210.30002739726029</c:v>
                </c:pt>
                <c:pt idx="22">
                  <c:v>202.37025547445259</c:v>
                </c:pt>
                <c:pt idx="23">
                  <c:v>209.532801094890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1D-446B-B81F-81D59BE98D38}"/>
            </c:ext>
          </c:extLst>
        </c:ser>
        <c:ser>
          <c:idx val="1"/>
          <c:order val="1"/>
          <c:tx>
            <c:v>ID3 trades</c:v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val>
            <c:numRef>
              <c:f>Sheet1!$C$2:$C$25</c:f>
              <c:numCache>
                <c:formatCode>General</c:formatCode>
                <c:ptCount val="24"/>
                <c:pt idx="0">
                  <c:v>96.529695852534573</c:v>
                </c:pt>
                <c:pt idx="1">
                  <c:v>81.944485294117641</c:v>
                </c:pt>
                <c:pt idx="2">
                  <c:v>67.235545371219075</c:v>
                </c:pt>
                <c:pt idx="3">
                  <c:v>55.505801104972377</c:v>
                </c:pt>
                <c:pt idx="4">
                  <c:v>46.528833333333331</c:v>
                </c:pt>
                <c:pt idx="5">
                  <c:v>41.020238313473882</c:v>
                </c:pt>
                <c:pt idx="6">
                  <c:v>41.863586459286367</c:v>
                </c:pt>
                <c:pt idx="7">
                  <c:v>41.532420091324212</c:v>
                </c:pt>
                <c:pt idx="8">
                  <c:v>49.253512773722633</c:v>
                </c:pt>
                <c:pt idx="9">
                  <c:v>64.956405109489054</c:v>
                </c:pt>
                <c:pt idx="10">
                  <c:v>101.48248175182481</c:v>
                </c:pt>
                <c:pt idx="11">
                  <c:v>144.1326368613139</c:v>
                </c:pt>
                <c:pt idx="12">
                  <c:v>157.28048401826479</c:v>
                </c:pt>
                <c:pt idx="13">
                  <c:v>152.92332420091321</c:v>
                </c:pt>
                <c:pt idx="14">
                  <c:v>142.34835766423359</c:v>
                </c:pt>
                <c:pt idx="15">
                  <c:v>134.17700729927009</c:v>
                </c:pt>
                <c:pt idx="16">
                  <c:v>137.91067518248181</c:v>
                </c:pt>
                <c:pt idx="17">
                  <c:v>135.71400547445259</c:v>
                </c:pt>
                <c:pt idx="18">
                  <c:v>125.5260675182482</c:v>
                </c:pt>
                <c:pt idx="19">
                  <c:v>116.0767062043796</c:v>
                </c:pt>
                <c:pt idx="20">
                  <c:v>107.57256621004569</c:v>
                </c:pt>
                <c:pt idx="21">
                  <c:v>94.859012797074953</c:v>
                </c:pt>
                <c:pt idx="22">
                  <c:v>91.073945205479447</c:v>
                </c:pt>
                <c:pt idx="23">
                  <c:v>92.2633822181484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A1D-446B-B81F-81D59BE98D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9699391"/>
        <c:axId val="9687391"/>
      </c:barChart>
      <c:catAx>
        <c:axId val="969939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/>
                  <a:t>Hour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9687391"/>
        <c:crosses val="autoZero"/>
        <c:auto val="1"/>
        <c:lblAlgn val="ctr"/>
        <c:lblOffset val="100"/>
        <c:noMultiLvlLbl val="0"/>
      </c:catAx>
      <c:valAx>
        <c:axId val="968739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/>
                  <a:t>MW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96993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526A62-F68B-44B9-A533-10EAB2BBFF5B}" type="datetimeFigureOut">
              <a:rPr lang="de-DE" smtClean="0"/>
              <a:t>14.07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518399-63BC-420A-B850-E31923ECEEE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028151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438971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Training Methoden:</a:t>
            </a:r>
          </a:p>
          <a:p>
            <a:endParaRPr lang="de-DE" dirty="0"/>
          </a:p>
          <a:p>
            <a:r>
              <a:rPr lang="de-DE" dirty="0" err="1"/>
              <a:t>Weekdays</a:t>
            </a:r>
            <a:r>
              <a:rPr lang="de-DE" dirty="0"/>
              <a:t> : Montage werden mit Montagen </a:t>
            </a:r>
            <a:r>
              <a:rPr lang="de-DE" dirty="0" err="1"/>
              <a:t>traininert</a:t>
            </a:r>
            <a:r>
              <a:rPr lang="de-DE" dirty="0"/>
              <a:t>, Dienstage mit Dienstagen etc., d.h. wir erhalten für eine Woche 7 Modelle</a:t>
            </a:r>
          </a:p>
          <a:p>
            <a:endParaRPr lang="de-DE" dirty="0"/>
          </a:p>
          <a:p>
            <a:r>
              <a:rPr lang="de-DE" dirty="0"/>
              <a:t>Hours: Stunde 0-1 wird mit Stunde 0-1 </a:t>
            </a:r>
            <a:r>
              <a:rPr lang="de-DE" dirty="0" err="1"/>
              <a:t>traininert</a:t>
            </a:r>
            <a:r>
              <a:rPr lang="de-DE" dirty="0"/>
              <a:t> etc., d.h. wir erhalten für jeden Stunde ein Modell, d.h. insgesamt 24 Modelle</a:t>
            </a:r>
          </a:p>
          <a:p>
            <a:endParaRPr lang="de-DE" dirty="0"/>
          </a:p>
          <a:p>
            <a:r>
              <a:rPr lang="de-DE" dirty="0" err="1"/>
              <a:t>Weekdays</a:t>
            </a:r>
            <a:r>
              <a:rPr lang="de-DE" dirty="0"/>
              <a:t> &amp; Hours: Stunde 0-1 von Montagen wird nur mit Stunde 0-1 von Montagen trainiert etc., d.h. wir erhalten 7*24 Modelle</a:t>
            </a:r>
          </a:p>
          <a:p>
            <a:endParaRPr lang="de-DE" dirty="0"/>
          </a:p>
          <a:p>
            <a:r>
              <a:rPr lang="de-DE" dirty="0"/>
              <a:t>Classification:</a:t>
            </a:r>
          </a:p>
          <a:p>
            <a:r>
              <a:rPr lang="de-DE" dirty="0"/>
              <a:t>Wir unterteilen die Verteilung der Preise für </a:t>
            </a:r>
            <a:r>
              <a:rPr lang="de-DE" dirty="0" err="1"/>
              <a:t>spezigische</a:t>
            </a:r>
            <a:r>
              <a:rPr lang="de-DE" dirty="0"/>
              <a:t> Stunden / Wochentage / </a:t>
            </a:r>
            <a:r>
              <a:rPr lang="de-DE" dirty="0" err="1"/>
              <a:t>Wochentagee</a:t>
            </a:r>
            <a:r>
              <a:rPr lang="de-DE" dirty="0"/>
              <a:t> und Stunden so ein, dass wir 5 % Abstände haben. Die erste Klasse geht dann z.B. von 0- 500 Lira, weil dort 5 % aller Daten sind. Die zweite klasse dann z.B. von 500 – 600 Lira, weil </a:t>
            </a:r>
            <a:r>
              <a:rPr lang="de-DE" dirty="0" err="1"/>
              <a:t>dodrt</a:t>
            </a:r>
            <a:r>
              <a:rPr lang="de-DE" dirty="0"/>
              <a:t> die nächsten 5 % aller Daten sind und so weiter. Damit sind die Sprünge </a:t>
            </a:r>
            <a:r>
              <a:rPr lang="de-DE" dirty="0" err="1"/>
              <a:t>ziwschen</a:t>
            </a:r>
            <a:r>
              <a:rPr lang="de-DE" dirty="0"/>
              <a:t> den Preisen bei besonders hohen preisen größer, da es dort auch noch 5 % Klassen sind.</a:t>
            </a:r>
          </a:p>
          <a:p>
            <a:endParaRPr lang="de-DE" dirty="0"/>
          </a:p>
          <a:p>
            <a:r>
              <a:rPr lang="de-DE" dirty="0"/>
              <a:t>Man hätte auch kleinere Klassen nehmen können, aber damit erhöht sich natürlich die Komplexitä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518399-63BC-420A-B850-E31923ECEEE8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094953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Weekday</a:t>
            </a:r>
            <a:r>
              <a:rPr lang="de-DE" dirty="0"/>
              <a:t> </a:t>
            </a:r>
            <a:r>
              <a:rPr lang="de-DE" dirty="0" err="1"/>
              <a:t>training</a:t>
            </a:r>
            <a:r>
              <a:rPr lang="de-DE" dirty="0"/>
              <a:t> </a:t>
            </a:r>
            <a:r>
              <a:rPr lang="de-DE" dirty="0" err="1"/>
              <a:t>methode</a:t>
            </a:r>
            <a:r>
              <a:rPr lang="de-DE" dirty="0"/>
              <a:t>:</a:t>
            </a:r>
          </a:p>
          <a:p>
            <a:endParaRPr lang="de-DE" dirty="0"/>
          </a:p>
          <a:p>
            <a:r>
              <a:rPr lang="de-DE" dirty="0"/>
              <a:t>Sonntage deutlich schlechter, warum: geringere Handelsaktivität, dadurch weniger Daten und schwieriger vorherzusagen</a:t>
            </a:r>
          </a:p>
          <a:p>
            <a:endParaRPr lang="de-DE" dirty="0"/>
          </a:p>
          <a:p>
            <a:r>
              <a:rPr lang="de-DE" dirty="0"/>
              <a:t>Stündliche Trainingsmethode: </a:t>
            </a:r>
          </a:p>
          <a:p>
            <a:r>
              <a:rPr lang="de-DE" dirty="0"/>
              <a:t>Stunde 7-8, 12-13 und 13-14 höhere </a:t>
            </a:r>
            <a:r>
              <a:rPr lang="de-DE" dirty="0" err="1"/>
              <a:t>fehler</a:t>
            </a:r>
            <a:r>
              <a:rPr lang="de-DE" dirty="0"/>
              <a:t> bei beiden </a:t>
            </a:r>
            <a:r>
              <a:rPr lang="de-DE" dirty="0" err="1"/>
              <a:t>modellen</a:t>
            </a:r>
            <a:r>
              <a:rPr lang="de-DE" dirty="0"/>
              <a:t>, da dort </a:t>
            </a:r>
            <a:r>
              <a:rPr lang="de-DE" dirty="0" err="1"/>
              <a:t>volatilität</a:t>
            </a:r>
            <a:r>
              <a:rPr lang="de-DE" dirty="0"/>
              <a:t> am höchsten ist, da dort am meisten getradet wird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518399-63BC-420A-B850-E31923ECEEE8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944270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Weekday</a:t>
            </a:r>
            <a:r>
              <a:rPr lang="de-DE" dirty="0"/>
              <a:t> + Stunde schlechte </a:t>
            </a:r>
            <a:r>
              <a:rPr lang="de-DE" dirty="0" err="1"/>
              <a:t>ergebnisse</a:t>
            </a:r>
            <a:r>
              <a:rPr lang="de-DE" dirty="0"/>
              <a:t>, weil: zu wenig Daten</a:t>
            </a:r>
          </a:p>
          <a:p>
            <a:endParaRPr lang="de-DE" dirty="0"/>
          </a:p>
          <a:p>
            <a:r>
              <a:rPr lang="de-DE" dirty="0"/>
              <a:t>Classification so schlechte </a:t>
            </a:r>
            <a:r>
              <a:rPr lang="de-DE" dirty="0" err="1"/>
              <a:t>accuracy</a:t>
            </a:r>
            <a:r>
              <a:rPr lang="de-DE" dirty="0"/>
              <a:t>: wissen wir nicht, wegen schlechter </a:t>
            </a:r>
            <a:r>
              <a:rPr lang="de-DE" dirty="0" err="1"/>
              <a:t>genauigkeit</a:t>
            </a:r>
            <a:r>
              <a:rPr lang="de-DE" dirty="0"/>
              <a:t> (nur ca. ¾ aller </a:t>
            </a:r>
            <a:r>
              <a:rPr lang="de-DE" dirty="0" err="1"/>
              <a:t>klassen</a:t>
            </a:r>
            <a:r>
              <a:rPr lang="de-DE" dirty="0"/>
              <a:t> werden korrekt zugeordnet) wird die </a:t>
            </a:r>
            <a:r>
              <a:rPr lang="de-DE" dirty="0" err="1"/>
              <a:t>methode</a:t>
            </a:r>
            <a:r>
              <a:rPr lang="de-DE" dirty="0"/>
              <a:t> nicht weiter verfolgt</a:t>
            </a:r>
          </a:p>
          <a:p>
            <a:endParaRPr lang="de-DE" dirty="0"/>
          </a:p>
          <a:p>
            <a:r>
              <a:rPr lang="de-DE" dirty="0"/>
              <a:t>Naive </a:t>
            </a:r>
            <a:r>
              <a:rPr lang="de-DE" dirty="0" err="1"/>
              <a:t>modell</a:t>
            </a:r>
            <a:r>
              <a:rPr lang="de-DE" dirty="0"/>
              <a:t>: </a:t>
            </a:r>
            <a:r>
              <a:rPr lang="de-DE" dirty="0" err="1"/>
              <a:t>fehler</a:t>
            </a:r>
            <a:r>
              <a:rPr lang="de-DE" dirty="0"/>
              <a:t> von 39.52 % sehr hoch</a:t>
            </a:r>
          </a:p>
          <a:p>
            <a:endParaRPr lang="de-DE" dirty="0"/>
          </a:p>
          <a:p>
            <a:r>
              <a:rPr lang="de-DE" dirty="0"/>
              <a:t>Mit dem besten </a:t>
            </a:r>
            <a:r>
              <a:rPr lang="de-DE" dirty="0" err="1"/>
              <a:t>modell</a:t>
            </a:r>
            <a:r>
              <a:rPr lang="de-DE" dirty="0"/>
              <a:t> werden wir jetzt unsere </a:t>
            </a:r>
            <a:r>
              <a:rPr lang="de-DE" dirty="0" err="1"/>
              <a:t>trading</a:t>
            </a:r>
            <a:r>
              <a:rPr lang="de-DE" dirty="0"/>
              <a:t> </a:t>
            </a:r>
            <a:r>
              <a:rPr lang="de-DE" dirty="0" err="1"/>
              <a:t>srategie</a:t>
            </a:r>
            <a:r>
              <a:rPr lang="de-DE" dirty="0"/>
              <a:t> anwenden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518399-63BC-420A-B850-E31923ECEEE8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095651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Wenn wir selber kaufen wollen, dann kaufen wir alles, was unter dem ID3 Preis liegt (weil wir dann zum ID3 Preis das an unseren Kunden verkaufen und damit </a:t>
            </a:r>
            <a:r>
              <a:rPr lang="de-DE" dirty="0" err="1"/>
              <a:t>geld</a:t>
            </a:r>
            <a:r>
              <a:rPr lang="de-DE" dirty="0"/>
              <a:t> machen)</a:t>
            </a:r>
          </a:p>
          <a:p>
            <a:endParaRPr lang="de-DE" dirty="0"/>
          </a:p>
          <a:p>
            <a:r>
              <a:rPr lang="de-DE" dirty="0"/>
              <a:t>Wenn wir verkaufen wollen, dann kaufen wir zum ID3 Preis vom Kunden ab und wollen dann über dem ID3 preis verkaufen, damit wir gewinn machen</a:t>
            </a:r>
          </a:p>
          <a:p>
            <a:endParaRPr lang="de-DE" dirty="0"/>
          </a:p>
          <a:p>
            <a:r>
              <a:rPr lang="de-DE" dirty="0"/>
              <a:t>Aus </a:t>
            </a:r>
            <a:r>
              <a:rPr lang="de-DE" dirty="0" err="1"/>
              <a:t>einfachheit</a:t>
            </a:r>
            <a:r>
              <a:rPr lang="de-DE" dirty="0"/>
              <a:t>: nehme an, dass wir einfach alles am markt kaufen / verkaufen können und dafür immer einen </a:t>
            </a:r>
            <a:r>
              <a:rPr lang="de-DE" dirty="0" err="1"/>
              <a:t>abnehmer</a:t>
            </a:r>
            <a:r>
              <a:rPr lang="de-DE" dirty="0"/>
              <a:t> hätten</a:t>
            </a:r>
          </a:p>
          <a:p>
            <a:endParaRPr lang="de-DE" dirty="0"/>
          </a:p>
          <a:p>
            <a:r>
              <a:rPr lang="de-DE" dirty="0"/>
              <a:t>Sehen: Naive Methode volatiler und bringt nicht so viel gewinn</a:t>
            </a:r>
          </a:p>
          <a:p>
            <a:endParaRPr lang="de-DE" dirty="0"/>
          </a:p>
          <a:p>
            <a:r>
              <a:rPr lang="de-DE" dirty="0"/>
              <a:t>Warum sind Preise bei </a:t>
            </a:r>
            <a:r>
              <a:rPr lang="de-DE" dirty="0" err="1"/>
              <a:t>buy</a:t>
            </a:r>
            <a:r>
              <a:rPr lang="de-DE" dirty="0"/>
              <a:t> und </a:t>
            </a:r>
            <a:r>
              <a:rPr lang="de-DE" dirty="0" err="1"/>
              <a:t>sell</a:t>
            </a:r>
            <a:r>
              <a:rPr lang="de-DE" dirty="0"/>
              <a:t> so ähnlich:</a:t>
            </a:r>
          </a:p>
          <a:p>
            <a:r>
              <a:rPr lang="de-DE" dirty="0"/>
              <a:t>Weil ID3 Preis ein Mittelwert ist, der aber sehr nah an den Median kommt. Orders sind ähnlich verteilt um den ID3 in beiden </a:t>
            </a:r>
            <a:r>
              <a:rPr lang="de-DE" dirty="0" err="1"/>
              <a:t>richtungen</a:t>
            </a:r>
            <a:r>
              <a:rPr lang="de-DE" dirty="0"/>
              <a:t> (höher und niedriger), deswegen sehr ähnliche preise. Umrechnung zu Euro von Lira macht den unterschied dann noch kleiner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4B2DAA19-918B-4AF8-A4A1-8D9104FE6095}" type="slidenum">
              <a:rPr lang="de-DE" noProof="0" smtClean="0"/>
              <a:pPr algn="r"/>
              <a:t>16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3488631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140539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Picture placeholder">
            <a:extLst>
              <a:ext uri="{FF2B5EF4-FFF2-40B4-BE49-F238E27FC236}">
                <a16:creationId xmlns:a16="http://schemas.microsoft.com/office/drawing/2014/main" id="{51889213-BEAB-466C-A368-97CC503724D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97200"/>
            <a:ext cx="12192000" cy="6760800"/>
          </a:xfrm>
          <a:custGeom>
            <a:avLst/>
            <a:gdLst>
              <a:gd name="connsiteX0" fmla="*/ 1114141 w 12192000"/>
              <a:gd name="connsiteY0" fmla="*/ 543060 h 6760800"/>
              <a:gd name="connsiteX1" fmla="*/ 1143812 w 12192000"/>
              <a:gd name="connsiteY1" fmla="*/ 584579 h 6760800"/>
              <a:gd name="connsiteX2" fmla="*/ 1114141 w 12192000"/>
              <a:gd name="connsiteY2" fmla="*/ 624614 h 6760800"/>
              <a:gd name="connsiteX3" fmla="*/ 1084469 w 12192000"/>
              <a:gd name="connsiteY3" fmla="*/ 584579 h 6760800"/>
              <a:gd name="connsiteX4" fmla="*/ 1114141 w 12192000"/>
              <a:gd name="connsiteY4" fmla="*/ 543060 h 6760800"/>
              <a:gd name="connsiteX5" fmla="*/ 1324809 w 12192000"/>
              <a:gd name="connsiteY5" fmla="*/ 538613 h 6760800"/>
              <a:gd name="connsiteX6" fmla="*/ 1354481 w 12192000"/>
              <a:gd name="connsiteY6" fmla="*/ 584579 h 6760800"/>
              <a:gd name="connsiteX7" fmla="*/ 1324809 w 12192000"/>
              <a:gd name="connsiteY7" fmla="*/ 630545 h 6760800"/>
              <a:gd name="connsiteX8" fmla="*/ 1295138 w 12192000"/>
              <a:gd name="connsiteY8" fmla="*/ 584579 h 6760800"/>
              <a:gd name="connsiteX9" fmla="*/ 1324809 w 12192000"/>
              <a:gd name="connsiteY9" fmla="*/ 538613 h 6760800"/>
              <a:gd name="connsiteX10" fmla="*/ 1829226 w 12192000"/>
              <a:gd name="connsiteY10" fmla="*/ 529715 h 6760800"/>
              <a:gd name="connsiteX11" fmla="*/ 1861865 w 12192000"/>
              <a:gd name="connsiteY11" fmla="*/ 563819 h 6760800"/>
              <a:gd name="connsiteX12" fmla="*/ 1798071 w 12192000"/>
              <a:gd name="connsiteY12" fmla="*/ 563819 h 6760800"/>
              <a:gd name="connsiteX13" fmla="*/ 1829226 w 12192000"/>
              <a:gd name="connsiteY13" fmla="*/ 529715 h 6760800"/>
              <a:gd name="connsiteX14" fmla="*/ 562251 w 12192000"/>
              <a:gd name="connsiteY14" fmla="*/ 529715 h 6760800"/>
              <a:gd name="connsiteX15" fmla="*/ 594889 w 12192000"/>
              <a:gd name="connsiteY15" fmla="*/ 563819 h 6760800"/>
              <a:gd name="connsiteX16" fmla="*/ 531095 w 12192000"/>
              <a:gd name="connsiteY16" fmla="*/ 563819 h 6760800"/>
              <a:gd name="connsiteX17" fmla="*/ 562251 w 12192000"/>
              <a:gd name="connsiteY17" fmla="*/ 529715 h 6760800"/>
              <a:gd name="connsiteX18" fmla="*/ 1422726 w 12192000"/>
              <a:gd name="connsiteY18" fmla="*/ 494128 h 6760800"/>
              <a:gd name="connsiteX19" fmla="*/ 1480586 w 12192000"/>
              <a:gd name="connsiteY19" fmla="*/ 673545 h 6760800"/>
              <a:gd name="connsiteX20" fmla="*/ 1550314 w 12192000"/>
              <a:gd name="connsiteY20" fmla="*/ 673545 h 6760800"/>
              <a:gd name="connsiteX21" fmla="*/ 1577018 w 12192000"/>
              <a:gd name="connsiteY21" fmla="*/ 569751 h 6760800"/>
              <a:gd name="connsiteX22" fmla="*/ 1603723 w 12192000"/>
              <a:gd name="connsiteY22" fmla="*/ 673545 h 6760800"/>
              <a:gd name="connsiteX23" fmla="*/ 1676418 w 12192000"/>
              <a:gd name="connsiteY23" fmla="*/ 673545 h 6760800"/>
              <a:gd name="connsiteX24" fmla="*/ 1732794 w 12192000"/>
              <a:gd name="connsiteY24" fmla="*/ 494128 h 6760800"/>
              <a:gd name="connsiteX25" fmla="*/ 1664549 w 12192000"/>
              <a:gd name="connsiteY25" fmla="*/ 494128 h 6760800"/>
              <a:gd name="connsiteX26" fmla="*/ 1637845 w 12192000"/>
              <a:gd name="connsiteY26" fmla="*/ 603855 h 6760800"/>
              <a:gd name="connsiteX27" fmla="*/ 1609657 w 12192000"/>
              <a:gd name="connsiteY27" fmla="*/ 494128 h 6760800"/>
              <a:gd name="connsiteX28" fmla="*/ 1548830 w 12192000"/>
              <a:gd name="connsiteY28" fmla="*/ 494128 h 6760800"/>
              <a:gd name="connsiteX29" fmla="*/ 1520642 w 12192000"/>
              <a:gd name="connsiteY29" fmla="*/ 603855 h 6760800"/>
              <a:gd name="connsiteX30" fmla="*/ 1493938 w 12192000"/>
              <a:gd name="connsiteY30" fmla="*/ 494128 h 6760800"/>
              <a:gd name="connsiteX31" fmla="*/ 2072534 w 12192000"/>
              <a:gd name="connsiteY31" fmla="*/ 489680 h 6760800"/>
              <a:gd name="connsiteX32" fmla="*/ 2016157 w 12192000"/>
              <a:gd name="connsiteY32" fmla="*/ 526750 h 6760800"/>
              <a:gd name="connsiteX33" fmla="*/ 2016157 w 12192000"/>
              <a:gd name="connsiteY33" fmla="*/ 494128 h 6760800"/>
              <a:gd name="connsiteX34" fmla="*/ 1950880 w 12192000"/>
              <a:gd name="connsiteY34" fmla="*/ 494128 h 6760800"/>
              <a:gd name="connsiteX35" fmla="*/ 1950880 w 12192000"/>
              <a:gd name="connsiteY35" fmla="*/ 673545 h 6760800"/>
              <a:gd name="connsiteX36" fmla="*/ 2022092 w 12192000"/>
              <a:gd name="connsiteY36" fmla="*/ 673545 h 6760800"/>
              <a:gd name="connsiteX37" fmla="*/ 2022092 w 12192000"/>
              <a:gd name="connsiteY37" fmla="*/ 599406 h 6760800"/>
              <a:gd name="connsiteX38" fmla="*/ 2063632 w 12192000"/>
              <a:gd name="connsiteY38" fmla="*/ 559370 h 6760800"/>
              <a:gd name="connsiteX39" fmla="*/ 2078468 w 12192000"/>
              <a:gd name="connsiteY39" fmla="*/ 560854 h 6760800"/>
              <a:gd name="connsiteX40" fmla="*/ 2078468 w 12192000"/>
              <a:gd name="connsiteY40" fmla="*/ 489680 h 6760800"/>
              <a:gd name="connsiteX41" fmla="*/ 2072534 w 12192000"/>
              <a:gd name="connsiteY41" fmla="*/ 489680 h 6760800"/>
              <a:gd name="connsiteX42" fmla="*/ 807041 w 12192000"/>
              <a:gd name="connsiteY42" fmla="*/ 489680 h 6760800"/>
              <a:gd name="connsiteX43" fmla="*/ 772918 w 12192000"/>
              <a:gd name="connsiteY43" fmla="*/ 497094 h 6760800"/>
              <a:gd name="connsiteX44" fmla="*/ 746214 w 12192000"/>
              <a:gd name="connsiteY44" fmla="*/ 520818 h 6760800"/>
              <a:gd name="connsiteX45" fmla="*/ 746214 w 12192000"/>
              <a:gd name="connsiteY45" fmla="*/ 494128 h 6760800"/>
              <a:gd name="connsiteX46" fmla="*/ 682420 w 12192000"/>
              <a:gd name="connsiteY46" fmla="*/ 494128 h 6760800"/>
              <a:gd name="connsiteX47" fmla="*/ 682420 w 12192000"/>
              <a:gd name="connsiteY47" fmla="*/ 673545 h 6760800"/>
              <a:gd name="connsiteX48" fmla="*/ 750665 w 12192000"/>
              <a:gd name="connsiteY48" fmla="*/ 673545 h 6760800"/>
              <a:gd name="connsiteX49" fmla="*/ 750665 w 12192000"/>
              <a:gd name="connsiteY49" fmla="*/ 577164 h 6760800"/>
              <a:gd name="connsiteX50" fmla="*/ 756599 w 12192000"/>
              <a:gd name="connsiteY50" fmla="*/ 553440 h 6760800"/>
              <a:gd name="connsiteX51" fmla="*/ 774402 w 12192000"/>
              <a:gd name="connsiteY51" fmla="*/ 546026 h 6760800"/>
              <a:gd name="connsiteX52" fmla="*/ 793688 w 12192000"/>
              <a:gd name="connsiteY52" fmla="*/ 553440 h 6760800"/>
              <a:gd name="connsiteX53" fmla="*/ 799623 w 12192000"/>
              <a:gd name="connsiteY53" fmla="*/ 580129 h 6760800"/>
              <a:gd name="connsiteX54" fmla="*/ 799623 w 12192000"/>
              <a:gd name="connsiteY54" fmla="*/ 673545 h 6760800"/>
              <a:gd name="connsiteX55" fmla="*/ 869351 w 12192000"/>
              <a:gd name="connsiteY55" fmla="*/ 673545 h 6760800"/>
              <a:gd name="connsiteX56" fmla="*/ 869351 w 12192000"/>
              <a:gd name="connsiteY56" fmla="*/ 578647 h 6760800"/>
              <a:gd name="connsiteX57" fmla="*/ 875285 w 12192000"/>
              <a:gd name="connsiteY57" fmla="*/ 553440 h 6760800"/>
              <a:gd name="connsiteX58" fmla="*/ 894572 w 12192000"/>
              <a:gd name="connsiteY58" fmla="*/ 546026 h 6760800"/>
              <a:gd name="connsiteX59" fmla="*/ 912375 w 12192000"/>
              <a:gd name="connsiteY59" fmla="*/ 553440 h 6760800"/>
              <a:gd name="connsiteX60" fmla="*/ 918309 w 12192000"/>
              <a:gd name="connsiteY60" fmla="*/ 578647 h 6760800"/>
              <a:gd name="connsiteX61" fmla="*/ 918309 w 12192000"/>
              <a:gd name="connsiteY61" fmla="*/ 675029 h 6760800"/>
              <a:gd name="connsiteX62" fmla="*/ 988037 w 12192000"/>
              <a:gd name="connsiteY62" fmla="*/ 675029 h 6760800"/>
              <a:gd name="connsiteX63" fmla="*/ 988037 w 12192000"/>
              <a:gd name="connsiteY63" fmla="*/ 551957 h 6760800"/>
              <a:gd name="connsiteX64" fmla="*/ 970234 w 12192000"/>
              <a:gd name="connsiteY64" fmla="*/ 505990 h 6760800"/>
              <a:gd name="connsiteX65" fmla="*/ 921276 w 12192000"/>
              <a:gd name="connsiteY65" fmla="*/ 489680 h 6760800"/>
              <a:gd name="connsiteX66" fmla="*/ 887154 w 12192000"/>
              <a:gd name="connsiteY66" fmla="*/ 497094 h 6760800"/>
              <a:gd name="connsiteX67" fmla="*/ 858966 w 12192000"/>
              <a:gd name="connsiteY67" fmla="*/ 520818 h 6760800"/>
              <a:gd name="connsiteX68" fmla="*/ 836712 w 12192000"/>
              <a:gd name="connsiteY68" fmla="*/ 497094 h 6760800"/>
              <a:gd name="connsiteX69" fmla="*/ 807041 w 12192000"/>
              <a:gd name="connsiteY69" fmla="*/ 489680 h 6760800"/>
              <a:gd name="connsiteX70" fmla="*/ 1324809 w 12192000"/>
              <a:gd name="connsiteY70" fmla="*/ 488198 h 6760800"/>
              <a:gd name="connsiteX71" fmla="*/ 1223926 w 12192000"/>
              <a:gd name="connsiteY71" fmla="*/ 584579 h 6760800"/>
              <a:gd name="connsiteX72" fmla="*/ 1324809 w 12192000"/>
              <a:gd name="connsiteY72" fmla="*/ 680960 h 6760800"/>
              <a:gd name="connsiteX73" fmla="*/ 1425693 w 12192000"/>
              <a:gd name="connsiteY73" fmla="*/ 584579 h 6760800"/>
              <a:gd name="connsiteX74" fmla="*/ 1324809 w 12192000"/>
              <a:gd name="connsiteY74" fmla="*/ 488198 h 6760800"/>
              <a:gd name="connsiteX75" fmla="*/ 1136394 w 12192000"/>
              <a:gd name="connsiteY75" fmla="*/ 488198 h 6760800"/>
              <a:gd name="connsiteX76" fmla="*/ 1078535 w 12192000"/>
              <a:gd name="connsiteY76" fmla="*/ 516370 h 6760800"/>
              <a:gd name="connsiteX77" fmla="*/ 1078535 w 12192000"/>
              <a:gd name="connsiteY77" fmla="*/ 494128 h 6760800"/>
              <a:gd name="connsiteX78" fmla="*/ 1016225 w 12192000"/>
              <a:gd name="connsiteY78" fmla="*/ 494128 h 6760800"/>
              <a:gd name="connsiteX79" fmla="*/ 1016225 w 12192000"/>
              <a:gd name="connsiteY79" fmla="*/ 744719 h 6760800"/>
              <a:gd name="connsiteX80" fmla="*/ 1085953 w 12192000"/>
              <a:gd name="connsiteY80" fmla="*/ 744719 h 6760800"/>
              <a:gd name="connsiteX81" fmla="*/ 1085953 w 12192000"/>
              <a:gd name="connsiteY81" fmla="*/ 655753 h 6760800"/>
              <a:gd name="connsiteX82" fmla="*/ 1136394 w 12192000"/>
              <a:gd name="connsiteY82" fmla="*/ 677994 h 6760800"/>
              <a:gd name="connsiteX83" fmla="*/ 1215024 w 12192000"/>
              <a:gd name="connsiteY83" fmla="*/ 583096 h 6760800"/>
              <a:gd name="connsiteX84" fmla="*/ 1136394 w 12192000"/>
              <a:gd name="connsiteY84" fmla="*/ 488198 h 6760800"/>
              <a:gd name="connsiteX85" fmla="*/ 1829226 w 12192000"/>
              <a:gd name="connsiteY85" fmla="*/ 486714 h 6760800"/>
              <a:gd name="connsiteX86" fmla="*/ 1726859 w 12192000"/>
              <a:gd name="connsiteY86" fmla="*/ 584578 h 6760800"/>
              <a:gd name="connsiteX87" fmla="*/ 1827742 w 12192000"/>
              <a:gd name="connsiteY87" fmla="*/ 679476 h 6760800"/>
              <a:gd name="connsiteX88" fmla="*/ 1927142 w 12192000"/>
              <a:gd name="connsiteY88" fmla="*/ 620165 h 6760800"/>
              <a:gd name="connsiteX89" fmla="*/ 1927142 w 12192000"/>
              <a:gd name="connsiteY89" fmla="*/ 618683 h 6760800"/>
              <a:gd name="connsiteX90" fmla="*/ 1857414 w 12192000"/>
              <a:gd name="connsiteY90" fmla="*/ 618683 h 6760800"/>
              <a:gd name="connsiteX91" fmla="*/ 1830710 w 12192000"/>
              <a:gd name="connsiteY91" fmla="*/ 633510 h 6760800"/>
              <a:gd name="connsiteX92" fmla="*/ 1798071 w 12192000"/>
              <a:gd name="connsiteY92" fmla="*/ 597924 h 6760800"/>
              <a:gd name="connsiteX93" fmla="*/ 1931593 w 12192000"/>
              <a:gd name="connsiteY93" fmla="*/ 597924 h 6760800"/>
              <a:gd name="connsiteX94" fmla="*/ 1931593 w 12192000"/>
              <a:gd name="connsiteY94" fmla="*/ 593475 h 6760800"/>
              <a:gd name="connsiteX95" fmla="*/ 1829226 w 12192000"/>
              <a:gd name="connsiteY95" fmla="*/ 486714 h 6760800"/>
              <a:gd name="connsiteX96" fmla="*/ 560767 w 12192000"/>
              <a:gd name="connsiteY96" fmla="*/ 486714 h 6760800"/>
              <a:gd name="connsiteX97" fmla="*/ 458400 w 12192000"/>
              <a:gd name="connsiteY97" fmla="*/ 584578 h 6760800"/>
              <a:gd name="connsiteX98" fmla="*/ 559283 w 12192000"/>
              <a:gd name="connsiteY98" fmla="*/ 679476 h 6760800"/>
              <a:gd name="connsiteX99" fmla="*/ 658683 w 12192000"/>
              <a:gd name="connsiteY99" fmla="*/ 620165 h 6760800"/>
              <a:gd name="connsiteX100" fmla="*/ 658683 w 12192000"/>
              <a:gd name="connsiteY100" fmla="*/ 618683 h 6760800"/>
              <a:gd name="connsiteX101" fmla="*/ 588955 w 12192000"/>
              <a:gd name="connsiteY101" fmla="*/ 618683 h 6760800"/>
              <a:gd name="connsiteX102" fmla="*/ 562251 w 12192000"/>
              <a:gd name="connsiteY102" fmla="*/ 633510 h 6760800"/>
              <a:gd name="connsiteX103" fmla="*/ 529612 w 12192000"/>
              <a:gd name="connsiteY103" fmla="*/ 597924 h 6760800"/>
              <a:gd name="connsiteX104" fmla="*/ 663134 w 12192000"/>
              <a:gd name="connsiteY104" fmla="*/ 597924 h 6760800"/>
              <a:gd name="connsiteX105" fmla="*/ 663134 w 12192000"/>
              <a:gd name="connsiteY105" fmla="*/ 593475 h 6760800"/>
              <a:gd name="connsiteX106" fmla="*/ 560767 w 12192000"/>
              <a:gd name="connsiteY106" fmla="*/ 486714 h 6760800"/>
              <a:gd name="connsiteX107" fmla="*/ 2222374 w 12192000"/>
              <a:gd name="connsiteY107" fmla="*/ 428886 h 6760800"/>
              <a:gd name="connsiteX108" fmla="*/ 2216440 w 12192000"/>
              <a:gd name="connsiteY108" fmla="*/ 434817 h 6760800"/>
              <a:gd name="connsiteX109" fmla="*/ 2216440 w 12192000"/>
              <a:gd name="connsiteY109" fmla="*/ 535647 h 6760800"/>
              <a:gd name="connsiteX110" fmla="*/ 2222374 w 12192000"/>
              <a:gd name="connsiteY110" fmla="*/ 541578 h 6760800"/>
              <a:gd name="connsiteX111" fmla="*/ 2323258 w 12192000"/>
              <a:gd name="connsiteY111" fmla="*/ 541578 h 6760800"/>
              <a:gd name="connsiteX112" fmla="*/ 2329192 w 12192000"/>
              <a:gd name="connsiteY112" fmla="*/ 535647 h 6760800"/>
              <a:gd name="connsiteX113" fmla="*/ 2329192 w 12192000"/>
              <a:gd name="connsiteY113" fmla="*/ 434817 h 6760800"/>
              <a:gd name="connsiteX114" fmla="*/ 2323258 w 12192000"/>
              <a:gd name="connsiteY114" fmla="*/ 428886 h 6760800"/>
              <a:gd name="connsiteX115" fmla="*/ 2140777 w 12192000"/>
              <a:gd name="connsiteY115" fmla="*/ 428886 h 6760800"/>
              <a:gd name="connsiteX116" fmla="*/ 2134843 w 12192000"/>
              <a:gd name="connsiteY116" fmla="*/ 434817 h 6760800"/>
              <a:gd name="connsiteX117" fmla="*/ 2134843 w 12192000"/>
              <a:gd name="connsiteY117" fmla="*/ 479301 h 6760800"/>
              <a:gd name="connsiteX118" fmla="*/ 2140777 w 12192000"/>
              <a:gd name="connsiteY118" fmla="*/ 485232 h 6760800"/>
              <a:gd name="connsiteX119" fmla="*/ 2185285 w 12192000"/>
              <a:gd name="connsiteY119" fmla="*/ 485232 h 6760800"/>
              <a:gd name="connsiteX120" fmla="*/ 2191219 w 12192000"/>
              <a:gd name="connsiteY120" fmla="*/ 479301 h 6760800"/>
              <a:gd name="connsiteX121" fmla="*/ 2191219 w 12192000"/>
              <a:gd name="connsiteY121" fmla="*/ 434817 h 6760800"/>
              <a:gd name="connsiteX122" fmla="*/ 2185285 w 12192000"/>
              <a:gd name="connsiteY122" fmla="*/ 428886 h 6760800"/>
              <a:gd name="connsiteX123" fmla="*/ 2084401 w 12192000"/>
              <a:gd name="connsiteY123" fmla="*/ 292469 h 6760800"/>
              <a:gd name="connsiteX124" fmla="*/ 2078467 w 12192000"/>
              <a:gd name="connsiteY124" fmla="*/ 298400 h 6760800"/>
              <a:gd name="connsiteX125" fmla="*/ 2078467 w 12192000"/>
              <a:gd name="connsiteY125" fmla="*/ 399230 h 6760800"/>
              <a:gd name="connsiteX126" fmla="*/ 2084401 w 12192000"/>
              <a:gd name="connsiteY126" fmla="*/ 405161 h 6760800"/>
              <a:gd name="connsiteX127" fmla="*/ 2185285 w 12192000"/>
              <a:gd name="connsiteY127" fmla="*/ 405161 h 6760800"/>
              <a:gd name="connsiteX128" fmla="*/ 2191219 w 12192000"/>
              <a:gd name="connsiteY128" fmla="*/ 399230 h 6760800"/>
              <a:gd name="connsiteX129" fmla="*/ 2191219 w 12192000"/>
              <a:gd name="connsiteY129" fmla="*/ 298400 h 6760800"/>
              <a:gd name="connsiteX130" fmla="*/ 2185285 w 12192000"/>
              <a:gd name="connsiteY130" fmla="*/ 292469 h 6760800"/>
              <a:gd name="connsiteX131" fmla="*/ 2222375 w 12192000"/>
              <a:gd name="connsiteY131" fmla="*/ 221296 h 6760800"/>
              <a:gd name="connsiteX132" fmla="*/ 2214957 w 12192000"/>
              <a:gd name="connsiteY132" fmla="*/ 227227 h 6760800"/>
              <a:gd name="connsiteX133" fmla="*/ 2216441 w 12192000"/>
              <a:gd name="connsiteY133" fmla="*/ 399231 h 6760800"/>
              <a:gd name="connsiteX134" fmla="*/ 2222375 w 12192000"/>
              <a:gd name="connsiteY134" fmla="*/ 405162 h 6760800"/>
              <a:gd name="connsiteX135" fmla="*/ 2392986 w 12192000"/>
              <a:gd name="connsiteY135" fmla="*/ 405162 h 6760800"/>
              <a:gd name="connsiteX136" fmla="*/ 2398921 w 12192000"/>
              <a:gd name="connsiteY136" fmla="*/ 399231 h 6760800"/>
              <a:gd name="connsiteX137" fmla="*/ 2398921 w 12192000"/>
              <a:gd name="connsiteY137" fmla="*/ 313229 h 6760800"/>
              <a:gd name="connsiteX138" fmla="*/ 2306939 w 12192000"/>
              <a:gd name="connsiteY138" fmla="*/ 221296 h 6760800"/>
              <a:gd name="connsiteX139" fmla="*/ 0 w 12192000"/>
              <a:gd name="connsiteY139" fmla="*/ 0 h 6760800"/>
              <a:gd name="connsiteX140" fmla="*/ 12192000 w 12192000"/>
              <a:gd name="connsiteY140" fmla="*/ 0 h 6760800"/>
              <a:gd name="connsiteX141" fmla="*/ 12192000 w 12192000"/>
              <a:gd name="connsiteY141" fmla="*/ 27000 h 6760800"/>
              <a:gd name="connsiteX142" fmla="*/ 12192000 w 12192000"/>
              <a:gd name="connsiteY142" fmla="*/ 6760800 h 6760800"/>
              <a:gd name="connsiteX143" fmla="*/ 0 w 12192000"/>
              <a:gd name="connsiteY143" fmla="*/ 6760800 h 6760800"/>
              <a:gd name="connsiteX144" fmla="*/ 0 w 12192000"/>
              <a:gd name="connsiteY144" fmla="*/ 27000 h 676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12192000" h="6760800">
                <a:moveTo>
                  <a:pt x="1114141" y="543060"/>
                </a:moveTo>
                <a:cubicBezTo>
                  <a:pt x="1133427" y="543060"/>
                  <a:pt x="1142329" y="556406"/>
                  <a:pt x="1143812" y="584579"/>
                </a:cubicBezTo>
                <a:cubicBezTo>
                  <a:pt x="1143812" y="611269"/>
                  <a:pt x="1133427" y="624614"/>
                  <a:pt x="1114141" y="624614"/>
                </a:cubicBezTo>
                <a:cubicBezTo>
                  <a:pt x="1094854" y="624614"/>
                  <a:pt x="1084469" y="611269"/>
                  <a:pt x="1084469" y="584579"/>
                </a:cubicBezTo>
                <a:cubicBezTo>
                  <a:pt x="1084469" y="556406"/>
                  <a:pt x="1093371" y="543060"/>
                  <a:pt x="1114141" y="543060"/>
                </a:cubicBezTo>
                <a:close/>
                <a:moveTo>
                  <a:pt x="1324809" y="538613"/>
                </a:moveTo>
                <a:cubicBezTo>
                  <a:pt x="1347063" y="538613"/>
                  <a:pt x="1354481" y="553441"/>
                  <a:pt x="1354481" y="584579"/>
                </a:cubicBezTo>
                <a:cubicBezTo>
                  <a:pt x="1354481" y="615717"/>
                  <a:pt x="1347063" y="630545"/>
                  <a:pt x="1324809" y="630545"/>
                </a:cubicBezTo>
                <a:cubicBezTo>
                  <a:pt x="1304039" y="630545"/>
                  <a:pt x="1296621" y="615717"/>
                  <a:pt x="1295138" y="584579"/>
                </a:cubicBezTo>
                <a:cubicBezTo>
                  <a:pt x="1295138" y="553441"/>
                  <a:pt x="1302556" y="538613"/>
                  <a:pt x="1324809" y="538613"/>
                </a:cubicBezTo>
                <a:close/>
                <a:moveTo>
                  <a:pt x="1829226" y="529715"/>
                </a:moveTo>
                <a:cubicBezTo>
                  <a:pt x="1849996" y="529715"/>
                  <a:pt x="1860381" y="541577"/>
                  <a:pt x="1861865" y="563819"/>
                </a:cubicBezTo>
                <a:lnTo>
                  <a:pt x="1798071" y="563819"/>
                </a:lnTo>
                <a:cubicBezTo>
                  <a:pt x="1799554" y="541577"/>
                  <a:pt x="1809939" y="529715"/>
                  <a:pt x="1829226" y="529715"/>
                </a:cubicBezTo>
                <a:close/>
                <a:moveTo>
                  <a:pt x="562251" y="529715"/>
                </a:moveTo>
                <a:cubicBezTo>
                  <a:pt x="583021" y="529715"/>
                  <a:pt x="593406" y="541577"/>
                  <a:pt x="594889" y="563819"/>
                </a:cubicBezTo>
                <a:lnTo>
                  <a:pt x="531095" y="563819"/>
                </a:lnTo>
                <a:cubicBezTo>
                  <a:pt x="532579" y="541577"/>
                  <a:pt x="542964" y="529715"/>
                  <a:pt x="562251" y="529715"/>
                </a:cubicBezTo>
                <a:close/>
                <a:moveTo>
                  <a:pt x="1422726" y="494128"/>
                </a:moveTo>
                <a:lnTo>
                  <a:pt x="1480586" y="673545"/>
                </a:lnTo>
                <a:lnTo>
                  <a:pt x="1550314" y="673545"/>
                </a:lnTo>
                <a:lnTo>
                  <a:pt x="1577018" y="569751"/>
                </a:lnTo>
                <a:lnTo>
                  <a:pt x="1603723" y="673545"/>
                </a:lnTo>
                <a:lnTo>
                  <a:pt x="1676418" y="673545"/>
                </a:lnTo>
                <a:lnTo>
                  <a:pt x="1732794" y="494128"/>
                </a:lnTo>
                <a:lnTo>
                  <a:pt x="1664549" y="494128"/>
                </a:lnTo>
                <a:lnTo>
                  <a:pt x="1637845" y="603855"/>
                </a:lnTo>
                <a:lnTo>
                  <a:pt x="1609657" y="494128"/>
                </a:lnTo>
                <a:lnTo>
                  <a:pt x="1548830" y="494128"/>
                </a:lnTo>
                <a:lnTo>
                  <a:pt x="1520642" y="603855"/>
                </a:lnTo>
                <a:lnTo>
                  <a:pt x="1493938" y="494128"/>
                </a:lnTo>
                <a:close/>
                <a:moveTo>
                  <a:pt x="2072534" y="489680"/>
                </a:moveTo>
                <a:cubicBezTo>
                  <a:pt x="2042862" y="489680"/>
                  <a:pt x="2025059" y="500059"/>
                  <a:pt x="2016157" y="526750"/>
                </a:cubicBezTo>
                <a:lnTo>
                  <a:pt x="2016157" y="494128"/>
                </a:lnTo>
                <a:lnTo>
                  <a:pt x="1950880" y="494128"/>
                </a:lnTo>
                <a:lnTo>
                  <a:pt x="1950880" y="673545"/>
                </a:lnTo>
                <a:lnTo>
                  <a:pt x="2022092" y="673545"/>
                </a:lnTo>
                <a:lnTo>
                  <a:pt x="2022092" y="599406"/>
                </a:lnTo>
                <a:cubicBezTo>
                  <a:pt x="2022092" y="571233"/>
                  <a:pt x="2035444" y="559370"/>
                  <a:pt x="2063632" y="559370"/>
                </a:cubicBezTo>
                <a:cubicBezTo>
                  <a:pt x="2068083" y="559370"/>
                  <a:pt x="2072534" y="560854"/>
                  <a:pt x="2078468" y="560854"/>
                </a:cubicBezTo>
                <a:lnTo>
                  <a:pt x="2078468" y="489680"/>
                </a:lnTo>
                <a:cubicBezTo>
                  <a:pt x="2076984" y="489680"/>
                  <a:pt x="2074017" y="489680"/>
                  <a:pt x="2072534" y="489680"/>
                </a:cubicBezTo>
                <a:close/>
                <a:moveTo>
                  <a:pt x="807041" y="489680"/>
                </a:moveTo>
                <a:cubicBezTo>
                  <a:pt x="793688" y="489680"/>
                  <a:pt x="783303" y="492645"/>
                  <a:pt x="772918" y="497094"/>
                </a:cubicBezTo>
                <a:cubicBezTo>
                  <a:pt x="762533" y="503025"/>
                  <a:pt x="753632" y="510439"/>
                  <a:pt x="746214" y="520818"/>
                </a:cubicBezTo>
                <a:lnTo>
                  <a:pt x="746214" y="494128"/>
                </a:lnTo>
                <a:lnTo>
                  <a:pt x="682420" y="494128"/>
                </a:lnTo>
                <a:lnTo>
                  <a:pt x="682420" y="673545"/>
                </a:lnTo>
                <a:lnTo>
                  <a:pt x="750665" y="673545"/>
                </a:lnTo>
                <a:lnTo>
                  <a:pt x="750665" y="577164"/>
                </a:lnTo>
                <a:cubicBezTo>
                  <a:pt x="750665" y="566785"/>
                  <a:pt x="752148" y="559370"/>
                  <a:pt x="756599" y="553440"/>
                </a:cubicBezTo>
                <a:cubicBezTo>
                  <a:pt x="761050" y="548991"/>
                  <a:pt x="766984" y="546026"/>
                  <a:pt x="774402" y="546026"/>
                </a:cubicBezTo>
                <a:cubicBezTo>
                  <a:pt x="783303" y="546026"/>
                  <a:pt x="789238" y="547509"/>
                  <a:pt x="793688" y="553440"/>
                </a:cubicBezTo>
                <a:cubicBezTo>
                  <a:pt x="798139" y="559370"/>
                  <a:pt x="799623" y="568268"/>
                  <a:pt x="799623" y="580129"/>
                </a:cubicBezTo>
                <a:lnTo>
                  <a:pt x="799623" y="673545"/>
                </a:lnTo>
                <a:lnTo>
                  <a:pt x="869351" y="673545"/>
                </a:lnTo>
                <a:lnTo>
                  <a:pt x="869351" y="578647"/>
                </a:lnTo>
                <a:cubicBezTo>
                  <a:pt x="869351" y="566785"/>
                  <a:pt x="870834" y="559370"/>
                  <a:pt x="875285" y="553440"/>
                </a:cubicBezTo>
                <a:cubicBezTo>
                  <a:pt x="879736" y="548991"/>
                  <a:pt x="885670" y="546026"/>
                  <a:pt x="894572" y="546026"/>
                </a:cubicBezTo>
                <a:cubicBezTo>
                  <a:pt x="901990" y="546026"/>
                  <a:pt x="907924" y="548991"/>
                  <a:pt x="912375" y="553440"/>
                </a:cubicBezTo>
                <a:cubicBezTo>
                  <a:pt x="916825" y="559370"/>
                  <a:pt x="918309" y="566785"/>
                  <a:pt x="918309" y="578647"/>
                </a:cubicBezTo>
                <a:lnTo>
                  <a:pt x="918309" y="675029"/>
                </a:lnTo>
                <a:lnTo>
                  <a:pt x="988037" y="675029"/>
                </a:lnTo>
                <a:lnTo>
                  <a:pt x="988037" y="551957"/>
                </a:lnTo>
                <a:cubicBezTo>
                  <a:pt x="988037" y="532681"/>
                  <a:pt x="982103" y="516370"/>
                  <a:pt x="970234" y="505990"/>
                </a:cubicBezTo>
                <a:cubicBezTo>
                  <a:pt x="958366" y="495611"/>
                  <a:pt x="942046" y="489680"/>
                  <a:pt x="921276" y="489680"/>
                </a:cubicBezTo>
                <a:cubicBezTo>
                  <a:pt x="909408" y="489680"/>
                  <a:pt x="897539" y="492645"/>
                  <a:pt x="887154" y="497094"/>
                </a:cubicBezTo>
                <a:cubicBezTo>
                  <a:pt x="876769" y="501542"/>
                  <a:pt x="867867" y="510439"/>
                  <a:pt x="858966" y="520818"/>
                </a:cubicBezTo>
                <a:cubicBezTo>
                  <a:pt x="853032" y="510439"/>
                  <a:pt x="845614" y="501542"/>
                  <a:pt x="836712" y="497094"/>
                </a:cubicBezTo>
                <a:cubicBezTo>
                  <a:pt x="829294" y="492645"/>
                  <a:pt x="818909" y="489680"/>
                  <a:pt x="807041" y="489680"/>
                </a:cubicBezTo>
                <a:close/>
                <a:moveTo>
                  <a:pt x="1324809" y="488198"/>
                </a:moveTo>
                <a:cubicBezTo>
                  <a:pt x="1262499" y="488198"/>
                  <a:pt x="1223926" y="523785"/>
                  <a:pt x="1223926" y="584579"/>
                </a:cubicBezTo>
                <a:cubicBezTo>
                  <a:pt x="1223926" y="643890"/>
                  <a:pt x="1261015" y="680960"/>
                  <a:pt x="1324809" y="680960"/>
                </a:cubicBezTo>
                <a:cubicBezTo>
                  <a:pt x="1387120" y="680960"/>
                  <a:pt x="1425693" y="643890"/>
                  <a:pt x="1425693" y="584579"/>
                </a:cubicBezTo>
                <a:cubicBezTo>
                  <a:pt x="1425693" y="525268"/>
                  <a:pt x="1388603" y="488198"/>
                  <a:pt x="1324809" y="488198"/>
                </a:cubicBezTo>
                <a:close/>
                <a:moveTo>
                  <a:pt x="1136394" y="488198"/>
                </a:moveTo>
                <a:cubicBezTo>
                  <a:pt x="1111174" y="488198"/>
                  <a:pt x="1093371" y="497094"/>
                  <a:pt x="1078535" y="516370"/>
                </a:cubicBezTo>
                <a:lnTo>
                  <a:pt x="1078535" y="494128"/>
                </a:lnTo>
                <a:lnTo>
                  <a:pt x="1016225" y="494128"/>
                </a:lnTo>
                <a:lnTo>
                  <a:pt x="1016225" y="744719"/>
                </a:lnTo>
                <a:lnTo>
                  <a:pt x="1085953" y="744719"/>
                </a:lnTo>
                <a:lnTo>
                  <a:pt x="1085953" y="655753"/>
                </a:lnTo>
                <a:cubicBezTo>
                  <a:pt x="1097821" y="670580"/>
                  <a:pt x="1114141" y="677994"/>
                  <a:pt x="1136394" y="677994"/>
                </a:cubicBezTo>
                <a:cubicBezTo>
                  <a:pt x="1183869" y="677994"/>
                  <a:pt x="1215024" y="640925"/>
                  <a:pt x="1215024" y="583096"/>
                </a:cubicBezTo>
                <a:cubicBezTo>
                  <a:pt x="1215024" y="525268"/>
                  <a:pt x="1182385" y="488198"/>
                  <a:pt x="1136394" y="488198"/>
                </a:cubicBezTo>
                <a:close/>
                <a:moveTo>
                  <a:pt x="1829226" y="486714"/>
                </a:moveTo>
                <a:cubicBezTo>
                  <a:pt x="1765432" y="486714"/>
                  <a:pt x="1726859" y="523785"/>
                  <a:pt x="1726859" y="584578"/>
                </a:cubicBezTo>
                <a:cubicBezTo>
                  <a:pt x="1726859" y="642407"/>
                  <a:pt x="1765432" y="679476"/>
                  <a:pt x="1827742" y="679476"/>
                </a:cubicBezTo>
                <a:cubicBezTo>
                  <a:pt x="1884118" y="679476"/>
                  <a:pt x="1916757" y="658717"/>
                  <a:pt x="1927142" y="620165"/>
                </a:cubicBezTo>
                <a:lnTo>
                  <a:pt x="1927142" y="618683"/>
                </a:lnTo>
                <a:lnTo>
                  <a:pt x="1857414" y="618683"/>
                </a:lnTo>
                <a:cubicBezTo>
                  <a:pt x="1854447" y="627579"/>
                  <a:pt x="1844062" y="633510"/>
                  <a:pt x="1830710" y="633510"/>
                </a:cubicBezTo>
                <a:cubicBezTo>
                  <a:pt x="1809939" y="633510"/>
                  <a:pt x="1798071" y="620165"/>
                  <a:pt x="1798071" y="597924"/>
                </a:cubicBezTo>
                <a:lnTo>
                  <a:pt x="1931593" y="597924"/>
                </a:lnTo>
                <a:cubicBezTo>
                  <a:pt x="1931593" y="596441"/>
                  <a:pt x="1931593" y="594957"/>
                  <a:pt x="1931593" y="593475"/>
                </a:cubicBezTo>
                <a:cubicBezTo>
                  <a:pt x="1931593" y="526750"/>
                  <a:pt x="1893020" y="486714"/>
                  <a:pt x="1829226" y="486714"/>
                </a:cubicBezTo>
                <a:close/>
                <a:moveTo>
                  <a:pt x="560767" y="486714"/>
                </a:moveTo>
                <a:cubicBezTo>
                  <a:pt x="496973" y="486714"/>
                  <a:pt x="458400" y="523785"/>
                  <a:pt x="458400" y="584578"/>
                </a:cubicBezTo>
                <a:cubicBezTo>
                  <a:pt x="458400" y="642407"/>
                  <a:pt x="496973" y="679476"/>
                  <a:pt x="559283" y="679476"/>
                </a:cubicBezTo>
                <a:cubicBezTo>
                  <a:pt x="615659" y="679476"/>
                  <a:pt x="648298" y="658717"/>
                  <a:pt x="658683" y="620165"/>
                </a:cubicBezTo>
                <a:lnTo>
                  <a:pt x="658683" y="618683"/>
                </a:lnTo>
                <a:lnTo>
                  <a:pt x="588955" y="618683"/>
                </a:lnTo>
                <a:cubicBezTo>
                  <a:pt x="585988" y="627579"/>
                  <a:pt x="575603" y="633510"/>
                  <a:pt x="562251" y="633510"/>
                </a:cubicBezTo>
                <a:cubicBezTo>
                  <a:pt x="541480" y="633510"/>
                  <a:pt x="529612" y="620165"/>
                  <a:pt x="529612" y="597924"/>
                </a:cubicBezTo>
                <a:lnTo>
                  <a:pt x="663134" y="597924"/>
                </a:lnTo>
                <a:cubicBezTo>
                  <a:pt x="663134" y="596441"/>
                  <a:pt x="663134" y="594957"/>
                  <a:pt x="663134" y="593475"/>
                </a:cubicBezTo>
                <a:cubicBezTo>
                  <a:pt x="663134" y="526750"/>
                  <a:pt x="624561" y="486714"/>
                  <a:pt x="560767" y="486714"/>
                </a:cubicBezTo>
                <a:close/>
                <a:moveTo>
                  <a:pt x="2222374" y="428886"/>
                </a:moveTo>
                <a:lnTo>
                  <a:pt x="2216440" y="434817"/>
                </a:lnTo>
                <a:lnTo>
                  <a:pt x="2216440" y="535647"/>
                </a:lnTo>
                <a:lnTo>
                  <a:pt x="2222374" y="541578"/>
                </a:lnTo>
                <a:lnTo>
                  <a:pt x="2323258" y="541578"/>
                </a:lnTo>
                <a:lnTo>
                  <a:pt x="2329192" y="535647"/>
                </a:lnTo>
                <a:lnTo>
                  <a:pt x="2329192" y="434817"/>
                </a:lnTo>
                <a:lnTo>
                  <a:pt x="2323258" y="428886"/>
                </a:lnTo>
                <a:close/>
                <a:moveTo>
                  <a:pt x="2140777" y="428886"/>
                </a:moveTo>
                <a:lnTo>
                  <a:pt x="2134843" y="434817"/>
                </a:lnTo>
                <a:lnTo>
                  <a:pt x="2134843" y="479301"/>
                </a:lnTo>
                <a:lnTo>
                  <a:pt x="2140777" y="485232"/>
                </a:lnTo>
                <a:lnTo>
                  <a:pt x="2185285" y="485232"/>
                </a:lnTo>
                <a:lnTo>
                  <a:pt x="2191219" y="479301"/>
                </a:lnTo>
                <a:lnTo>
                  <a:pt x="2191219" y="434817"/>
                </a:lnTo>
                <a:lnTo>
                  <a:pt x="2185285" y="428886"/>
                </a:lnTo>
                <a:close/>
                <a:moveTo>
                  <a:pt x="2084401" y="292469"/>
                </a:moveTo>
                <a:lnTo>
                  <a:pt x="2078467" y="298400"/>
                </a:lnTo>
                <a:lnTo>
                  <a:pt x="2078467" y="399230"/>
                </a:lnTo>
                <a:lnTo>
                  <a:pt x="2084401" y="405161"/>
                </a:lnTo>
                <a:lnTo>
                  <a:pt x="2185285" y="405161"/>
                </a:lnTo>
                <a:lnTo>
                  <a:pt x="2191219" y="399230"/>
                </a:lnTo>
                <a:lnTo>
                  <a:pt x="2191219" y="298400"/>
                </a:lnTo>
                <a:lnTo>
                  <a:pt x="2185285" y="292469"/>
                </a:lnTo>
                <a:close/>
                <a:moveTo>
                  <a:pt x="2222375" y="221296"/>
                </a:moveTo>
                <a:lnTo>
                  <a:pt x="2214957" y="227227"/>
                </a:lnTo>
                <a:lnTo>
                  <a:pt x="2216441" y="399231"/>
                </a:lnTo>
                <a:lnTo>
                  <a:pt x="2222375" y="405162"/>
                </a:lnTo>
                <a:lnTo>
                  <a:pt x="2392986" y="405162"/>
                </a:lnTo>
                <a:lnTo>
                  <a:pt x="2398921" y="399231"/>
                </a:lnTo>
                <a:lnTo>
                  <a:pt x="2398921" y="313229"/>
                </a:lnTo>
                <a:lnTo>
                  <a:pt x="2306939" y="22129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27000"/>
                </a:lnTo>
                <a:lnTo>
                  <a:pt x="12192000" y="6760800"/>
                </a:lnTo>
                <a:lnTo>
                  <a:pt x="0" y="6760800"/>
                </a:lnTo>
                <a:lnTo>
                  <a:pt x="0" y="27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vert="horz" wrap="square" lIns="0" tIns="0" rIns="0" bIns="3276000" rtlCol="0" anchor="ctr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lang="de-DE" sz="2000" i="0" noProof="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de-DE" noProof="0" dirty="0" err="1"/>
              <a:t>Please</a:t>
            </a:r>
            <a:r>
              <a:rPr lang="de-DE" noProof="0" dirty="0"/>
              <a:t>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here</a:t>
            </a:r>
            <a:r>
              <a:rPr lang="de-DE" noProof="0" dirty="0"/>
              <a:t> and </a:t>
            </a:r>
            <a:r>
              <a:rPr lang="de-DE" noProof="0" dirty="0" err="1"/>
              <a:t>insert</a:t>
            </a:r>
            <a:r>
              <a:rPr lang="de-DE" noProof="0" dirty="0"/>
              <a:t> a </a:t>
            </a:r>
            <a:r>
              <a:rPr lang="de-DE" noProof="0" dirty="0" err="1"/>
              <a:t>picture</a:t>
            </a:r>
            <a:r>
              <a:rPr lang="de-DE" noProof="0" dirty="0"/>
              <a:t> </a:t>
            </a:r>
            <a:br>
              <a:rPr lang="de-DE" noProof="0" dirty="0"/>
            </a:br>
            <a:r>
              <a:rPr lang="de-DE" noProof="0" dirty="0" err="1"/>
              <a:t>from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empower </a:t>
            </a:r>
            <a:r>
              <a:rPr lang="de-DE" noProof="0" dirty="0" err="1"/>
              <a:t>image</a:t>
            </a:r>
            <a:r>
              <a:rPr lang="de-DE" noProof="0" dirty="0"/>
              <a:t> </a:t>
            </a:r>
            <a:r>
              <a:rPr lang="de-DE" noProof="0" dirty="0" err="1"/>
              <a:t>folder</a:t>
            </a:r>
            <a:r>
              <a:rPr lang="de-DE" noProof="0" dirty="0"/>
              <a:t> „Cover Images“ &gt;&gt;</a:t>
            </a:r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D5EF7968-483B-45DB-96A0-41EC9F5DD7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13579" y="2359025"/>
            <a:ext cx="8164842" cy="1944775"/>
          </a:xfrm>
          <a:custGeom>
            <a:avLst/>
            <a:gdLst>
              <a:gd name="connsiteX0" fmla="*/ 0 w 8164842"/>
              <a:gd name="connsiteY0" fmla="*/ 0 h 1944775"/>
              <a:gd name="connsiteX1" fmla="*/ 8164842 w 8164842"/>
              <a:gd name="connsiteY1" fmla="*/ 0 h 1944775"/>
              <a:gd name="connsiteX2" fmla="*/ 8164842 w 8164842"/>
              <a:gd name="connsiteY2" fmla="*/ 1944775 h 1944775"/>
              <a:gd name="connsiteX3" fmla="*/ 0 w 8164842"/>
              <a:gd name="connsiteY3" fmla="*/ 1944775 h 194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4842" h="1944775">
                <a:moveTo>
                  <a:pt x="0" y="0"/>
                </a:moveTo>
                <a:lnTo>
                  <a:pt x="8164842" y="0"/>
                </a:lnTo>
                <a:lnTo>
                  <a:pt x="8164842" y="1944775"/>
                </a:lnTo>
                <a:lnTo>
                  <a:pt x="0" y="1944775"/>
                </a:lnTo>
                <a:close/>
              </a:path>
            </a:pathLst>
          </a:custGeom>
        </p:spPr>
        <p:txBody>
          <a:bodyPr vert="horz" wrap="square" lIns="0" tIns="97200" rIns="0" bIns="97200" rtlCol="0" anchor="b" anchorCtr="0">
            <a:noAutofit/>
          </a:bodyPr>
          <a:lstStyle>
            <a:lvl1pPr algn="ctr">
              <a:lnSpc>
                <a:spcPts val="7000"/>
              </a:lnSpc>
              <a:defRPr lang="de-DE" sz="7200" b="0" i="0" spc="-300" baseline="0" dirty="0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de-DE" noProof="0" dirty="0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A1564E3-F5C6-4926-B102-8F6E6F83E8F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13600" y="4303800"/>
            <a:ext cx="8165450" cy="971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algn="ctr">
              <a:lnSpc>
                <a:spcPct val="100000"/>
              </a:lnSpc>
              <a:defRPr lang="de-DE" sz="2400" b="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defTabSz="972000">
              <a:lnSpc>
                <a:spcPct val="100000"/>
              </a:lnSpc>
              <a:buClr>
                <a:schemeClr val="tx2"/>
              </a:buClr>
            </a:pPr>
            <a:r>
              <a:rPr lang="de-DE"/>
              <a:t>Master-Untertitelformat bearbeiten</a:t>
            </a:r>
          </a:p>
        </p:txBody>
      </p:sp>
      <p:sp>
        <p:nvSpPr>
          <p:cNvPr id="133" name="Datumsplatzhalter 132" hidden="1">
            <a:extLst>
              <a:ext uri="{FF2B5EF4-FFF2-40B4-BE49-F238E27FC236}">
                <a16:creationId xmlns:a16="http://schemas.microsoft.com/office/drawing/2014/main" id="{CF2460D3-1367-4056-BB37-5940795BD60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765D08-26B1-4DE8-BBEA-0EAC4020FA96}" type="datetimeFigureOut">
              <a:rPr lang="en-US"/>
              <a:t>7/14/2024</a:t>
            </a:fld>
            <a:endParaRPr lang="en-US"/>
          </a:p>
        </p:txBody>
      </p:sp>
      <p:sp>
        <p:nvSpPr>
          <p:cNvPr id="134" name="Fußzeilenplatzhalter 133" hidden="1">
            <a:extLst>
              <a:ext uri="{FF2B5EF4-FFF2-40B4-BE49-F238E27FC236}">
                <a16:creationId xmlns:a16="http://schemas.microsoft.com/office/drawing/2014/main" id="{2F93CA02-0090-4D10-9DCE-B182CCE0AF5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5" name="Foliennummernplatzhalter 134" hidden="1">
            <a:extLst>
              <a:ext uri="{FF2B5EF4-FFF2-40B4-BE49-F238E27FC236}">
                <a16:creationId xmlns:a16="http://schemas.microsoft.com/office/drawing/2014/main" id="{CB30FC07-0889-4C45-8353-1A92537EB00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4B4D68C-E810-46A5-A28F-0667A3B6FF14}" type="slidenum">
              <a:rPr lang="en-US"/>
              <a:t>‹Nr.›</a:t>
            </a:fld>
            <a:endParaRPr lang="en-US"/>
          </a:p>
        </p:txBody>
      </p:sp>
      <p:sp>
        <p:nvSpPr>
          <p:cNvPr id="2" name="Master field_Confidentiality EN" hidden="1">
            <a:extLst>
              <a:ext uri="{FF2B5EF4-FFF2-40B4-BE49-F238E27FC236}">
                <a16:creationId xmlns:a16="http://schemas.microsoft.com/office/drawing/2014/main" id="{3FC74506-C830-4435-A307-6BE92497A7A3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346400" y="6636601"/>
            <a:ext cx="3499200" cy="194415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457200" lvl="1" indent="-457200" algn="ctr">
              <a:buFont typeface="+mj-lt"/>
              <a:buNone/>
            </a:pPr>
            <a:endParaRPr lang="de-DE" sz="900" b="1"/>
          </a:p>
        </p:txBody>
      </p:sp>
      <p:sp>
        <p:nvSpPr>
          <p:cNvPr id="4" name="Masterfeld_Vertraulichkeit DE" hidden="1">
            <a:extLst>
              <a:ext uri="{FF2B5EF4-FFF2-40B4-BE49-F238E27FC236}">
                <a16:creationId xmlns:a16="http://schemas.microsoft.com/office/drawing/2014/main" id="{8E2716C5-029D-4FAE-B39A-DF13611ADF81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346400" y="6636601"/>
            <a:ext cx="3499200" cy="194415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457200" lvl="1" indent="-457200" algn="ctr">
              <a:buFont typeface="+mj-lt"/>
              <a:buNone/>
            </a:pPr>
            <a:endParaRPr lang="de-DE" sz="900"/>
          </a:p>
        </p:txBody>
      </p:sp>
    </p:spTree>
    <p:extLst>
      <p:ext uri="{BB962C8B-B14F-4D97-AF65-F5344CB8AC3E}">
        <p14:creationId xmlns:p14="http://schemas.microsoft.com/office/powerpoint/2010/main" val="4212924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68">
          <p15:clr>
            <a:srgbClr val="547EBF"/>
          </p15:clr>
        </p15:guide>
        <p15:guide id="2" pos="6412">
          <p15:clr>
            <a:srgbClr val="547EBF"/>
          </p15:clr>
        </p15:guide>
        <p15:guide id="3" orient="horz" pos="1486">
          <p15:clr>
            <a:srgbClr val="547EBF"/>
          </p15:clr>
        </p15:guide>
        <p15:guide id="4" orient="horz" pos="2711">
          <p15:clr>
            <a:srgbClr val="547EBF"/>
          </p15:clr>
        </p15:guide>
        <p15:guide id="5" orient="horz" pos="3323">
          <p15:clr>
            <a:srgbClr val="547EB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mediaAndTx" preserve="1">
  <p:cSld name="Statement&#10;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28DA59A2-B45F-4067-8FD9-D1BEC70D19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400" y="318600"/>
            <a:ext cx="3499200" cy="2624399"/>
          </a:xfrm>
        </p:spPr>
        <p:txBody>
          <a:bodyPr anchor="b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Text placeholder">
            <a:extLst>
              <a:ext uri="{FF2B5EF4-FFF2-40B4-BE49-F238E27FC236}">
                <a16:creationId xmlns:a16="http://schemas.microsoft.com/office/drawing/2014/main" id="{27B26DE4-3790-4A19-B48A-06E2CC45DF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8788" y="2943225"/>
            <a:ext cx="3498850" cy="34988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3175ECCA-4759-4237-AFD0-F9138BA2203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46400" y="97199"/>
            <a:ext cx="7845600" cy="6760801"/>
          </a:xfrm>
          <a:solidFill>
            <a:schemeClr val="bg1"/>
          </a:solidFill>
        </p:spPr>
        <p:txBody>
          <a:bodyPr vert="horz" wrap="square" lIns="0" tIns="0" rIns="0" bIns="756000" rtlCol="0" anchor="ctr">
            <a:noAutofit/>
          </a:bodyPr>
          <a:lstStyle>
            <a:lvl1pPr>
              <a:defRPr lang="en-US"/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97E6C92-A38F-4452-8068-731F8799A0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765D08-26B1-4DE8-BBEA-0EAC4020FA96}" type="datetimeFigureOut">
              <a:rPr lang="en-US"/>
              <a:t>7/14/2024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6DC8248-A082-44C8-9946-CC6B843C34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3D7BCA5-D3B8-4083-9E26-AF818DE752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4D68C-E810-46A5-A28F-0667A3B6FF14}" type="slidenum">
              <a:rPr lang="en-US"/>
              <a:t>‹Nr.›</a:t>
            </a:fld>
            <a:endParaRPr lang="en-US"/>
          </a:p>
        </p:txBody>
      </p:sp>
      <p:sp>
        <p:nvSpPr>
          <p:cNvPr id="10" name="Layoutschutz" hidden="1">
            <a:extLst>
              <a:ext uri="{FF2B5EF4-FFF2-40B4-BE49-F238E27FC236}">
                <a16:creationId xmlns:a16="http://schemas.microsoft.com/office/drawing/2014/main" id="{88E2495E-5DB4-48B7-B13C-C23C0FB3B505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54000" y="318600"/>
            <a:ext cx="11760200" cy="65394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56903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93">
          <p15:clr>
            <a:srgbClr val="547EBF"/>
          </p15:clr>
        </p15:guide>
        <p15:guide id="2" orient="horz" pos="1854">
          <p15:clr>
            <a:srgbClr val="547EBF"/>
          </p15:clr>
        </p15:guide>
        <p15:guide id="3" pos="2738">
          <p15:clr>
            <a:srgbClr val="547EBF"/>
          </p15:clr>
        </p15:guide>
        <p15:guide id="4" pos="289">
          <p15:clr>
            <a:srgbClr val="547EBF"/>
          </p15:clr>
        </p15:guide>
        <p15:guide id="5" orient="horz" pos="4058">
          <p15:clr>
            <a:srgbClr val="547EBF"/>
          </p15:clr>
        </p15:guide>
        <p15:guide id="7" orient="horz" pos="201">
          <p15:clr>
            <a:srgbClr val="547EB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&#10;with 3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eadline left">
            <a:extLst>
              <a:ext uri="{FF2B5EF4-FFF2-40B4-BE49-F238E27FC236}">
                <a16:creationId xmlns:a16="http://schemas.microsoft.com/office/drawing/2014/main" id="{3E42108B-CCF6-4E5E-B72B-211E4C5B1D2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8400" y="3623400"/>
            <a:ext cx="3499200" cy="486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Headline center">
            <a:extLst>
              <a:ext uri="{FF2B5EF4-FFF2-40B4-BE49-F238E27FC236}">
                <a16:creationId xmlns:a16="http://schemas.microsoft.com/office/drawing/2014/main" id="{DBFC60C6-E96F-4262-9F25-D8D3332367D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346400" y="3623400"/>
            <a:ext cx="3499200" cy="486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Headline right">
            <a:extLst>
              <a:ext uri="{FF2B5EF4-FFF2-40B4-BE49-F238E27FC236}">
                <a16:creationId xmlns:a16="http://schemas.microsoft.com/office/drawing/2014/main" id="{E7920CA0-579D-47FA-9A0A-7A5B020DE4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34400" y="3623400"/>
            <a:ext cx="3499200" cy="486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left">
            <a:extLst>
              <a:ext uri="{FF2B5EF4-FFF2-40B4-BE49-F238E27FC236}">
                <a16:creationId xmlns:a16="http://schemas.microsoft.com/office/drawing/2014/main" id="{1C94A9F3-77E7-4052-ADF3-47B5617F9CA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58400" y="4109400"/>
            <a:ext cx="3498850" cy="233280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Content placeholder center">
            <a:extLst>
              <a:ext uri="{FF2B5EF4-FFF2-40B4-BE49-F238E27FC236}">
                <a16:creationId xmlns:a16="http://schemas.microsoft.com/office/drawing/2014/main" id="{3F80F379-FCC2-4D63-BD67-E81435B9D78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346400" y="4109400"/>
            <a:ext cx="3498850" cy="233280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Content placeholder right">
            <a:extLst>
              <a:ext uri="{FF2B5EF4-FFF2-40B4-BE49-F238E27FC236}">
                <a16:creationId xmlns:a16="http://schemas.microsoft.com/office/drawing/2014/main" id="{F9AF96E0-53C6-482E-95AD-957DBCFA5CE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234400" y="4109400"/>
            <a:ext cx="3498850" cy="233280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4" name="Datumsplatzhalter 13" hidden="1">
            <a:extLst>
              <a:ext uri="{FF2B5EF4-FFF2-40B4-BE49-F238E27FC236}">
                <a16:creationId xmlns:a16="http://schemas.microsoft.com/office/drawing/2014/main" id="{60AFF17C-B3DD-45F6-AED7-89DE2B67F6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765D08-26B1-4DE8-BBEA-0EAC4020FA96}" type="datetimeFigureOut">
              <a:rPr lang="en-US"/>
              <a:t>7/14/2024</a:t>
            </a:fld>
            <a:endParaRPr lang="en-US"/>
          </a:p>
        </p:txBody>
      </p:sp>
      <p:sp>
        <p:nvSpPr>
          <p:cNvPr id="15" name="Fußzeilenplatzhalter 14" hidden="1">
            <a:extLst>
              <a:ext uri="{FF2B5EF4-FFF2-40B4-BE49-F238E27FC236}">
                <a16:creationId xmlns:a16="http://schemas.microsoft.com/office/drawing/2014/main" id="{17F53DD0-788A-4520-A290-1E20981D3B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Foliennummernplatzhalter 15" hidden="1">
            <a:extLst>
              <a:ext uri="{FF2B5EF4-FFF2-40B4-BE49-F238E27FC236}">
                <a16:creationId xmlns:a16="http://schemas.microsoft.com/office/drawing/2014/main" id="{517AB4B9-E4B2-4336-AE32-034908CCB4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4D68C-E810-46A5-A28F-0667A3B6FF14}" type="slidenum">
              <a:rPr lang="en-US"/>
              <a:t>‹Nr.›</a:t>
            </a:fld>
            <a:endParaRPr lang="en-US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62DE87C-124A-49FC-91EF-74CB75A3C66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97197"/>
            <a:ext cx="12192000" cy="3247581"/>
          </a:xfrm>
          <a:pattFill prst="pct50">
            <a:fgClr>
              <a:schemeClr val="bg2"/>
            </a:fgClr>
            <a:bgClr>
              <a:schemeClr val="bg1"/>
            </a:bgClr>
          </a:pattFill>
        </p:spPr>
        <p:txBody>
          <a:bodyPr vert="horz" wrap="square" lIns="0" tIns="0" rIns="0" bIns="756000" rtlCol="0" anchor="ctr">
            <a:noAutofit/>
          </a:bodyPr>
          <a:lstStyle>
            <a:lvl1pPr>
              <a:defRPr lang="de-DE"/>
            </a:lvl1pPr>
          </a:lstStyle>
          <a:p>
            <a:pPr lvl="0" algn="ctr"/>
            <a:r>
              <a:rPr lang="de-DE"/>
              <a:t> </a:t>
            </a:r>
          </a:p>
        </p:txBody>
      </p:sp>
      <p:sp>
        <p:nvSpPr>
          <p:cNvPr id="19" name="Titel 18">
            <a:extLst>
              <a:ext uri="{FF2B5EF4-FFF2-40B4-BE49-F238E27FC236}">
                <a16:creationId xmlns:a16="http://schemas.microsoft.com/office/drawing/2014/main" id="{FD947069-9BD4-4079-8CEA-F1140652DE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87065" y="901800"/>
            <a:ext cx="9608457" cy="2041425"/>
          </a:xfrm>
          <a:custGeom>
            <a:avLst/>
            <a:gdLst>
              <a:gd name="connsiteX0" fmla="*/ 0 w 9608457"/>
              <a:gd name="connsiteY0" fmla="*/ 0 h 2041425"/>
              <a:gd name="connsiteX1" fmla="*/ 9608457 w 9608457"/>
              <a:gd name="connsiteY1" fmla="*/ 0 h 2041425"/>
              <a:gd name="connsiteX2" fmla="*/ 9608457 w 9608457"/>
              <a:gd name="connsiteY2" fmla="*/ 2041425 h 2041425"/>
              <a:gd name="connsiteX3" fmla="*/ 0 w 9608457"/>
              <a:gd name="connsiteY3" fmla="*/ 2041425 h 2041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608457" h="2041425">
                <a:moveTo>
                  <a:pt x="0" y="0"/>
                </a:moveTo>
                <a:lnTo>
                  <a:pt x="9608457" y="0"/>
                </a:lnTo>
                <a:lnTo>
                  <a:pt x="9608457" y="2041425"/>
                </a:lnTo>
                <a:lnTo>
                  <a:pt x="0" y="2041425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 lang="de-DE" sz="4800" b="0" i="0" kern="1200" spc="-100" baseline="0" dirty="0">
                <a:solidFill>
                  <a:schemeClr val="bg1"/>
                </a:solidFill>
                <a:latin typeface="Segoe UI Semibold" panose="020B0502040204020203" pitchFamily="34" charset="0"/>
                <a:ea typeface="+mj-ea"/>
                <a:cs typeface="Segoe UI Semibold" panose="020B0502040204020203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7" name="Layoutschutz" hidden="1">
            <a:extLst>
              <a:ext uri="{FF2B5EF4-FFF2-40B4-BE49-F238E27FC236}">
                <a16:creationId xmlns:a16="http://schemas.microsoft.com/office/drawing/2014/main" id="{8463CA59-8900-4388-B5F3-A974786C6D0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54000" y="1295400"/>
            <a:ext cx="11760200" cy="55626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07113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93">
          <p15:clr>
            <a:srgbClr val="547EBF"/>
          </p15:clr>
        </p15:guide>
        <p15:guide id="2" orient="horz" pos="1854">
          <p15:clr>
            <a:srgbClr val="547EBF"/>
          </p15:clr>
        </p15:guide>
        <p15:guide id="3" orient="horz" pos="2099">
          <p15:clr>
            <a:srgbClr val="547EBF"/>
          </p15:clr>
        </p15:guide>
        <p15:guide id="5" pos="2738">
          <p15:clr>
            <a:srgbClr val="547EBF"/>
          </p15:clr>
        </p15:guide>
        <p15:guide id="6" pos="289">
          <p15:clr>
            <a:srgbClr val="547EBF"/>
          </p15:clr>
        </p15:guide>
        <p15:guide id="7" pos="4942">
          <p15:clr>
            <a:srgbClr val="547EBF"/>
          </p15:clr>
        </p15:guide>
        <p15:guide id="8" pos="5187">
          <p15:clr>
            <a:srgbClr val="547EBF"/>
          </p15:clr>
        </p15:guide>
        <p15:guide id="9" pos="7391">
          <p15:clr>
            <a:srgbClr val="547EBF"/>
          </p15:clr>
        </p15:guide>
        <p15:guide id="10" orient="horz" pos="2282">
          <p15:clr>
            <a:srgbClr val="547EBF"/>
          </p15:clr>
        </p15:guide>
        <p15:guide id="11" orient="horz" pos="1364">
          <p15:clr>
            <a:srgbClr val="A4A3A4"/>
          </p15:clr>
        </p15:guide>
        <p15:guide id="12" pos="1391">
          <p15:clr>
            <a:srgbClr val="A4A3A4"/>
          </p15:clr>
        </p15:guide>
        <p15:guide id="13" pos="3840">
          <p15:clr>
            <a:srgbClr val="A4A3A4"/>
          </p15:clr>
        </p15:guide>
        <p15:guide id="14" pos="6289">
          <p15:clr>
            <a:srgbClr val="A4A3A4"/>
          </p15:clr>
        </p15:guide>
        <p15:guide id="15" orient="horz" pos="874">
          <p15:clr>
            <a:srgbClr val="547EBF"/>
          </p15:clr>
        </p15:guide>
        <p15:guide id="16" orient="horz" pos="4058">
          <p15:clr>
            <a:srgbClr val="547EB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Picture&#10;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8B88125F-4DBA-4A5C-98A5-541E3DF3AB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97199"/>
            <a:ext cx="12192000" cy="6760801"/>
          </a:xfrm>
          <a:solidFill>
            <a:schemeClr val="bg1"/>
          </a:solidFill>
        </p:spPr>
        <p:txBody>
          <a:bodyPr vert="horz" wrap="square" lIns="0" tIns="0" rIns="0" bIns="756000" rtlCol="0" anchor="ctr">
            <a:noAutofit/>
          </a:bodyPr>
          <a:lstStyle>
            <a:lvl1pPr>
              <a:defRPr lang="en-US"/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87E576D-4985-4B1A-9F9A-7E8D864B0A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18601"/>
            <a:ext cx="9984000" cy="583200"/>
          </a:xfrm>
          <a:solidFill>
            <a:srgbClr val="FFFFFF">
              <a:alpha val="80000"/>
            </a:srgbClr>
          </a:solidFill>
        </p:spPr>
        <p:txBody>
          <a:bodyPr vert="horz" lIns="457200" tIns="0" rIns="97200" bIns="97200" rtlCol="0" anchor="t" anchorCtr="0">
            <a:noAutofit/>
          </a:bodyPr>
          <a:lstStyle>
            <a:lvl1pPr>
              <a:defRPr lang="en-US" sz="3600" dirty="0"/>
            </a:lvl1pPr>
          </a:lstStyle>
          <a:p>
            <a:pPr lvl="0"/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D316513-3054-476F-B5C4-D6CFC9A987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765D08-26B1-4DE8-BBEA-0EAC4020FA96}" type="datetimeFigureOut">
              <a:rPr lang="en-US"/>
              <a:t>7/14/2024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6E6828F-D2D6-4849-9C87-46464C75F5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B440484-8DA9-4382-848F-71BF1C0623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4D68C-E810-46A5-A28F-0667A3B6FF14}" type="slidenum">
              <a:rPr lang="en-US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4284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&#10;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8B88125F-4DBA-4A5C-98A5-541E3DF3AB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97199"/>
            <a:ext cx="12192000" cy="6760799"/>
          </a:xfrm>
          <a:solidFill>
            <a:schemeClr val="bg1"/>
          </a:solidFill>
        </p:spPr>
        <p:txBody>
          <a:bodyPr vert="horz" wrap="square" lIns="0" tIns="0" rIns="0" bIns="756000" rtlCol="0" anchor="ctr">
            <a:noAutofit/>
          </a:bodyPr>
          <a:lstStyle>
            <a:lvl1pPr>
              <a:defRPr lang="en-US"/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8" name="Text placeholder top">
            <a:extLst>
              <a:ext uri="{FF2B5EF4-FFF2-40B4-BE49-F238E27FC236}">
                <a16:creationId xmlns:a16="http://schemas.microsoft.com/office/drawing/2014/main" id="{8C9608EC-C812-41A8-AA89-8985667C2A7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3914775"/>
            <a:ext cx="9020675" cy="738664"/>
          </a:xfrm>
          <a:solidFill>
            <a:schemeClr val="bg1">
              <a:alpha val="80000"/>
            </a:schemeClr>
          </a:solidFill>
        </p:spPr>
        <p:txBody>
          <a:bodyPr vert="horz" wrap="none" lIns="457200" tIns="0" rIns="457200" bIns="0" rtlCol="0" anchor="t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de-DE" sz="4800" b="1" i="0" baseline="0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ext placeholder bottom">
            <a:extLst>
              <a:ext uri="{FF2B5EF4-FFF2-40B4-BE49-F238E27FC236}">
                <a16:creationId xmlns:a16="http://schemas.microsoft.com/office/drawing/2014/main" id="{869FD9BB-6B12-40E3-9C64-92EC1F17B1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4886326"/>
            <a:ext cx="9020675" cy="738664"/>
          </a:xfrm>
          <a:solidFill>
            <a:schemeClr val="bg1">
              <a:alpha val="80000"/>
            </a:schemeClr>
          </a:solidFill>
        </p:spPr>
        <p:txBody>
          <a:bodyPr vert="horz" wrap="none" lIns="457200" tIns="0" rIns="457200" bIns="0" rtlCol="0" anchor="t">
            <a:spAutoFit/>
          </a:bodyPr>
          <a:lstStyle>
            <a:lvl1pPr>
              <a:spcAft>
                <a:spcPts val="0"/>
              </a:spcAft>
              <a:defRPr lang="de-DE" sz="4800" b="1" i="0" dirty="0"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DE"/>
              <a:t>Mastertext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D316513-3054-476F-B5C4-D6CFC9A987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765D08-26B1-4DE8-BBEA-0EAC4020FA96}" type="datetimeFigureOut">
              <a:rPr lang="en-US"/>
              <a:t>7/14/2024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6E6828F-D2D6-4849-9C87-46464C75F5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B440484-8DA9-4382-848F-71BF1C0623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4D68C-E810-46A5-A28F-0667A3B6FF14}" type="slidenum">
              <a:rPr lang="en-US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55554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66">
          <p15:clr>
            <a:srgbClr val="547EBF"/>
          </p15:clr>
        </p15:guide>
        <p15:guide id="4" orient="horz" pos="3078">
          <p15:clr>
            <a:srgbClr val="547EB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&#10;with shad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>
            <a:extLst>
              <a:ext uri="{FF2B5EF4-FFF2-40B4-BE49-F238E27FC236}">
                <a16:creationId xmlns:a16="http://schemas.microsoft.com/office/drawing/2014/main" id="{A7ADD926-F1E6-4465-8EDD-314341AB131D}"/>
              </a:ext>
            </a:extLst>
          </p:cNvPr>
          <p:cNvSpPr>
            <a:spLocks/>
          </p:cNvSpPr>
          <p:nvPr/>
        </p:nvSpPr>
        <p:spPr>
          <a:xfrm>
            <a:off x="458401" y="1387800"/>
            <a:ext cx="11275200" cy="5054400"/>
          </a:xfrm>
          <a:prstGeom prst="rect">
            <a:avLst/>
          </a:prstGeom>
          <a:solidFill>
            <a:schemeClr val="bg1"/>
          </a:solidFill>
          <a:effectLst>
            <a:outerShdw blurRad="127000" algn="ctr" rotWithShape="0">
              <a:prstClr val="black">
                <a:alpha val="25000"/>
              </a:prstClr>
            </a:outerShdw>
          </a:effectLst>
        </p:spPr>
        <p:txBody>
          <a:bodyPr vert="horz" lIns="360000" tIns="360000" rIns="360000" bIns="360000" rtlCol="0">
            <a:noAutofit/>
          </a:bodyPr>
          <a:lstStyle/>
          <a:p>
            <a:pPr lvl="0" indent="0">
              <a:lnSpc>
                <a:spcPct val="120000"/>
              </a:lnSpc>
              <a:spcBef>
                <a:spcPts val="1200"/>
              </a:spcBef>
              <a:spcAft>
                <a:spcPts val="300"/>
              </a:spcAft>
              <a:buClr>
                <a:schemeClr val="tx2"/>
              </a:buClr>
              <a:buFont typeface="Wingdings" pitchFamily="2" charset="2"/>
              <a:buNone/>
            </a:pPr>
            <a:endParaRPr lang="en-US" sz="2400" b="1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72770FE5-7639-45B7-BE4F-32E8CC074E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Headline">
            <a:extLst>
              <a:ext uri="{FF2B5EF4-FFF2-40B4-BE49-F238E27FC236}">
                <a16:creationId xmlns:a16="http://schemas.microsoft.com/office/drawing/2014/main" id="{EE1EC685-53EC-42AA-A2B2-BBBC730125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7725" y="2359800"/>
            <a:ext cx="4081463" cy="583200"/>
          </a:xfrm>
        </p:spPr>
        <p:txBody>
          <a:bodyPr wrap="none"/>
          <a:lstStyle>
            <a:lvl1pPr>
              <a:defRPr sz="2400" b="1" i="0" baseline="0">
                <a:latin typeface="+mj-lt"/>
                <a:ea typeface="+mj-ea"/>
                <a:cs typeface="+mj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 placeholder">
            <a:extLst>
              <a:ext uri="{FF2B5EF4-FFF2-40B4-BE49-F238E27FC236}">
                <a16:creationId xmlns:a16="http://schemas.microsoft.com/office/drawing/2014/main" id="{D1F1FC03-E13C-4DBC-B6B4-BEEBF31F835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47935" y="2942999"/>
            <a:ext cx="4081253" cy="3206975"/>
          </a:xfrm>
        </p:spPr>
        <p:txBody>
          <a:bodyPr/>
          <a:lstStyle>
            <a:lvl1pPr defTabSz="486000"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1A653C2-B73F-4372-9BE7-13E42E96FD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765D08-26B1-4DE8-BBEA-0EAC4020FA96}" type="datetimeFigureOut">
              <a:rPr lang="en-US"/>
              <a:t>7/14/2024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C8A9466-E19E-43C7-97FD-9BDFF7521B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547145D-73D2-4B00-B66C-BDE16DFB77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4D68C-E810-46A5-A28F-0667A3B6FF14}" type="slidenum">
              <a:rPr lang="en-US"/>
              <a:t>‹Nr.›</a:t>
            </a:fld>
            <a:endParaRPr lang="en-US"/>
          </a:p>
        </p:txBody>
      </p:sp>
      <p:sp>
        <p:nvSpPr>
          <p:cNvPr id="10" name="Layoutschutz" hidden="1">
            <a:extLst>
              <a:ext uri="{FF2B5EF4-FFF2-40B4-BE49-F238E27FC236}">
                <a16:creationId xmlns:a16="http://schemas.microsoft.com/office/drawing/2014/main" id="{DDF26409-216B-41E3-9787-EEAF419251B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54000" y="1295400"/>
            <a:ext cx="11760200" cy="55626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28583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34">
          <p15:clr>
            <a:srgbClr val="547EBF"/>
          </p15:clr>
        </p15:guide>
        <p15:guide id="2" pos="3105">
          <p15:clr>
            <a:srgbClr val="547EBF"/>
          </p15:clr>
        </p15:guide>
        <p15:guide id="3" pos="3350">
          <p15:clr>
            <a:srgbClr val="547EBF"/>
          </p15:clr>
        </p15:guide>
        <p15:guide id="4" pos="7146">
          <p15:clr>
            <a:srgbClr val="547EBF"/>
          </p15:clr>
        </p15:guide>
        <p15:guide id="6" orient="horz" pos="1486">
          <p15:clr>
            <a:srgbClr val="547EBF"/>
          </p15:clr>
        </p15:guide>
        <p15:guide id="7" orient="horz" pos="1854">
          <p15:clr>
            <a:srgbClr val="547EBF"/>
          </p15:clr>
        </p15:guide>
        <p15:guide id="8" orient="horz" pos="3874">
          <p15:clr>
            <a:srgbClr val="547EBF"/>
          </p15:clr>
        </p15:guide>
        <p15:guide id="9" orient="horz" pos="1119">
          <p15:clr>
            <a:srgbClr val="547EBF"/>
          </p15:clr>
        </p15:guide>
        <p15:guide id="10" orient="horz" pos="1303">
          <p15:clr>
            <a:srgbClr val="A4A3A4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&#10;with shad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>
            <a:extLst>
              <a:ext uri="{FF2B5EF4-FFF2-40B4-BE49-F238E27FC236}">
                <a16:creationId xmlns:a16="http://schemas.microsoft.com/office/drawing/2014/main" id="{A7ADD926-F1E6-4465-8EDD-314341AB131D}"/>
              </a:ext>
            </a:extLst>
          </p:cNvPr>
          <p:cNvSpPr>
            <a:spLocks/>
          </p:cNvSpPr>
          <p:nvPr/>
        </p:nvSpPr>
        <p:spPr>
          <a:xfrm>
            <a:off x="458401" y="1387800"/>
            <a:ext cx="11275200" cy="5054400"/>
          </a:xfrm>
          <a:prstGeom prst="rect">
            <a:avLst/>
          </a:prstGeom>
          <a:solidFill>
            <a:schemeClr val="bg1"/>
          </a:solidFill>
          <a:effectLst>
            <a:outerShdw blurRad="127000" algn="ctr" rotWithShape="0">
              <a:prstClr val="black">
                <a:alpha val="25000"/>
              </a:prstClr>
            </a:outerShdw>
          </a:effectLst>
        </p:spPr>
        <p:txBody>
          <a:bodyPr vert="horz" lIns="360000" tIns="360000" rIns="360000" bIns="360000" rtlCol="0">
            <a:noAutofit/>
          </a:bodyPr>
          <a:lstStyle/>
          <a:p>
            <a:pPr lvl="0" indent="0">
              <a:lnSpc>
                <a:spcPct val="120000"/>
              </a:lnSpc>
              <a:spcBef>
                <a:spcPts val="1200"/>
              </a:spcBef>
              <a:spcAft>
                <a:spcPts val="300"/>
              </a:spcAft>
              <a:buClr>
                <a:schemeClr val="tx2"/>
              </a:buClr>
              <a:buFont typeface="Wingdings" pitchFamily="2" charset="2"/>
              <a:buNone/>
            </a:pPr>
            <a:endParaRPr lang="en-US" sz="2400" b="1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72770FE5-7639-45B7-BE4F-32E8CC074E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umsplatzhalter 2" hidden="1">
            <a:extLst>
              <a:ext uri="{FF2B5EF4-FFF2-40B4-BE49-F238E27FC236}">
                <a16:creationId xmlns:a16="http://schemas.microsoft.com/office/drawing/2014/main" id="{81A653C2-B73F-4372-9BE7-13E42E96FD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765D08-26B1-4DE8-BBEA-0EAC4020FA96}" type="datetimeFigureOut">
              <a:rPr lang="en-US"/>
              <a:t>7/14/2024</a:t>
            </a:fld>
            <a:endParaRPr lang="en-US"/>
          </a:p>
        </p:txBody>
      </p:sp>
      <p:sp>
        <p:nvSpPr>
          <p:cNvPr id="4" name="Fußzeilenplatzhalter 3" hidden="1">
            <a:extLst>
              <a:ext uri="{FF2B5EF4-FFF2-40B4-BE49-F238E27FC236}">
                <a16:creationId xmlns:a16="http://schemas.microsoft.com/office/drawing/2014/main" id="{8C8A9466-E19E-43C7-97FD-9BDFF7521B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 hidden="1">
            <a:extLst>
              <a:ext uri="{FF2B5EF4-FFF2-40B4-BE49-F238E27FC236}">
                <a16:creationId xmlns:a16="http://schemas.microsoft.com/office/drawing/2014/main" id="{7547145D-73D2-4B00-B66C-BDE16DFB77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4D68C-E810-46A5-A28F-0667A3B6FF14}" type="slidenum">
              <a:rPr lang="en-US"/>
              <a:t>‹Nr.›</a:t>
            </a:fld>
            <a:endParaRPr lang="en-US"/>
          </a:p>
        </p:txBody>
      </p:sp>
      <p:sp>
        <p:nvSpPr>
          <p:cNvPr id="9" name="Layoutschutz" hidden="1">
            <a:extLst>
              <a:ext uri="{FF2B5EF4-FFF2-40B4-BE49-F238E27FC236}">
                <a16:creationId xmlns:a16="http://schemas.microsoft.com/office/drawing/2014/main" id="{A40F6ECE-9194-4162-9BA4-8B3A057A1EA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54000" y="1295400"/>
            <a:ext cx="11760200" cy="55626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87352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34">
          <p15:clr>
            <a:srgbClr val="547EBF"/>
          </p15:clr>
        </p15:guide>
        <p15:guide id="2" pos="3105">
          <p15:clr>
            <a:srgbClr val="547EBF"/>
          </p15:clr>
        </p15:guide>
        <p15:guide id="3" pos="3350">
          <p15:clr>
            <a:srgbClr val="547EBF"/>
          </p15:clr>
        </p15:guide>
        <p15:guide id="4" pos="7146">
          <p15:clr>
            <a:srgbClr val="547EBF"/>
          </p15:clr>
        </p15:guide>
        <p15:guide id="6" orient="horz" pos="1486">
          <p15:clr>
            <a:srgbClr val="547EBF"/>
          </p15:clr>
        </p15:guide>
        <p15:guide id="7" orient="horz" pos="1854">
          <p15:clr>
            <a:srgbClr val="547EBF"/>
          </p15:clr>
        </p15:guide>
        <p15:guide id="8" orient="horz" pos="3874">
          <p15:clr>
            <a:srgbClr val="547EBF"/>
          </p15:clr>
        </p15:guide>
        <p15:guide id="9" orient="horz" pos="1119">
          <p15:clr>
            <a:srgbClr val="547EBF"/>
          </p15:clr>
        </p15:guide>
        <p15:guide id="10" orient="horz" pos="1303">
          <p15:clr>
            <a:srgbClr val="A4A3A4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A18C845-93F0-4295-951F-C4DA418DC5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400" y="318600"/>
            <a:ext cx="6442463" cy="5832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       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85CC5E9-9858-4C3D-80AD-6307B98936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765D08-26B1-4DE8-BBEA-0EAC4020FA96}" type="datetimeFigureOut">
              <a:rPr lang="en-US"/>
              <a:t>7/14/2024</a:t>
            </a:fld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CDEC93B-3918-4791-8004-F8CABFEC34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55BF443-7404-4CF2-9990-16AF4594FB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4D68C-E810-46A5-A28F-0667A3B6FF14}" type="slidenum">
              <a:rPr lang="en-US"/>
              <a:t>‹Nr.›</a:t>
            </a:fld>
            <a:endParaRPr lang="en-US"/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F8BA1034-15DD-4813-943D-A78747A0C57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232000" y="96065"/>
            <a:ext cx="3960000" cy="6761933"/>
          </a:xfrm>
          <a:solidFill>
            <a:schemeClr val="bg2"/>
          </a:solidFill>
        </p:spPr>
        <p:txBody>
          <a:bodyPr bIns="756000" anchor="ctr"/>
          <a:lstStyle>
            <a:lvl1pPr marL="0" indent="0" algn="ctr"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037FC98-3807-4028-A1FA-3C7D0B2A4F5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FFC000">
              <a:alpha val="70000"/>
            </a:srgbClr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9" name="Layoutschutz" hidden="1">
            <a:extLst>
              <a:ext uri="{FF2B5EF4-FFF2-40B4-BE49-F238E27FC236}">
                <a16:creationId xmlns:a16="http://schemas.microsoft.com/office/drawing/2014/main" id="{3947B45A-9FEF-4948-A5B1-17AD846B07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54000" y="1295400"/>
            <a:ext cx="11760200" cy="55626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83611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:a16="http://schemas.microsoft.com/office/drawing/2014/main" xmlns:p15="http://schemas.microsoft.com/office/powerpoint/2012/main"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89">
          <p15:clr>
            <a:srgbClr val="547EBF"/>
          </p15:clr>
        </p15:guide>
        <p15:guide id="2" pos="7391">
          <p15:clr>
            <a:srgbClr val="547EBF"/>
          </p15:clr>
        </p15:guide>
        <p15:guide id="3" orient="horz" pos="201">
          <p15:clr>
            <a:srgbClr val="547EBF"/>
          </p15:clr>
        </p15:guide>
        <p15:guide id="4" orient="horz" pos="568">
          <p15:clr>
            <a:srgbClr val="547EBF"/>
          </p15:clr>
        </p15:guide>
        <p15:guide id="5" orient="horz" pos="874">
          <p15:clr>
            <a:srgbClr val="547EBF"/>
          </p15:clr>
        </p15:guide>
        <p15:guide id="6" orient="horz" pos="4119">
          <p15:clr>
            <a:srgbClr val="547EBF"/>
          </p15:clr>
        </p15:guide>
        <p15:guide id="7" pos="3718">
          <p15:clr>
            <a:srgbClr val="A4A3A4"/>
          </p15:clr>
        </p15:guide>
        <p15:guide id="8" pos="3962">
          <p15:clr>
            <a:srgbClr val="A4A3A4"/>
          </p15:clr>
        </p15:guide>
        <p15:guide id="10" pos="7680">
          <p15:clr>
            <a:srgbClr val="A4A3A4"/>
          </p15:clr>
        </p15:guide>
        <p15:guide id="11" pos="4942">
          <p15:clr>
            <a:srgbClr val="A4A3A4"/>
          </p15:clr>
        </p15:guide>
        <p15:guide id="12" pos="5187">
          <p15:clr>
            <a:srgbClr val="A4A3A4"/>
          </p15:clr>
        </p15:guide>
        <p15:guide id="15" pos="6167">
          <p15:clr>
            <a:srgbClr val="A4A3A4"/>
          </p15:clr>
        </p15:guide>
        <p15:guide id="16" pos="6412">
          <p15:clr>
            <a:srgbClr val="A4A3A4"/>
          </p15:clr>
        </p15:guide>
        <p15:guide id="19" pos="2738">
          <p15:clr>
            <a:srgbClr val="A4A3A4"/>
          </p15:clr>
        </p15:guide>
        <p15:guide id="20" pos="2493">
          <p15:clr>
            <a:srgbClr val="A4A3A4"/>
          </p15:clr>
        </p15:guide>
        <p15:guide id="26" orient="horz" pos="1854">
          <p15:clr>
            <a:srgbClr val="A4A3A4"/>
          </p15:clr>
        </p15:guide>
        <p15:guide id="27" orient="horz" pos="2099">
          <p15:clr>
            <a:srgbClr val="A4A3A4"/>
          </p15:clr>
        </p15:guide>
        <p15:guide id="29" orient="horz" pos="3078">
          <p15:clr>
            <a:srgbClr val="A4A3A4"/>
          </p15:clr>
        </p15:guide>
        <p15:guide id="30" orient="horz" pos="3323">
          <p15:clr>
            <a:srgbClr val="A4A3A4"/>
          </p15:clr>
        </p15:guide>
        <p15:guide id="33" pos="1513">
          <p15:clr>
            <a:srgbClr val="A4A3A4"/>
          </p15:clr>
        </p15:guide>
        <p15:guide id="34" pos="1268">
          <p15:clr>
            <a:srgbClr val="A4A3A4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&#10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8662048-C826-4783-A5CE-20B3E7DE2C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765D08-26B1-4DE8-BBEA-0EAC4020FA96}" type="datetimeFigureOut">
              <a:rPr lang="en-US"/>
              <a:t>7/14/2024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D0D0533-7A19-452F-8365-DFA883BF73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27558B4-C5C8-4B1F-A7A9-4A7960C1E0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4D68C-E810-46A5-A28F-0667A3B6FF14}" type="slidenum">
              <a:rPr lang="en-US"/>
              <a:t>‹Nr.›</a:t>
            </a:fld>
            <a:endParaRPr lang="en-US"/>
          </a:p>
        </p:txBody>
      </p:sp>
      <p:sp>
        <p:nvSpPr>
          <p:cNvPr id="7" name="Layoutschutz" hidden="1">
            <a:extLst>
              <a:ext uri="{FF2B5EF4-FFF2-40B4-BE49-F238E27FC236}">
                <a16:creationId xmlns:a16="http://schemas.microsoft.com/office/drawing/2014/main" id="{243CC649-AF1F-4C3F-B66A-183E7DDCFE0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101600"/>
            <a:ext cx="12192000" cy="67564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0563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19E84BD6-4448-4AA8-A712-DDA0680E12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765D08-26B1-4DE8-BBEA-0EAC4020FA96}" type="datetimeFigureOut">
              <a:rPr lang="en-US"/>
              <a:t>7/14/2024</a:t>
            </a:fld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47A61216-B201-4C21-95A7-55D8C0EE04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77E14833-6258-4928-8137-8DB18764CC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4D68C-E810-46A5-A28F-0667A3B6FF14}" type="slidenum">
              <a:rPr lang="en-US"/>
              <a:t>‹Nr.›</a:t>
            </a:fld>
            <a:endParaRPr lang="en-US"/>
          </a:p>
        </p:txBody>
      </p:sp>
      <p:grpSp>
        <p:nvGrpSpPr>
          <p:cNvPr id="2" name="MIO_LOGOPLACEHOLDER#LastSlide">
            <a:extLst>
              <a:ext uri="{FF2B5EF4-FFF2-40B4-BE49-F238E27FC236}">
                <a16:creationId xmlns:a16="http://schemas.microsoft.com/office/drawing/2014/main" id="{DC42C80C-C39E-4399-8778-822EFABDA8F9}"/>
              </a:ext>
            </a:extLst>
          </p:cNvPr>
          <p:cNvGrpSpPr/>
          <p:nvPr/>
        </p:nvGrpSpPr>
        <p:grpSpPr>
          <a:xfrm>
            <a:off x="4395000" y="2829626"/>
            <a:ext cx="3403663" cy="1197081"/>
            <a:chOff x="4395000" y="2829626"/>
            <a:chExt cx="3403663" cy="1197081"/>
          </a:xfrm>
        </p:grpSpPr>
        <p:grpSp>
          <p:nvGrpSpPr>
            <p:cNvPr id="46" name="Claim">
              <a:extLst>
                <a:ext uri="{FF2B5EF4-FFF2-40B4-BE49-F238E27FC236}">
                  <a16:creationId xmlns:a16="http://schemas.microsoft.com/office/drawing/2014/main" id="{0FA7724D-DA30-4E37-BA41-EEE62F9CD4CA}"/>
                </a:ext>
              </a:extLst>
            </p:cNvPr>
            <p:cNvGrpSpPr/>
            <p:nvPr/>
          </p:nvGrpSpPr>
          <p:grpSpPr>
            <a:xfrm>
              <a:off x="5647579" y="3797503"/>
              <a:ext cx="2151084" cy="229204"/>
              <a:chOff x="5647579" y="3797503"/>
              <a:chExt cx="2151084" cy="229204"/>
            </a:xfrm>
            <a:solidFill>
              <a:srgbClr val="676767"/>
            </a:solidFill>
          </p:grpSpPr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76D4E4FA-075E-4183-9221-9BAD8931E148}"/>
                  </a:ext>
                </a:extLst>
              </p:cNvPr>
              <p:cNvSpPr/>
              <p:nvPr/>
            </p:nvSpPr>
            <p:spPr>
              <a:xfrm>
                <a:off x="5647579" y="3797503"/>
                <a:ext cx="105483" cy="180367"/>
              </a:xfrm>
              <a:custGeom>
                <a:avLst/>
                <a:gdLst>
                  <a:gd name="connsiteX0" fmla="*/ 89351 w 105483"/>
                  <a:gd name="connsiteY0" fmla="*/ 129309 h 180367"/>
                  <a:gd name="connsiteX1" fmla="*/ 47173 w 105483"/>
                  <a:gd name="connsiteY1" fmla="*/ 172597 h 180367"/>
                  <a:gd name="connsiteX2" fmla="*/ 31079 w 105483"/>
                  <a:gd name="connsiteY2" fmla="*/ 180367 h 180367"/>
                  <a:gd name="connsiteX3" fmla="*/ 26639 w 105483"/>
                  <a:gd name="connsiteY3" fmla="*/ 178702 h 180367"/>
                  <a:gd name="connsiteX4" fmla="*/ 24974 w 105483"/>
                  <a:gd name="connsiteY4" fmla="*/ 174262 h 180367"/>
                  <a:gd name="connsiteX5" fmla="*/ 27194 w 105483"/>
                  <a:gd name="connsiteY5" fmla="*/ 168713 h 180367"/>
                  <a:gd name="connsiteX6" fmla="*/ 34408 w 105483"/>
                  <a:gd name="connsiteY6" fmla="*/ 164273 h 180367"/>
                  <a:gd name="connsiteX7" fmla="*/ 64932 w 105483"/>
                  <a:gd name="connsiteY7" fmla="*/ 143184 h 180367"/>
                  <a:gd name="connsiteX8" fmla="*/ 86576 w 105483"/>
                  <a:gd name="connsiteY8" fmla="*/ 114325 h 180367"/>
                  <a:gd name="connsiteX9" fmla="*/ 94346 w 105483"/>
                  <a:gd name="connsiteY9" fmla="*/ 87131 h 180367"/>
                  <a:gd name="connsiteX10" fmla="*/ 92126 w 105483"/>
                  <a:gd name="connsiteY10" fmla="*/ 79917 h 180367"/>
                  <a:gd name="connsiteX11" fmla="*/ 85466 w 105483"/>
                  <a:gd name="connsiteY11" fmla="*/ 77697 h 180367"/>
                  <a:gd name="connsiteX12" fmla="*/ 64377 w 105483"/>
                  <a:gd name="connsiteY12" fmla="*/ 86021 h 180367"/>
                  <a:gd name="connsiteX13" fmla="*/ 44398 w 105483"/>
                  <a:gd name="connsiteY13" fmla="*/ 107665 h 180367"/>
                  <a:gd name="connsiteX14" fmla="*/ 30524 w 105483"/>
                  <a:gd name="connsiteY14" fmla="*/ 132084 h 180367"/>
                  <a:gd name="connsiteX15" fmla="*/ 20534 w 105483"/>
                  <a:gd name="connsiteY15" fmla="*/ 162608 h 180367"/>
                  <a:gd name="connsiteX16" fmla="*/ 12209 w 105483"/>
                  <a:gd name="connsiteY16" fmla="*/ 170932 h 180367"/>
                  <a:gd name="connsiteX17" fmla="*/ 8325 w 105483"/>
                  <a:gd name="connsiteY17" fmla="*/ 168158 h 180367"/>
                  <a:gd name="connsiteX18" fmla="*/ 6105 w 105483"/>
                  <a:gd name="connsiteY18" fmla="*/ 162608 h 180367"/>
                  <a:gd name="connsiteX19" fmla="*/ 3885 w 105483"/>
                  <a:gd name="connsiteY19" fmla="*/ 79362 h 180367"/>
                  <a:gd name="connsiteX20" fmla="*/ 1110 w 105483"/>
                  <a:gd name="connsiteY20" fmla="*/ 16649 h 180367"/>
                  <a:gd name="connsiteX21" fmla="*/ 1110 w 105483"/>
                  <a:gd name="connsiteY21" fmla="*/ 13874 h 180367"/>
                  <a:gd name="connsiteX22" fmla="*/ 555 w 105483"/>
                  <a:gd name="connsiteY22" fmla="*/ 11100 h 180367"/>
                  <a:gd name="connsiteX23" fmla="*/ 0 w 105483"/>
                  <a:gd name="connsiteY23" fmla="*/ 8325 h 180367"/>
                  <a:gd name="connsiteX24" fmla="*/ 0 w 105483"/>
                  <a:gd name="connsiteY24" fmla="*/ 5550 h 180367"/>
                  <a:gd name="connsiteX25" fmla="*/ 4995 w 105483"/>
                  <a:gd name="connsiteY25" fmla="*/ 0 h 180367"/>
                  <a:gd name="connsiteX26" fmla="*/ 11655 w 105483"/>
                  <a:gd name="connsiteY26" fmla="*/ 4995 h 180367"/>
                  <a:gd name="connsiteX27" fmla="*/ 14429 w 105483"/>
                  <a:gd name="connsiteY27" fmla="*/ 16649 h 180367"/>
                  <a:gd name="connsiteX28" fmla="*/ 14429 w 105483"/>
                  <a:gd name="connsiteY28" fmla="*/ 29414 h 180367"/>
                  <a:gd name="connsiteX29" fmla="*/ 16094 w 105483"/>
                  <a:gd name="connsiteY29" fmla="*/ 118765 h 180367"/>
                  <a:gd name="connsiteX30" fmla="*/ 18314 w 105483"/>
                  <a:gd name="connsiteY30" fmla="*/ 135969 h 180367"/>
                  <a:gd name="connsiteX31" fmla="*/ 26639 w 105483"/>
                  <a:gd name="connsiteY31" fmla="*/ 118210 h 180367"/>
                  <a:gd name="connsiteX32" fmla="*/ 38848 w 105483"/>
                  <a:gd name="connsiteY32" fmla="*/ 99896 h 180367"/>
                  <a:gd name="connsiteX33" fmla="*/ 63822 w 105483"/>
                  <a:gd name="connsiteY33" fmla="*/ 74922 h 180367"/>
                  <a:gd name="connsiteX34" fmla="*/ 88241 w 105483"/>
                  <a:gd name="connsiteY34" fmla="*/ 65487 h 180367"/>
                  <a:gd name="connsiteX35" fmla="*/ 100451 w 105483"/>
                  <a:gd name="connsiteY35" fmla="*/ 70482 h 180367"/>
                  <a:gd name="connsiteX36" fmla="*/ 105445 w 105483"/>
                  <a:gd name="connsiteY36" fmla="*/ 84356 h 180367"/>
                  <a:gd name="connsiteX37" fmla="*/ 89351 w 105483"/>
                  <a:gd name="connsiteY37" fmla="*/ 129309 h 1803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105483" h="180367">
                    <a:moveTo>
                      <a:pt x="89351" y="129309"/>
                    </a:moveTo>
                    <a:cubicBezTo>
                      <a:pt x="78252" y="145404"/>
                      <a:pt x="64377" y="159833"/>
                      <a:pt x="47173" y="172597"/>
                    </a:cubicBezTo>
                    <a:cubicBezTo>
                      <a:pt x="39958" y="178147"/>
                      <a:pt x="34408" y="180367"/>
                      <a:pt x="31079" y="180367"/>
                    </a:cubicBezTo>
                    <a:cubicBezTo>
                      <a:pt x="29414" y="180367"/>
                      <a:pt x="27749" y="179812"/>
                      <a:pt x="26639" y="178702"/>
                    </a:cubicBezTo>
                    <a:cubicBezTo>
                      <a:pt x="25529" y="177592"/>
                      <a:pt x="24974" y="175927"/>
                      <a:pt x="24974" y="174262"/>
                    </a:cubicBezTo>
                    <a:cubicBezTo>
                      <a:pt x="24974" y="172597"/>
                      <a:pt x="25529" y="170932"/>
                      <a:pt x="27194" y="168713"/>
                    </a:cubicBezTo>
                    <a:cubicBezTo>
                      <a:pt x="28859" y="167048"/>
                      <a:pt x="31079" y="165383"/>
                      <a:pt x="34408" y="164273"/>
                    </a:cubicBezTo>
                    <a:cubicBezTo>
                      <a:pt x="45508" y="159278"/>
                      <a:pt x="56053" y="152618"/>
                      <a:pt x="64932" y="143184"/>
                    </a:cubicBezTo>
                    <a:cubicBezTo>
                      <a:pt x="74367" y="133749"/>
                      <a:pt x="81581" y="124315"/>
                      <a:pt x="86576" y="114325"/>
                    </a:cubicBezTo>
                    <a:cubicBezTo>
                      <a:pt x="91571" y="104335"/>
                      <a:pt x="94346" y="94901"/>
                      <a:pt x="94346" y="87131"/>
                    </a:cubicBezTo>
                    <a:cubicBezTo>
                      <a:pt x="94346" y="83801"/>
                      <a:pt x="93791" y="81581"/>
                      <a:pt x="92126" y="79917"/>
                    </a:cubicBezTo>
                    <a:cubicBezTo>
                      <a:pt x="91016" y="78252"/>
                      <a:pt x="88241" y="77697"/>
                      <a:pt x="85466" y="77697"/>
                    </a:cubicBezTo>
                    <a:cubicBezTo>
                      <a:pt x="78806" y="77697"/>
                      <a:pt x="71592" y="80471"/>
                      <a:pt x="64377" y="86021"/>
                    </a:cubicBezTo>
                    <a:cubicBezTo>
                      <a:pt x="57162" y="91571"/>
                      <a:pt x="50503" y="98786"/>
                      <a:pt x="44398" y="107665"/>
                    </a:cubicBezTo>
                    <a:cubicBezTo>
                      <a:pt x="39958" y="114325"/>
                      <a:pt x="34963" y="122650"/>
                      <a:pt x="30524" y="132084"/>
                    </a:cubicBezTo>
                    <a:cubicBezTo>
                      <a:pt x="26084" y="141519"/>
                      <a:pt x="22754" y="151508"/>
                      <a:pt x="20534" y="162608"/>
                    </a:cubicBezTo>
                    <a:cubicBezTo>
                      <a:pt x="19424" y="168158"/>
                      <a:pt x="16649" y="170932"/>
                      <a:pt x="12209" y="170932"/>
                    </a:cubicBezTo>
                    <a:cubicBezTo>
                      <a:pt x="11100" y="170932"/>
                      <a:pt x="9990" y="169823"/>
                      <a:pt x="8325" y="168158"/>
                    </a:cubicBezTo>
                    <a:cubicBezTo>
                      <a:pt x="7215" y="165938"/>
                      <a:pt x="6105" y="164273"/>
                      <a:pt x="6105" y="162608"/>
                    </a:cubicBezTo>
                    <a:cubicBezTo>
                      <a:pt x="6105" y="143739"/>
                      <a:pt x="5550" y="115990"/>
                      <a:pt x="3885" y="79362"/>
                    </a:cubicBezTo>
                    <a:cubicBezTo>
                      <a:pt x="2775" y="42733"/>
                      <a:pt x="1665" y="22199"/>
                      <a:pt x="1110" y="16649"/>
                    </a:cubicBezTo>
                    <a:cubicBezTo>
                      <a:pt x="1110" y="15539"/>
                      <a:pt x="1110" y="14984"/>
                      <a:pt x="1110" y="13874"/>
                    </a:cubicBezTo>
                    <a:cubicBezTo>
                      <a:pt x="1110" y="12764"/>
                      <a:pt x="555" y="12210"/>
                      <a:pt x="555" y="11100"/>
                    </a:cubicBezTo>
                    <a:cubicBezTo>
                      <a:pt x="555" y="9990"/>
                      <a:pt x="0" y="8880"/>
                      <a:pt x="0" y="8325"/>
                    </a:cubicBezTo>
                    <a:cubicBezTo>
                      <a:pt x="0" y="7215"/>
                      <a:pt x="0" y="6105"/>
                      <a:pt x="0" y="5550"/>
                    </a:cubicBezTo>
                    <a:cubicBezTo>
                      <a:pt x="0" y="1665"/>
                      <a:pt x="1665" y="0"/>
                      <a:pt x="4995" y="0"/>
                    </a:cubicBezTo>
                    <a:cubicBezTo>
                      <a:pt x="7770" y="0"/>
                      <a:pt x="9990" y="1665"/>
                      <a:pt x="11655" y="4995"/>
                    </a:cubicBezTo>
                    <a:cubicBezTo>
                      <a:pt x="13319" y="8325"/>
                      <a:pt x="14429" y="12210"/>
                      <a:pt x="14429" y="16649"/>
                    </a:cubicBezTo>
                    <a:lnTo>
                      <a:pt x="14429" y="29414"/>
                    </a:lnTo>
                    <a:cubicBezTo>
                      <a:pt x="14429" y="68262"/>
                      <a:pt x="14984" y="97676"/>
                      <a:pt x="16094" y="118765"/>
                    </a:cubicBezTo>
                    <a:cubicBezTo>
                      <a:pt x="16649" y="128754"/>
                      <a:pt x="17204" y="134859"/>
                      <a:pt x="18314" y="135969"/>
                    </a:cubicBezTo>
                    <a:cubicBezTo>
                      <a:pt x="19979" y="130419"/>
                      <a:pt x="22754" y="124869"/>
                      <a:pt x="26639" y="118210"/>
                    </a:cubicBezTo>
                    <a:cubicBezTo>
                      <a:pt x="30524" y="111550"/>
                      <a:pt x="34408" y="105445"/>
                      <a:pt x="38848" y="99896"/>
                    </a:cubicBezTo>
                    <a:cubicBezTo>
                      <a:pt x="46618" y="89351"/>
                      <a:pt x="54943" y="81026"/>
                      <a:pt x="63822" y="74922"/>
                    </a:cubicBezTo>
                    <a:cubicBezTo>
                      <a:pt x="72702" y="68817"/>
                      <a:pt x="81026" y="65487"/>
                      <a:pt x="88241" y="65487"/>
                    </a:cubicBezTo>
                    <a:cubicBezTo>
                      <a:pt x="93236" y="65487"/>
                      <a:pt x="97121" y="67152"/>
                      <a:pt x="100451" y="70482"/>
                    </a:cubicBezTo>
                    <a:cubicBezTo>
                      <a:pt x="103780" y="73812"/>
                      <a:pt x="105445" y="78252"/>
                      <a:pt x="105445" y="84356"/>
                    </a:cubicBezTo>
                    <a:cubicBezTo>
                      <a:pt x="106000" y="98231"/>
                      <a:pt x="100451" y="113215"/>
                      <a:pt x="89351" y="129309"/>
                    </a:cubicBezTo>
                    <a:close/>
                  </a:path>
                </a:pathLst>
              </a:custGeom>
              <a:solidFill>
                <a:srgbClr val="676767"/>
              </a:solidFill>
              <a:ln w="55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8" name="Freihandform: Form 47">
                <a:extLst>
                  <a:ext uri="{FF2B5EF4-FFF2-40B4-BE49-F238E27FC236}">
                    <a16:creationId xmlns:a16="http://schemas.microsoft.com/office/drawing/2014/main" id="{B2B29A97-3EA4-4979-98D1-F2CECB2C3EC3}"/>
                  </a:ext>
                </a:extLst>
              </p:cNvPr>
              <p:cNvSpPr/>
              <p:nvPr/>
            </p:nvSpPr>
            <p:spPr>
              <a:xfrm>
                <a:off x="5771338" y="3857440"/>
                <a:ext cx="94900" cy="119874"/>
              </a:xfrm>
              <a:custGeom>
                <a:avLst/>
                <a:gdLst>
                  <a:gd name="connsiteX0" fmla="*/ 94901 w 94900"/>
                  <a:gd name="connsiteY0" fmla="*/ 59937 h 119874"/>
                  <a:gd name="connsiteX1" fmla="*/ 88241 w 94900"/>
                  <a:gd name="connsiteY1" fmla="*/ 79362 h 119874"/>
                  <a:gd name="connsiteX2" fmla="*/ 68817 w 94900"/>
                  <a:gd name="connsiteY2" fmla="*/ 107110 h 119874"/>
                  <a:gd name="connsiteX3" fmla="*/ 36628 w 94900"/>
                  <a:gd name="connsiteY3" fmla="*/ 119875 h 119874"/>
                  <a:gd name="connsiteX4" fmla="*/ 10544 w 94900"/>
                  <a:gd name="connsiteY4" fmla="*/ 109885 h 119874"/>
                  <a:gd name="connsiteX5" fmla="*/ 0 w 94900"/>
                  <a:gd name="connsiteY5" fmla="*/ 79917 h 119874"/>
                  <a:gd name="connsiteX6" fmla="*/ 8880 w 94900"/>
                  <a:gd name="connsiteY6" fmla="*/ 42178 h 119874"/>
                  <a:gd name="connsiteX7" fmla="*/ 31634 w 94900"/>
                  <a:gd name="connsiteY7" fmla="*/ 11655 h 119874"/>
                  <a:gd name="connsiteX8" fmla="*/ 61047 w 94900"/>
                  <a:gd name="connsiteY8" fmla="*/ 0 h 119874"/>
                  <a:gd name="connsiteX9" fmla="*/ 76032 w 94900"/>
                  <a:gd name="connsiteY9" fmla="*/ 3885 h 119874"/>
                  <a:gd name="connsiteX10" fmla="*/ 82136 w 94900"/>
                  <a:gd name="connsiteY10" fmla="*/ 15539 h 119874"/>
                  <a:gd name="connsiteX11" fmla="*/ 72702 w 94900"/>
                  <a:gd name="connsiteY11" fmla="*/ 32189 h 119874"/>
                  <a:gd name="connsiteX12" fmla="*/ 47728 w 94900"/>
                  <a:gd name="connsiteY12" fmla="*/ 46063 h 119874"/>
                  <a:gd name="connsiteX13" fmla="*/ 16094 w 94900"/>
                  <a:gd name="connsiteY13" fmla="*/ 54943 h 119874"/>
                  <a:gd name="connsiteX14" fmla="*/ 13319 w 94900"/>
                  <a:gd name="connsiteY14" fmla="*/ 76587 h 119874"/>
                  <a:gd name="connsiteX15" fmla="*/ 19979 w 94900"/>
                  <a:gd name="connsiteY15" fmla="*/ 98231 h 119874"/>
                  <a:gd name="connsiteX16" fmla="*/ 38848 w 94900"/>
                  <a:gd name="connsiteY16" fmla="*/ 106000 h 119874"/>
                  <a:gd name="connsiteX17" fmla="*/ 69372 w 94900"/>
                  <a:gd name="connsiteY17" fmla="*/ 92681 h 119874"/>
                  <a:gd name="connsiteX18" fmla="*/ 88796 w 94900"/>
                  <a:gd name="connsiteY18" fmla="*/ 62712 h 119874"/>
                  <a:gd name="connsiteX19" fmla="*/ 90461 w 94900"/>
                  <a:gd name="connsiteY19" fmla="*/ 58827 h 119874"/>
                  <a:gd name="connsiteX20" fmla="*/ 92681 w 94900"/>
                  <a:gd name="connsiteY20" fmla="*/ 56053 h 119874"/>
                  <a:gd name="connsiteX21" fmla="*/ 94901 w 94900"/>
                  <a:gd name="connsiteY21" fmla="*/ 59937 h 119874"/>
                  <a:gd name="connsiteX22" fmla="*/ 68262 w 94900"/>
                  <a:gd name="connsiteY22" fmla="*/ 12209 h 119874"/>
                  <a:gd name="connsiteX23" fmla="*/ 58827 w 94900"/>
                  <a:gd name="connsiteY23" fmla="*/ 9990 h 119874"/>
                  <a:gd name="connsiteX24" fmla="*/ 41068 w 94900"/>
                  <a:gd name="connsiteY24" fmla="*/ 16094 h 119874"/>
                  <a:gd name="connsiteX25" fmla="*/ 26639 w 94900"/>
                  <a:gd name="connsiteY25" fmla="*/ 30524 h 119874"/>
                  <a:gd name="connsiteX26" fmla="*/ 19424 w 94900"/>
                  <a:gd name="connsiteY26" fmla="*/ 45508 h 119874"/>
                  <a:gd name="connsiteX27" fmla="*/ 43288 w 94900"/>
                  <a:gd name="connsiteY27" fmla="*/ 39403 h 119874"/>
                  <a:gd name="connsiteX28" fmla="*/ 63822 w 94900"/>
                  <a:gd name="connsiteY28" fmla="*/ 28304 h 119874"/>
                  <a:gd name="connsiteX29" fmla="*/ 72147 w 94900"/>
                  <a:gd name="connsiteY29" fmla="*/ 18314 h 119874"/>
                  <a:gd name="connsiteX30" fmla="*/ 68262 w 94900"/>
                  <a:gd name="connsiteY30" fmla="*/ 12209 h 119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94900" h="119874">
                    <a:moveTo>
                      <a:pt x="94901" y="59937"/>
                    </a:moveTo>
                    <a:cubicBezTo>
                      <a:pt x="94901" y="62712"/>
                      <a:pt x="92681" y="69372"/>
                      <a:pt x="88241" y="79362"/>
                    </a:cubicBezTo>
                    <a:cubicBezTo>
                      <a:pt x="83801" y="89351"/>
                      <a:pt x="77697" y="98231"/>
                      <a:pt x="68817" y="107110"/>
                    </a:cubicBezTo>
                    <a:cubicBezTo>
                      <a:pt x="59937" y="115435"/>
                      <a:pt x="49393" y="119875"/>
                      <a:pt x="36628" y="119875"/>
                    </a:cubicBezTo>
                    <a:cubicBezTo>
                      <a:pt x="26084" y="119875"/>
                      <a:pt x="17759" y="116545"/>
                      <a:pt x="10544" y="109885"/>
                    </a:cubicBezTo>
                    <a:cubicBezTo>
                      <a:pt x="3330" y="103225"/>
                      <a:pt x="0" y="93236"/>
                      <a:pt x="0" y="79917"/>
                    </a:cubicBezTo>
                    <a:cubicBezTo>
                      <a:pt x="0" y="67152"/>
                      <a:pt x="2775" y="54943"/>
                      <a:pt x="8880" y="42178"/>
                    </a:cubicBezTo>
                    <a:cubicBezTo>
                      <a:pt x="14984" y="29969"/>
                      <a:pt x="22199" y="19424"/>
                      <a:pt x="31634" y="11655"/>
                    </a:cubicBezTo>
                    <a:cubicBezTo>
                      <a:pt x="41068" y="3885"/>
                      <a:pt x="51058" y="0"/>
                      <a:pt x="61047" y="0"/>
                    </a:cubicBezTo>
                    <a:cubicBezTo>
                      <a:pt x="67152" y="0"/>
                      <a:pt x="72147" y="1110"/>
                      <a:pt x="76032" y="3885"/>
                    </a:cubicBezTo>
                    <a:cubicBezTo>
                      <a:pt x="79916" y="6660"/>
                      <a:pt x="82136" y="10545"/>
                      <a:pt x="82136" y="15539"/>
                    </a:cubicBezTo>
                    <a:cubicBezTo>
                      <a:pt x="82136" y="21089"/>
                      <a:pt x="78807" y="26639"/>
                      <a:pt x="72702" y="32189"/>
                    </a:cubicBezTo>
                    <a:cubicBezTo>
                      <a:pt x="66042" y="37738"/>
                      <a:pt x="57717" y="42178"/>
                      <a:pt x="47728" y="46063"/>
                    </a:cubicBezTo>
                    <a:cubicBezTo>
                      <a:pt x="37738" y="49948"/>
                      <a:pt x="27194" y="53278"/>
                      <a:pt x="16094" y="54943"/>
                    </a:cubicBezTo>
                    <a:cubicBezTo>
                      <a:pt x="13874" y="62157"/>
                      <a:pt x="13319" y="69927"/>
                      <a:pt x="13319" y="76587"/>
                    </a:cubicBezTo>
                    <a:cubicBezTo>
                      <a:pt x="13319" y="86021"/>
                      <a:pt x="15539" y="93236"/>
                      <a:pt x="19979" y="98231"/>
                    </a:cubicBezTo>
                    <a:cubicBezTo>
                      <a:pt x="24419" y="103225"/>
                      <a:pt x="31079" y="106000"/>
                      <a:pt x="38848" y="106000"/>
                    </a:cubicBezTo>
                    <a:cubicBezTo>
                      <a:pt x="51613" y="106000"/>
                      <a:pt x="61602" y="101561"/>
                      <a:pt x="69372" y="92681"/>
                    </a:cubicBezTo>
                    <a:cubicBezTo>
                      <a:pt x="77142" y="83801"/>
                      <a:pt x="83801" y="73812"/>
                      <a:pt x="88796" y="62712"/>
                    </a:cubicBezTo>
                    <a:cubicBezTo>
                      <a:pt x="89351" y="62157"/>
                      <a:pt x="89906" y="61047"/>
                      <a:pt x="90461" y="58827"/>
                    </a:cubicBezTo>
                    <a:cubicBezTo>
                      <a:pt x="91016" y="57162"/>
                      <a:pt x="92126" y="56053"/>
                      <a:pt x="92681" y="56053"/>
                    </a:cubicBezTo>
                    <a:cubicBezTo>
                      <a:pt x="94346" y="56607"/>
                      <a:pt x="94901" y="57718"/>
                      <a:pt x="94901" y="59937"/>
                    </a:cubicBezTo>
                    <a:close/>
                    <a:moveTo>
                      <a:pt x="68262" y="12209"/>
                    </a:moveTo>
                    <a:cubicBezTo>
                      <a:pt x="65487" y="10545"/>
                      <a:pt x="62712" y="9990"/>
                      <a:pt x="58827" y="9990"/>
                    </a:cubicBezTo>
                    <a:cubicBezTo>
                      <a:pt x="52723" y="9990"/>
                      <a:pt x="46618" y="12209"/>
                      <a:pt x="41068" y="16094"/>
                    </a:cubicBezTo>
                    <a:cubicBezTo>
                      <a:pt x="35518" y="19979"/>
                      <a:pt x="30524" y="24974"/>
                      <a:pt x="26639" y="30524"/>
                    </a:cubicBezTo>
                    <a:cubicBezTo>
                      <a:pt x="22754" y="36073"/>
                      <a:pt x="20534" y="41068"/>
                      <a:pt x="19424" y="45508"/>
                    </a:cubicBezTo>
                    <a:cubicBezTo>
                      <a:pt x="26639" y="44953"/>
                      <a:pt x="34963" y="42733"/>
                      <a:pt x="43288" y="39403"/>
                    </a:cubicBezTo>
                    <a:cubicBezTo>
                      <a:pt x="51613" y="36073"/>
                      <a:pt x="58272" y="32189"/>
                      <a:pt x="63822" y="28304"/>
                    </a:cubicBezTo>
                    <a:cubicBezTo>
                      <a:pt x="69372" y="24419"/>
                      <a:pt x="72147" y="21089"/>
                      <a:pt x="72147" y="18314"/>
                    </a:cubicBezTo>
                    <a:cubicBezTo>
                      <a:pt x="72147" y="15539"/>
                      <a:pt x="70482" y="13874"/>
                      <a:pt x="68262" y="12209"/>
                    </a:cubicBezTo>
                    <a:close/>
                  </a:path>
                </a:pathLst>
              </a:custGeom>
              <a:solidFill>
                <a:srgbClr val="676767"/>
              </a:solidFill>
              <a:ln w="55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9" name="Freihandform: Form 48">
                <a:extLst>
                  <a:ext uri="{FF2B5EF4-FFF2-40B4-BE49-F238E27FC236}">
                    <a16:creationId xmlns:a16="http://schemas.microsoft.com/office/drawing/2014/main" id="{D2390278-BE7B-4120-AC7D-E17D45B1E9A1}"/>
                  </a:ext>
                </a:extLst>
              </p:cNvPr>
              <p:cNvSpPr/>
              <p:nvPr/>
            </p:nvSpPr>
            <p:spPr>
              <a:xfrm>
                <a:off x="5950041" y="3860770"/>
                <a:ext cx="86021" cy="165937"/>
              </a:xfrm>
              <a:custGeom>
                <a:avLst/>
                <a:gdLst>
                  <a:gd name="connsiteX0" fmla="*/ 83246 w 86021"/>
                  <a:gd name="connsiteY0" fmla="*/ 32189 h 165937"/>
                  <a:gd name="connsiteX1" fmla="*/ 79916 w 86021"/>
                  <a:gd name="connsiteY1" fmla="*/ 56052 h 165937"/>
                  <a:gd name="connsiteX2" fmla="*/ 75477 w 86021"/>
                  <a:gd name="connsiteY2" fmla="*/ 101561 h 165937"/>
                  <a:gd name="connsiteX3" fmla="*/ 74367 w 86021"/>
                  <a:gd name="connsiteY3" fmla="*/ 129864 h 165937"/>
                  <a:gd name="connsiteX4" fmla="*/ 76032 w 86021"/>
                  <a:gd name="connsiteY4" fmla="*/ 146513 h 165937"/>
                  <a:gd name="connsiteX5" fmla="*/ 79361 w 86021"/>
                  <a:gd name="connsiteY5" fmla="*/ 155948 h 165937"/>
                  <a:gd name="connsiteX6" fmla="*/ 81026 w 86021"/>
                  <a:gd name="connsiteY6" fmla="*/ 160388 h 165937"/>
                  <a:gd name="connsiteX7" fmla="*/ 77142 w 86021"/>
                  <a:gd name="connsiteY7" fmla="*/ 164273 h 165937"/>
                  <a:gd name="connsiteX8" fmla="*/ 69372 w 86021"/>
                  <a:gd name="connsiteY8" fmla="*/ 165938 h 165937"/>
                  <a:gd name="connsiteX9" fmla="*/ 64377 w 86021"/>
                  <a:gd name="connsiteY9" fmla="*/ 157613 h 165937"/>
                  <a:gd name="connsiteX10" fmla="*/ 62712 w 86021"/>
                  <a:gd name="connsiteY10" fmla="*/ 130974 h 165937"/>
                  <a:gd name="connsiteX11" fmla="*/ 65487 w 86021"/>
                  <a:gd name="connsiteY11" fmla="*/ 94346 h 165937"/>
                  <a:gd name="connsiteX12" fmla="*/ 69372 w 86021"/>
                  <a:gd name="connsiteY12" fmla="*/ 60492 h 165937"/>
                  <a:gd name="connsiteX13" fmla="*/ 53278 w 86021"/>
                  <a:gd name="connsiteY13" fmla="*/ 84911 h 165937"/>
                  <a:gd name="connsiteX14" fmla="*/ 33299 w 86021"/>
                  <a:gd name="connsiteY14" fmla="*/ 96566 h 165937"/>
                  <a:gd name="connsiteX15" fmla="*/ 16094 w 86021"/>
                  <a:gd name="connsiteY15" fmla="*/ 79916 h 165937"/>
                  <a:gd name="connsiteX16" fmla="*/ 4440 w 86021"/>
                  <a:gd name="connsiteY16" fmla="*/ 42178 h 165937"/>
                  <a:gd name="connsiteX17" fmla="*/ 0 w 86021"/>
                  <a:gd name="connsiteY17" fmla="*/ 11654 h 165937"/>
                  <a:gd name="connsiteX18" fmla="*/ 3885 w 86021"/>
                  <a:gd name="connsiteY18" fmla="*/ 5550 h 165937"/>
                  <a:gd name="connsiteX19" fmla="*/ 10544 w 86021"/>
                  <a:gd name="connsiteY19" fmla="*/ 15539 h 165937"/>
                  <a:gd name="connsiteX20" fmla="*/ 36073 w 86021"/>
                  <a:gd name="connsiteY20" fmla="*/ 83246 h 165937"/>
                  <a:gd name="connsiteX21" fmla="*/ 47728 w 86021"/>
                  <a:gd name="connsiteY21" fmla="*/ 78251 h 165937"/>
                  <a:gd name="connsiteX22" fmla="*/ 59382 w 86021"/>
                  <a:gd name="connsiteY22" fmla="*/ 62157 h 165937"/>
                  <a:gd name="connsiteX23" fmla="*/ 66042 w 86021"/>
                  <a:gd name="connsiteY23" fmla="*/ 48283 h 165937"/>
                  <a:gd name="connsiteX24" fmla="*/ 71592 w 86021"/>
                  <a:gd name="connsiteY24" fmla="*/ 34408 h 165937"/>
                  <a:gd name="connsiteX25" fmla="*/ 73257 w 86021"/>
                  <a:gd name="connsiteY25" fmla="*/ 9990 h 165937"/>
                  <a:gd name="connsiteX26" fmla="*/ 74922 w 86021"/>
                  <a:gd name="connsiteY26" fmla="*/ 2220 h 165937"/>
                  <a:gd name="connsiteX27" fmla="*/ 78806 w 86021"/>
                  <a:gd name="connsiteY27" fmla="*/ 0 h 165937"/>
                  <a:gd name="connsiteX28" fmla="*/ 83801 w 86021"/>
                  <a:gd name="connsiteY28" fmla="*/ 2775 h 165937"/>
                  <a:gd name="connsiteX29" fmla="*/ 86021 w 86021"/>
                  <a:gd name="connsiteY29" fmla="*/ 8325 h 165937"/>
                  <a:gd name="connsiteX30" fmla="*/ 83246 w 86021"/>
                  <a:gd name="connsiteY30" fmla="*/ 32189 h 165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86021" h="165937">
                    <a:moveTo>
                      <a:pt x="83246" y="32189"/>
                    </a:moveTo>
                    <a:cubicBezTo>
                      <a:pt x="81026" y="46618"/>
                      <a:pt x="80471" y="54388"/>
                      <a:pt x="79916" y="56052"/>
                    </a:cubicBezTo>
                    <a:cubicBezTo>
                      <a:pt x="77697" y="76032"/>
                      <a:pt x="76032" y="91016"/>
                      <a:pt x="75477" y="101561"/>
                    </a:cubicBezTo>
                    <a:cubicBezTo>
                      <a:pt x="74367" y="112105"/>
                      <a:pt x="74367" y="121540"/>
                      <a:pt x="74367" y="129864"/>
                    </a:cubicBezTo>
                    <a:cubicBezTo>
                      <a:pt x="74367" y="137079"/>
                      <a:pt x="74922" y="142074"/>
                      <a:pt x="76032" y="146513"/>
                    </a:cubicBezTo>
                    <a:cubicBezTo>
                      <a:pt x="77142" y="150953"/>
                      <a:pt x="78251" y="153728"/>
                      <a:pt x="79361" y="155948"/>
                    </a:cubicBezTo>
                    <a:cubicBezTo>
                      <a:pt x="80471" y="158168"/>
                      <a:pt x="81026" y="159833"/>
                      <a:pt x="81026" y="160388"/>
                    </a:cubicBezTo>
                    <a:cubicBezTo>
                      <a:pt x="81026" y="162053"/>
                      <a:pt x="79916" y="163163"/>
                      <a:pt x="77142" y="164273"/>
                    </a:cubicBezTo>
                    <a:cubicBezTo>
                      <a:pt x="74367" y="165383"/>
                      <a:pt x="71592" y="165938"/>
                      <a:pt x="69372" y="165938"/>
                    </a:cubicBezTo>
                    <a:cubicBezTo>
                      <a:pt x="67152" y="165938"/>
                      <a:pt x="65487" y="163163"/>
                      <a:pt x="64377" y="157613"/>
                    </a:cubicBezTo>
                    <a:cubicBezTo>
                      <a:pt x="63267" y="152063"/>
                      <a:pt x="62712" y="143184"/>
                      <a:pt x="62712" y="130974"/>
                    </a:cubicBezTo>
                    <a:cubicBezTo>
                      <a:pt x="62712" y="122095"/>
                      <a:pt x="63822" y="109885"/>
                      <a:pt x="65487" y="94346"/>
                    </a:cubicBezTo>
                    <a:lnTo>
                      <a:pt x="69372" y="60492"/>
                    </a:lnTo>
                    <a:cubicBezTo>
                      <a:pt x="64932" y="68817"/>
                      <a:pt x="59382" y="77142"/>
                      <a:pt x="53278" y="84911"/>
                    </a:cubicBezTo>
                    <a:cubicBezTo>
                      <a:pt x="46618" y="92681"/>
                      <a:pt x="40513" y="96566"/>
                      <a:pt x="33299" y="96566"/>
                    </a:cubicBezTo>
                    <a:cubicBezTo>
                      <a:pt x="27194" y="96566"/>
                      <a:pt x="21089" y="91016"/>
                      <a:pt x="16094" y="79916"/>
                    </a:cubicBezTo>
                    <a:cubicBezTo>
                      <a:pt x="11100" y="68817"/>
                      <a:pt x="7215" y="56607"/>
                      <a:pt x="4440" y="42178"/>
                    </a:cubicBezTo>
                    <a:cubicBezTo>
                      <a:pt x="1665" y="27749"/>
                      <a:pt x="0" y="17759"/>
                      <a:pt x="0" y="11654"/>
                    </a:cubicBezTo>
                    <a:cubicBezTo>
                      <a:pt x="0" y="7770"/>
                      <a:pt x="1110" y="5550"/>
                      <a:pt x="3885" y="5550"/>
                    </a:cubicBezTo>
                    <a:cubicBezTo>
                      <a:pt x="7215" y="5550"/>
                      <a:pt x="9989" y="8880"/>
                      <a:pt x="10544" y="15539"/>
                    </a:cubicBezTo>
                    <a:cubicBezTo>
                      <a:pt x="16649" y="60492"/>
                      <a:pt x="25529" y="83246"/>
                      <a:pt x="36073" y="83246"/>
                    </a:cubicBezTo>
                    <a:cubicBezTo>
                      <a:pt x="40513" y="83246"/>
                      <a:pt x="44398" y="81581"/>
                      <a:pt x="47728" y="78251"/>
                    </a:cubicBezTo>
                    <a:cubicBezTo>
                      <a:pt x="51058" y="74922"/>
                      <a:pt x="54943" y="69372"/>
                      <a:pt x="59382" y="62157"/>
                    </a:cubicBezTo>
                    <a:cubicBezTo>
                      <a:pt x="61602" y="58827"/>
                      <a:pt x="63822" y="54388"/>
                      <a:pt x="66042" y="48283"/>
                    </a:cubicBezTo>
                    <a:cubicBezTo>
                      <a:pt x="68262" y="42733"/>
                      <a:pt x="70482" y="37738"/>
                      <a:pt x="71592" y="34408"/>
                    </a:cubicBezTo>
                    <a:lnTo>
                      <a:pt x="73257" y="9990"/>
                    </a:lnTo>
                    <a:cubicBezTo>
                      <a:pt x="73812" y="6105"/>
                      <a:pt x="73812" y="3885"/>
                      <a:pt x="74922" y="2220"/>
                    </a:cubicBezTo>
                    <a:cubicBezTo>
                      <a:pt x="75477" y="555"/>
                      <a:pt x="77142" y="0"/>
                      <a:pt x="78806" y="0"/>
                    </a:cubicBezTo>
                    <a:cubicBezTo>
                      <a:pt x="80471" y="0"/>
                      <a:pt x="82136" y="1110"/>
                      <a:pt x="83801" y="2775"/>
                    </a:cubicBezTo>
                    <a:cubicBezTo>
                      <a:pt x="85466" y="4440"/>
                      <a:pt x="86021" y="6660"/>
                      <a:pt x="86021" y="8325"/>
                    </a:cubicBezTo>
                    <a:cubicBezTo>
                      <a:pt x="86021" y="11654"/>
                      <a:pt x="84911" y="19424"/>
                      <a:pt x="83246" y="32189"/>
                    </a:cubicBezTo>
                    <a:close/>
                  </a:path>
                </a:pathLst>
              </a:custGeom>
              <a:solidFill>
                <a:srgbClr val="676767"/>
              </a:solidFill>
              <a:ln w="55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0" name="Freihandform: Form 49">
                <a:extLst>
                  <a:ext uri="{FF2B5EF4-FFF2-40B4-BE49-F238E27FC236}">
                    <a16:creationId xmlns:a16="http://schemas.microsoft.com/office/drawing/2014/main" id="{C56E5A71-7CF0-425D-A519-2BC6523318AF}"/>
                  </a:ext>
                </a:extLst>
              </p:cNvPr>
              <p:cNvSpPr/>
              <p:nvPr/>
            </p:nvSpPr>
            <p:spPr>
              <a:xfrm>
                <a:off x="6055486" y="3866320"/>
                <a:ext cx="87686" cy="110995"/>
              </a:xfrm>
              <a:custGeom>
                <a:avLst/>
                <a:gdLst>
                  <a:gd name="connsiteX0" fmla="*/ 81026 w 87686"/>
                  <a:gd name="connsiteY0" fmla="*/ 81026 h 110995"/>
                  <a:gd name="connsiteX1" fmla="*/ 61047 w 87686"/>
                  <a:gd name="connsiteY1" fmla="*/ 102115 h 110995"/>
                  <a:gd name="connsiteX2" fmla="*/ 31633 w 87686"/>
                  <a:gd name="connsiteY2" fmla="*/ 110995 h 110995"/>
                  <a:gd name="connsiteX3" fmla="*/ 7770 w 87686"/>
                  <a:gd name="connsiteY3" fmla="*/ 102115 h 110995"/>
                  <a:gd name="connsiteX4" fmla="*/ 0 w 87686"/>
                  <a:gd name="connsiteY4" fmla="*/ 79916 h 110995"/>
                  <a:gd name="connsiteX5" fmla="*/ 4440 w 87686"/>
                  <a:gd name="connsiteY5" fmla="*/ 51058 h 110995"/>
                  <a:gd name="connsiteX6" fmla="*/ 16649 w 87686"/>
                  <a:gd name="connsiteY6" fmla="*/ 19979 h 110995"/>
                  <a:gd name="connsiteX7" fmla="*/ 20534 w 87686"/>
                  <a:gd name="connsiteY7" fmla="*/ 12764 h 110995"/>
                  <a:gd name="connsiteX8" fmla="*/ 28304 w 87686"/>
                  <a:gd name="connsiteY8" fmla="*/ 3330 h 110995"/>
                  <a:gd name="connsiteX9" fmla="*/ 37738 w 87686"/>
                  <a:gd name="connsiteY9" fmla="*/ 0 h 110995"/>
                  <a:gd name="connsiteX10" fmla="*/ 41623 w 87686"/>
                  <a:gd name="connsiteY10" fmla="*/ 1110 h 110995"/>
                  <a:gd name="connsiteX11" fmla="*/ 43288 w 87686"/>
                  <a:gd name="connsiteY11" fmla="*/ 3885 h 110995"/>
                  <a:gd name="connsiteX12" fmla="*/ 42178 w 87686"/>
                  <a:gd name="connsiteY12" fmla="*/ 6105 h 110995"/>
                  <a:gd name="connsiteX13" fmla="*/ 39958 w 87686"/>
                  <a:gd name="connsiteY13" fmla="*/ 8880 h 110995"/>
                  <a:gd name="connsiteX14" fmla="*/ 26639 w 87686"/>
                  <a:gd name="connsiteY14" fmla="*/ 28304 h 110995"/>
                  <a:gd name="connsiteX15" fmla="*/ 16094 w 87686"/>
                  <a:gd name="connsiteY15" fmla="*/ 52723 h 110995"/>
                  <a:gd name="connsiteX16" fmla="*/ 12209 w 87686"/>
                  <a:gd name="connsiteY16" fmla="*/ 79362 h 110995"/>
                  <a:gd name="connsiteX17" fmla="*/ 35518 w 87686"/>
                  <a:gd name="connsiteY17" fmla="*/ 98786 h 110995"/>
                  <a:gd name="connsiteX18" fmla="*/ 56052 w 87686"/>
                  <a:gd name="connsiteY18" fmla="*/ 92681 h 110995"/>
                  <a:gd name="connsiteX19" fmla="*/ 71037 w 87686"/>
                  <a:gd name="connsiteY19" fmla="*/ 77142 h 110995"/>
                  <a:gd name="connsiteX20" fmla="*/ 76587 w 87686"/>
                  <a:gd name="connsiteY20" fmla="*/ 60492 h 110995"/>
                  <a:gd name="connsiteX21" fmla="*/ 71037 w 87686"/>
                  <a:gd name="connsiteY21" fmla="*/ 45508 h 110995"/>
                  <a:gd name="connsiteX22" fmla="*/ 55498 w 87686"/>
                  <a:gd name="connsiteY22" fmla="*/ 32189 h 110995"/>
                  <a:gd name="connsiteX23" fmla="*/ 46063 w 87686"/>
                  <a:gd name="connsiteY23" fmla="*/ 24419 h 110995"/>
                  <a:gd name="connsiteX24" fmla="*/ 43288 w 87686"/>
                  <a:gd name="connsiteY24" fmla="*/ 19424 h 110995"/>
                  <a:gd name="connsiteX25" fmla="*/ 47173 w 87686"/>
                  <a:gd name="connsiteY25" fmla="*/ 14429 h 110995"/>
                  <a:gd name="connsiteX26" fmla="*/ 57162 w 87686"/>
                  <a:gd name="connsiteY26" fmla="*/ 12764 h 110995"/>
                  <a:gd name="connsiteX27" fmla="*/ 61047 w 87686"/>
                  <a:gd name="connsiteY27" fmla="*/ 13319 h 110995"/>
                  <a:gd name="connsiteX28" fmla="*/ 62157 w 87686"/>
                  <a:gd name="connsiteY28" fmla="*/ 14429 h 110995"/>
                  <a:gd name="connsiteX29" fmla="*/ 61047 w 87686"/>
                  <a:gd name="connsiteY29" fmla="*/ 16094 h 110995"/>
                  <a:gd name="connsiteX30" fmla="*/ 59937 w 87686"/>
                  <a:gd name="connsiteY30" fmla="*/ 17759 h 110995"/>
                  <a:gd name="connsiteX31" fmla="*/ 64932 w 87686"/>
                  <a:gd name="connsiteY31" fmla="*/ 22754 h 110995"/>
                  <a:gd name="connsiteX32" fmla="*/ 81026 w 87686"/>
                  <a:gd name="connsiteY32" fmla="*/ 38848 h 110995"/>
                  <a:gd name="connsiteX33" fmla="*/ 87686 w 87686"/>
                  <a:gd name="connsiteY33" fmla="*/ 58272 h 110995"/>
                  <a:gd name="connsiteX34" fmla="*/ 81026 w 87686"/>
                  <a:gd name="connsiteY34" fmla="*/ 81026 h 1109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87686" h="110995">
                    <a:moveTo>
                      <a:pt x="81026" y="81026"/>
                    </a:moveTo>
                    <a:cubicBezTo>
                      <a:pt x="76032" y="89351"/>
                      <a:pt x="69372" y="96566"/>
                      <a:pt x="61047" y="102115"/>
                    </a:cubicBezTo>
                    <a:cubicBezTo>
                      <a:pt x="52168" y="108220"/>
                      <a:pt x="42733" y="110995"/>
                      <a:pt x="31633" y="110995"/>
                    </a:cubicBezTo>
                    <a:cubicBezTo>
                      <a:pt x="20534" y="110995"/>
                      <a:pt x="12764" y="108220"/>
                      <a:pt x="7770" y="102115"/>
                    </a:cubicBezTo>
                    <a:cubicBezTo>
                      <a:pt x="2775" y="96011"/>
                      <a:pt x="0" y="88796"/>
                      <a:pt x="0" y="79916"/>
                    </a:cubicBezTo>
                    <a:cubicBezTo>
                      <a:pt x="0" y="72147"/>
                      <a:pt x="1665" y="62712"/>
                      <a:pt x="4440" y="51058"/>
                    </a:cubicBezTo>
                    <a:cubicBezTo>
                      <a:pt x="7215" y="39403"/>
                      <a:pt x="11100" y="29414"/>
                      <a:pt x="16649" y="19979"/>
                    </a:cubicBezTo>
                    <a:cubicBezTo>
                      <a:pt x="17204" y="19424"/>
                      <a:pt x="18314" y="17204"/>
                      <a:pt x="20534" y="12764"/>
                    </a:cubicBezTo>
                    <a:cubicBezTo>
                      <a:pt x="22754" y="8880"/>
                      <a:pt x="25529" y="5550"/>
                      <a:pt x="28304" y="3330"/>
                    </a:cubicBezTo>
                    <a:cubicBezTo>
                      <a:pt x="31078" y="1110"/>
                      <a:pt x="34408" y="0"/>
                      <a:pt x="37738" y="0"/>
                    </a:cubicBezTo>
                    <a:cubicBezTo>
                      <a:pt x="39403" y="0"/>
                      <a:pt x="40513" y="555"/>
                      <a:pt x="41623" y="1110"/>
                    </a:cubicBezTo>
                    <a:cubicBezTo>
                      <a:pt x="42733" y="1665"/>
                      <a:pt x="43288" y="2775"/>
                      <a:pt x="43288" y="3885"/>
                    </a:cubicBezTo>
                    <a:cubicBezTo>
                      <a:pt x="43288" y="4440"/>
                      <a:pt x="42733" y="4995"/>
                      <a:pt x="42178" y="6105"/>
                    </a:cubicBezTo>
                    <a:cubicBezTo>
                      <a:pt x="41068" y="7215"/>
                      <a:pt x="40513" y="8325"/>
                      <a:pt x="39958" y="8880"/>
                    </a:cubicBezTo>
                    <a:cubicBezTo>
                      <a:pt x="34408" y="15539"/>
                      <a:pt x="29969" y="22199"/>
                      <a:pt x="26639" y="28304"/>
                    </a:cubicBezTo>
                    <a:cubicBezTo>
                      <a:pt x="22199" y="36628"/>
                      <a:pt x="18314" y="44953"/>
                      <a:pt x="16094" y="52723"/>
                    </a:cubicBezTo>
                    <a:cubicBezTo>
                      <a:pt x="13319" y="61047"/>
                      <a:pt x="12209" y="69927"/>
                      <a:pt x="12209" y="79362"/>
                    </a:cubicBezTo>
                    <a:cubicBezTo>
                      <a:pt x="12209" y="92126"/>
                      <a:pt x="19979" y="98786"/>
                      <a:pt x="35518" y="98786"/>
                    </a:cubicBezTo>
                    <a:cubicBezTo>
                      <a:pt x="42733" y="98786"/>
                      <a:pt x="49393" y="96566"/>
                      <a:pt x="56052" y="92681"/>
                    </a:cubicBezTo>
                    <a:cubicBezTo>
                      <a:pt x="62157" y="88241"/>
                      <a:pt x="67152" y="83246"/>
                      <a:pt x="71037" y="77142"/>
                    </a:cubicBezTo>
                    <a:cubicBezTo>
                      <a:pt x="74922" y="71037"/>
                      <a:pt x="76587" y="65487"/>
                      <a:pt x="76587" y="60492"/>
                    </a:cubicBezTo>
                    <a:cubicBezTo>
                      <a:pt x="76587" y="54943"/>
                      <a:pt x="74922" y="49948"/>
                      <a:pt x="71037" y="45508"/>
                    </a:cubicBezTo>
                    <a:cubicBezTo>
                      <a:pt x="67152" y="41068"/>
                      <a:pt x="62157" y="36628"/>
                      <a:pt x="55498" y="32189"/>
                    </a:cubicBezTo>
                    <a:cubicBezTo>
                      <a:pt x="51058" y="28859"/>
                      <a:pt x="48283" y="26639"/>
                      <a:pt x="46063" y="24419"/>
                    </a:cubicBezTo>
                    <a:cubicBezTo>
                      <a:pt x="43843" y="22754"/>
                      <a:pt x="43288" y="21089"/>
                      <a:pt x="43288" y="19424"/>
                    </a:cubicBezTo>
                    <a:cubicBezTo>
                      <a:pt x="43288" y="17204"/>
                      <a:pt x="44398" y="16094"/>
                      <a:pt x="47173" y="14429"/>
                    </a:cubicBezTo>
                    <a:cubicBezTo>
                      <a:pt x="49948" y="13319"/>
                      <a:pt x="53278" y="12764"/>
                      <a:pt x="57162" y="12764"/>
                    </a:cubicBezTo>
                    <a:cubicBezTo>
                      <a:pt x="59382" y="12764"/>
                      <a:pt x="60492" y="12764"/>
                      <a:pt x="61047" y="13319"/>
                    </a:cubicBezTo>
                    <a:cubicBezTo>
                      <a:pt x="61602" y="13319"/>
                      <a:pt x="62157" y="13874"/>
                      <a:pt x="62157" y="14429"/>
                    </a:cubicBezTo>
                    <a:cubicBezTo>
                      <a:pt x="62157" y="14984"/>
                      <a:pt x="61602" y="15539"/>
                      <a:pt x="61047" y="16094"/>
                    </a:cubicBezTo>
                    <a:cubicBezTo>
                      <a:pt x="60492" y="16649"/>
                      <a:pt x="59937" y="17204"/>
                      <a:pt x="59937" y="17759"/>
                    </a:cubicBezTo>
                    <a:cubicBezTo>
                      <a:pt x="59937" y="18314"/>
                      <a:pt x="61602" y="19979"/>
                      <a:pt x="64932" y="22754"/>
                    </a:cubicBezTo>
                    <a:cubicBezTo>
                      <a:pt x="71592" y="28304"/>
                      <a:pt x="76587" y="33299"/>
                      <a:pt x="81026" y="38848"/>
                    </a:cubicBezTo>
                    <a:cubicBezTo>
                      <a:pt x="85466" y="44398"/>
                      <a:pt x="87686" y="51058"/>
                      <a:pt x="87686" y="58272"/>
                    </a:cubicBezTo>
                    <a:cubicBezTo>
                      <a:pt x="87686" y="65487"/>
                      <a:pt x="85466" y="72702"/>
                      <a:pt x="81026" y="81026"/>
                    </a:cubicBezTo>
                    <a:close/>
                  </a:path>
                </a:pathLst>
              </a:custGeom>
              <a:solidFill>
                <a:srgbClr val="676767"/>
              </a:solidFill>
              <a:ln w="55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1" name="Freihandform: Form 50">
                <a:extLst>
                  <a:ext uri="{FF2B5EF4-FFF2-40B4-BE49-F238E27FC236}">
                    <a16:creationId xmlns:a16="http://schemas.microsoft.com/office/drawing/2014/main" id="{08444EF6-CCD4-4D06-87E1-81EDB4B86FD5}"/>
                  </a:ext>
                </a:extLst>
              </p:cNvPr>
              <p:cNvSpPr/>
              <p:nvPr/>
            </p:nvSpPr>
            <p:spPr>
              <a:xfrm>
                <a:off x="6163706" y="3859105"/>
                <a:ext cx="101005" cy="120984"/>
              </a:xfrm>
              <a:custGeom>
                <a:avLst/>
                <a:gdLst>
                  <a:gd name="connsiteX0" fmla="*/ 98786 w 101005"/>
                  <a:gd name="connsiteY0" fmla="*/ 118765 h 120984"/>
                  <a:gd name="connsiteX1" fmla="*/ 92681 w 101005"/>
                  <a:gd name="connsiteY1" fmla="*/ 120985 h 120984"/>
                  <a:gd name="connsiteX2" fmla="*/ 83801 w 101005"/>
                  <a:gd name="connsiteY2" fmla="*/ 110995 h 120984"/>
                  <a:gd name="connsiteX3" fmla="*/ 78806 w 101005"/>
                  <a:gd name="connsiteY3" fmla="*/ 89906 h 120984"/>
                  <a:gd name="connsiteX4" fmla="*/ 77142 w 101005"/>
                  <a:gd name="connsiteY4" fmla="*/ 47728 h 120984"/>
                  <a:gd name="connsiteX5" fmla="*/ 77142 w 101005"/>
                  <a:gd name="connsiteY5" fmla="*/ 37183 h 120984"/>
                  <a:gd name="connsiteX6" fmla="*/ 77142 w 101005"/>
                  <a:gd name="connsiteY6" fmla="*/ 28304 h 120984"/>
                  <a:gd name="connsiteX7" fmla="*/ 57717 w 101005"/>
                  <a:gd name="connsiteY7" fmla="*/ 66597 h 120984"/>
                  <a:gd name="connsiteX8" fmla="*/ 33299 w 101005"/>
                  <a:gd name="connsiteY8" fmla="*/ 103225 h 120984"/>
                  <a:gd name="connsiteX9" fmla="*/ 13319 w 101005"/>
                  <a:gd name="connsiteY9" fmla="*/ 118765 h 120984"/>
                  <a:gd name="connsiteX10" fmla="*/ 2775 w 101005"/>
                  <a:gd name="connsiteY10" fmla="*/ 110440 h 120984"/>
                  <a:gd name="connsiteX11" fmla="*/ 0 w 101005"/>
                  <a:gd name="connsiteY11" fmla="*/ 83246 h 120984"/>
                  <a:gd name="connsiteX12" fmla="*/ 4440 w 101005"/>
                  <a:gd name="connsiteY12" fmla="*/ 43843 h 120984"/>
                  <a:gd name="connsiteX13" fmla="*/ 14984 w 101005"/>
                  <a:gd name="connsiteY13" fmla="*/ 10545 h 120984"/>
                  <a:gd name="connsiteX14" fmla="*/ 18869 w 101005"/>
                  <a:gd name="connsiteY14" fmla="*/ 3330 h 120984"/>
                  <a:gd name="connsiteX15" fmla="*/ 22754 w 101005"/>
                  <a:gd name="connsiteY15" fmla="*/ 1665 h 120984"/>
                  <a:gd name="connsiteX16" fmla="*/ 28859 w 101005"/>
                  <a:gd name="connsiteY16" fmla="*/ 3885 h 120984"/>
                  <a:gd name="connsiteX17" fmla="*/ 26639 w 101005"/>
                  <a:gd name="connsiteY17" fmla="*/ 9435 h 120984"/>
                  <a:gd name="connsiteX18" fmla="*/ 14984 w 101005"/>
                  <a:gd name="connsiteY18" fmla="*/ 38848 h 120984"/>
                  <a:gd name="connsiteX19" fmla="*/ 9989 w 101005"/>
                  <a:gd name="connsiteY19" fmla="*/ 84356 h 120984"/>
                  <a:gd name="connsiteX20" fmla="*/ 15539 w 101005"/>
                  <a:gd name="connsiteY20" fmla="*/ 103780 h 120984"/>
                  <a:gd name="connsiteX21" fmla="*/ 32744 w 101005"/>
                  <a:gd name="connsiteY21" fmla="*/ 89906 h 120984"/>
                  <a:gd name="connsiteX22" fmla="*/ 54388 w 101005"/>
                  <a:gd name="connsiteY22" fmla="*/ 56607 h 120984"/>
                  <a:gd name="connsiteX23" fmla="*/ 70482 w 101005"/>
                  <a:gd name="connsiteY23" fmla="*/ 22754 h 120984"/>
                  <a:gd name="connsiteX24" fmla="*/ 74922 w 101005"/>
                  <a:gd name="connsiteY24" fmla="*/ 7770 h 120984"/>
                  <a:gd name="connsiteX25" fmla="*/ 76587 w 101005"/>
                  <a:gd name="connsiteY25" fmla="*/ 1665 h 120984"/>
                  <a:gd name="connsiteX26" fmla="*/ 78251 w 101005"/>
                  <a:gd name="connsiteY26" fmla="*/ 0 h 120984"/>
                  <a:gd name="connsiteX27" fmla="*/ 83801 w 101005"/>
                  <a:gd name="connsiteY27" fmla="*/ 2220 h 120984"/>
                  <a:gd name="connsiteX28" fmla="*/ 87131 w 101005"/>
                  <a:gd name="connsiteY28" fmla="*/ 6660 h 120984"/>
                  <a:gd name="connsiteX29" fmla="*/ 88241 w 101005"/>
                  <a:gd name="connsiteY29" fmla="*/ 46618 h 120984"/>
                  <a:gd name="connsiteX30" fmla="*/ 90461 w 101005"/>
                  <a:gd name="connsiteY30" fmla="*/ 86021 h 120984"/>
                  <a:gd name="connsiteX31" fmla="*/ 93791 w 101005"/>
                  <a:gd name="connsiteY31" fmla="*/ 101006 h 120984"/>
                  <a:gd name="connsiteX32" fmla="*/ 98786 w 101005"/>
                  <a:gd name="connsiteY32" fmla="*/ 109330 h 120984"/>
                  <a:gd name="connsiteX33" fmla="*/ 101005 w 101005"/>
                  <a:gd name="connsiteY33" fmla="*/ 113215 h 120984"/>
                  <a:gd name="connsiteX34" fmla="*/ 98786 w 101005"/>
                  <a:gd name="connsiteY34" fmla="*/ 118765 h 1209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101005" h="120984">
                    <a:moveTo>
                      <a:pt x="98786" y="118765"/>
                    </a:moveTo>
                    <a:cubicBezTo>
                      <a:pt x="97121" y="120430"/>
                      <a:pt x="95456" y="120985"/>
                      <a:pt x="92681" y="120985"/>
                    </a:cubicBezTo>
                    <a:cubicBezTo>
                      <a:pt x="89351" y="120985"/>
                      <a:pt x="86576" y="117655"/>
                      <a:pt x="83801" y="110995"/>
                    </a:cubicBezTo>
                    <a:cubicBezTo>
                      <a:pt x="81026" y="104335"/>
                      <a:pt x="79361" y="97121"/>
                      <a:pt x="78806" y="89906"/>
                    </a:cubicBezTo>
                    <a:cubicBezTo>
                      <a:pt x="78251" y="82691"/>
                      <a:pt x="77697" y="68817"/>
                      <a:pt x="77142" y="47728"/>
                    </a:cubicBezTo>
                    <a:cubicBezTo>
                      <a:pt x="77142" y="44398"/>
                      <a:pt x="77142" y="41068"/>
                      <a:pt x="77142" y="37183"/>
                    </a:cubicBezTo>
                    <a:cubicBezTo>
                      <a:pt x="77142" y="33854"/>
                      <a:pt x="77142" y="30524"/>
                      <a:pt x="77142" y="28304"/>
                    </a:cubicBezTo>
                    <a:cubicBezTo>
                      <a:pt x="72702" y="39403"/>
                      <a:pt x="66042" y="52168"/>
                      <a:pt x="57717" y="66597"/>
                    </a:cubicBezTo>
                    <a:cubicBezTo>
                      <a:pt x="49393" y="81026"/>
                      <a:pt x="41623" y="93236"/>
                      <a:pt x="33299" y="103225"/>
                    </a:cubicBezTo>
                    <a:cubicBezTo>
                      <a:pt x="24974" y="113215"/>
                      <a:pt x="18314" y="118765"/>
                      <a:pt x="13319" y="118765"/>
                    </a:cubicBezTo>
                    <a:cubicBezTo>
                      <a:pt x="7770" y="118765"/>
                      <a:pt x="4440" y="115990"/>
                      <a:pt x="2775" y="110440"/>
                    </a:cubicBezTo>
                    <a:cubicBezTo>
                      <a:pt x="1110" y="104890"/>
                      <a:pt x="0" y="96011"/>
                      <a:pt x="0" y="83246"/>
                    </a:cubicBezTo>
                    <a:cubicBezTo>
                      <a:pt x="0" y="71592"/>
                      <a:pt x="1665" y="58827"/>
                      <a:pt x="4440" y="43843"/>
                    </a:cubicBezTo>
                    <a:cubicBezTo>
                      <a:pt x="7215" y="29414"/>
                      <a:pt x="11100" y="18314"/>
                      <a:pt x="14984" y="10545"/>
                    </a:cubicBezTo>
                    <a:cubicBezTo>
                      <a:pt x="16649" y="7215"/>
                      <a:pt x="17759" y="4995"/>
                      <a:pt x="18869" y="3330"/>
                    </a:cubicBezTo>
                    <a:cubicBezTo>
                      <a:pt x="19979" y="2220"/>
                      <a:pt x="21089" y="1665"/>
                      <a:pt x="22754" y="1665"/>
                    </a:cubicBezTo>
                    <a:cubicBezTo>
                      <a:pt x="26639" y="1665"/>
                      <a:pt x="28859" y="2220"/>
                      <a:pt x="28859" y="3885"/>
                    </a:cubicBezTo>
                    <a:cubicBezTo>
                      <a:pt x="28859" y="4440"/>
                      <a:pt x="28304" y="6660"/>
                      <a:pt x="26639" y="9435"/>
                    </a:cubicBezTo>
                    <a:cubicBezTo>
                      <a:pt x="22199" y="17759"/>
                      <a:pt x="18314" y="27194"/>
                      <a:pt x="14984" y="38848"/>
                    </a:cubicBezTo>
                    <a:cubicBezTo>
                      <a:pt x="11654" y="49948"/>
                      <a:pt x="9989" y="65487"/>
                      <a:pt x="9989" y="84356"/>
                    </a:cubicBezTo>
                    <a:cubicBezTo>
                      <a:pt x="9989" y="97121"/>
                      <a:pt x="11654" y="103780"/>
                      <a:pt x="15539" y="103780"/>
                    </a:cubicBezTo>
                    <a:cubicBezTo>
                      <a:pt x="19979" y="103780"/>
                      <a:pt x="25529" y="99341"/>
                      <a:pt x="32744" y="89906"/>
                    </a:cubicBezTo>
                    <a:cubicBezTo>
                      <a:pt x="39958" y="80471"/>
                      <a:pt x="47173" y="69372"/>
                      <a:pt x="54388" y="56607"/>
                    </a:cubicBezTo>
                    <a:cubicBezTo>
                      <a:pt x="61602" y="43843"/>
                      <a:pt x="67152" y="32189"/>
                      <a:pt x="70482" y="22754"/>
                    </a:cubicBezTo>
                    <a:cubicBezTo>
                      <a:pt x="71592" y="19424"/>
                      <a:pt x="73257" y="14429"/>
                      <a:pt x="74922" y="7770"/>
                    </a:cubicBezTo>
                    <a:cubicBezTo>
                      <a:pt x="75477" y="4995"/>
                      <a:pt x="76032" y="2775"/>
                      <a:pt x="76587" y="1665"/>
                    </a:cubicBezTo>
                    <a:cubicBezTo>
                      <a:pt x="77142" y="555"/>
                      <a:pt x="77697" y="0"/>
                      <a:pt x="78251" y="0"/>
                    </a:cubicBezTo>
                    <a:cubicBezTo>
                      <a:pt x="79916" y="0"/>
                      <a:pt x="82136" y="555"/>
                      <a:pt x="83801" y="2220"/>
                    </a:cubicBezTo>
                    <a:cubicBezTo>
                      <a:pt x="86021" y="3885"/>
                      <a:pt x="87131" y="4995"/>
                      <a:pt x="87131" y="6660"/>
                    </a:cubicBezTo>
                    <a:cubicBezTo>
                      <a:pt x="87131" y="14429"/>
                      <a:pt x="87686" y="27749"/>
                      <a:pt x="88241" y="46618"/>
                    </a:cubicBezTo>
                    <a:cubicBezTo>
                      <a:pt x="88796" y="65487"/>
                      <a:pt x="89351" y="78807"/>
                      <a:pt x="90461" y="86021"/>
                    </a:cubicBezTo>
                    <a:cubicBezTo>
                      <a:pt x="91016" y="92126"/>
                      <a:pt x="92126" y="97121"/>
                      <a:pt x="93791" y="101006"/>
                    </a:cubicBezTo>
                    <a:cubicBezTo>
                      <a:pt x="95456" y="104335"/>
                      <a:pt x="97121" y="107110"/>
                      <a:pt x="98786" y="109330"/>
                    </a:cubicBezTo>
                    <a:cubicBezTo>
                      <a:pt x="100450" y="111550"/>
                      <a:pt x="101005" y="112660"/>
                      <a:pt x="101005" y="113215"/>
                    </a:cubicBezTo>
                    <a:cubicBezTo>
                      <a:pt x="101005" y="115435"/>
                      <a:pt x="100450" y="117655"/>
                      <a:pt x="98786" y="118765"/>
                    </a:cubicBezTo>
                    <a:close/>
                  </a:path>
                </a:pathLst>
              </a:custGeom>
              <a:solidFill>
                <a:srgbClr val="676767"/>
              </a:solidFill>
              <a:ln w="55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" name="Freihandform: Form 51">
                <a:extLst>
                  <a:ext uri="{FF2B5EF4-FFF2-40B4-BE49-F238E27FC236}">
                    <a16:creationId xmlns:a16="http://schemas.microsoft.com/office/drawing/2014/main" id="{BCFF2555-6839-4D51-8D12-64CE54B3393F}"/>
                  </a:ext>
                </a:extLst>
              </p:cNvPr>
              <p:cNvSpPr/>
              <p:nvPr/>
            </p:nvSpPr>
            <p:spPr>
              <a:xfrm>
                <a:off x="6288021" y="3857995"/>
                <a:ext cx="79916" cy="123204"/>
              </a:xfrm>
              <a:custGeom>
                <a:avLst/>
                <a:gdLst>
                  <a:gd name="connsiteX0" fmla="*/ 77142 w 79916"/>
                  <a:gd name="connsiteY0" fmla="*/ 20534 h 123204"/>
                  <a:gd name="connsiteX1" fmla="*/ 72147 w 79916"/>
                  <a:gd name="connsiteY1" fmla="*/ 23309 h 123204"/>
                  <a:gd name="connsiteX2" fmla="*/ 68817 w 79916"/>
                  <a:gd name="connsiteY2" fmla="*/ 21644 h 123204"/>
                  <a:gd name="connsiteX3" fmla="*/ 65487 w 79916"/>
                  <a:gd name="connsiteY3" fmla="*/ 17759 h 123204"/>
                  <a:gd name="connsiteX4" fmla="*/ 61047 w 79916"/>
                  <a:gd name="connsiteY4" fmla="*/ 13874 h 123204"/>
                  <a:gd name="connsiteX5" fmla="*/ 55498 w 79916"/>
                  <a:gd name="connsiteY5" fmla="*/ 12209 h 123204"/>
                  <a:gd name="connsiteX6" fmla="*/ 36628 w 79916"/>
                  <a:gd name="connsiteY6" fmla="*/ 31079 h 123204"/>
                  <a:gd name="connsiteX7" fmla="*/ 13319 w 79916"/>
                  <a:gd name="connsiteY7" fmla="*/ 77697 h 123204"/>
                  <a:gd name="connsiteX8" fmla="*/ 14429 w 79916"/>
                  <a:gd name="connsiteY8" fmla="*/ 91571 h 123204"/>
                  <a:gd name="connsiteX9" fmla="*/ 15539 w 79916"/>
                  <a:gd name="connsiteY9" fmla="*/ 104335 h 123204"/>
                  <a:gd name="connsiteX10" fmla="*/ 16094 w 79916"/>
                  <a:gd name="connsiteY10" fmla="*/ 114325 h 123204"/>
                  <a:gd name="connsiteX11" fmla="*/ 14429 w 79916"/>
                  <a:gd name="connsiteY11" fmla="*/ 120430 h 123204"/>
                  <a:gd name="connsiteX12" fmla="*/ 8880 w 79916"/>
                  <a:gd name="connsiteY12" fmla="*/ 123205 h 123204"/>
                  <a:gd name="connsiteX13" fmla="*/ 3330 w 79916"/>
                  <a:gd name="connsiteY13" fmla="*/ 112105 h 123204"/>
                  <a:gd name="connsiteX14" fmla="*/ 1665 w 79916"/>
                  <a:gd name="connsiteY14" fmla="*/ 79916 h 123204"/>
                  <a:gd name="connsiteX15" fmla="*/ 1110 w 79916"/>
                  <a:gd name="connsiteY15" fmla="*/ 64377 h 123204"/>
                  <a:gd name="connsiteX16" fmla="*/ 555 w 79916"/>
                  <a:gd name="connsiteY16" fmla="*/ 40513 h 123204"/>
                  <a:gd name="connsiteX17" fmla="*/ 0 w 79916"/>
                  <a:gd name="connsiteY17" fmla="*/ 10545 h 123204"/>
                  <a:gd name="connsiteX18" fmla="*/ 6660 w 79916"/>
                  <a:gd name="connsiteY18" fmla="*/ 4995 h 123204"/>
                  <a:gd name="connsiteX19" fmla="*/ 11655 w 79916"/>
                  <a:gd name="connsiteY19" fmla="*/ 8325 h 123204"/>
                  <a:gd name="connsiteX20" fmla="*/ 12764 w 79916"/>
                  <a:gd name="connsiteY20" fmla="*/ 21644 h 123204"/>
                  <a:gd name="connsiteX21" fmla="*/ 12764 w 79916"/>
                  <a:gd name="connsiteY21" fmla="*/ 60492 h 123204"/>
                  <a:gd name="connsiteX22" fmla="*/ 28304 w 79916"/>
                  <a:gd name="connsiteY22" fmla="*/ 28304 h 123204"/>
                  <a:gd name="connsiteX23" fmla="*/ 44953 w 79916"/>
                  <a:gd name="connsiteY23" fmla="*/ 7215 h 123204"/>
                  <a:gd name="connsiteX24" fmla="*/ 59382 w 79916"/>
                  <a:gd name="connsiteY24" fmla="*/ 0 h 123204"/>
                  <a:gd name="connsiteX25" fmla="*/ 69372 w 79916"/>
                  <a:gd name="connsiteY25" fmla="*/ 2220 h 123204"/>
                  <a:gd name="connsiteX26" fmla="*/ 77142 w 79916"/>
                  <a:gd name="connsiteY26" fmla="*/ 8325 h 123204"/>
                  <a:gd name="connsiteX27" fmla="*/ 79916 w 79916"/>
                  <a:gd name="connsiteY27" fmla="*/ 15539 h 123204"/>
                  <a:gd name="connsiteX28" fmla="*/ 77142 w 79916"/>
                  <a:gd name="connsiteY28" fmla="*/ 20534 h 123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9916" h="123204">
                    <a:moveTo>
                      <a:pt x="77142" y="20534"/>
                    </a:moveTo>
                    <a:cubicBezTo>
                      <a:pt x="74922" y="22199"/>
                      <a:pt x="73257" y="23309"/>
                      <a:pt x="72147" y="23309"/>
                    </a:cubicBezTo>
                    <a:cubicBezTo>
                      <a:pt x="71037" y="23309"/>
                      <a:pt x="69927" y="22754"/>
                      <a:pt x="68817" y="21644"/>
                    </a:cubicBezTo>
                    <a:cubicBezTo>
                      <a:pt x="67707" y="20534"/>
                      <a:pt x="66597" y="19424"/>
                      <a:pt x="65487" y="17759"/>
                    </a:cubicBezTo>
                    <a:cubicBezTo>
                      <a:pt x="64377" y="16094"/>
                      <a:pt x="62712" y="14984"/>
                      <a:pt x="61047" y="13874"/>
                    </a:cubicBezTo>
                    <a:cubicBezTo>
                      <a:pt x="59382" y="12764"/>
                      <a:pt x="57162" y="12209"/>
                      <a:pt x="55498" y="12209"/>
                    </a:cubicBezTo>
                    <a:cubicBezTo>
                      <a:pt x="51058" y="12209"/>
                      <a:pt x="44398" y="18314"/>
                      <a:pt x="36628" y="31079"/>
                    </a:cubicBezTo>
                    <a:cubicBezTo>
                      <a:pt x="28859" y="43288"/>
                      <a:pt x="21089" y="59382"/>
                      <a:pt x="13319" y="77697"/>
                    </a:cubicBezTo>
                    <a:cubicBezTo>
                      <a:pt x="13319" y="81581"/>
                      <a:pt x="13874" y="86021"/>
                      <a:pt x="14429" y="91571"/>
                    </a:cubicBezTo>
                    <a:cubicBezTo>
                      <a:pt x="14984" y="97121"/>
                      <a:pt x="14984" y="101561"/>
                      <a:pt x="15539" y="104335"/>
                    </a:cubicBezTo>
                    <a:lnTo>
                      <a:pt x="16094" y="114325"/>
                    </a:lnTo>
                    <a:cubicBezTo>
                      <a:pt x="16094" y="116545"/>
                      <a:pt x="15539" y="118765"/>
                      <a:pt x="14429" y="120430"/>
                    </a:cubicBezTo>
                    <a:cubicBezTo>
                      <a:pt x="13319" y="122095"/>
                      <a:pt x="11655" y="123205"/>
                      <a:pt x="8880" y="123205"/>
                    </a:cubicBezTo>
                    <a:cubicBezTo>
                      <a:pt x="6105" y="123205"/>
                      <a:pt x="4440" y="119320"/>
                      <a:pt x="3330" y="112105"/>
                    </a:cubicBezTo>
                    <a:cubicBezTo>
                      <a:pt x="2775" y="104890"/>
                      <a:pt x="2220" y="93791"/>
                      <a:pt x="1665" y="79916"/>
                    </a:cubicBezTo>
                    <a:cubicBezTo>
                      <a:pt x="1665" y="76587"/>
                      <a:pt x="1110" y="71037"/>
                      <a:pt x="1110" y="64377"/>
                    </a:cubicBezTo>
                    <a:cubicBezTo>
                      <a:pt x="1110" y="57717"/>
                      <a:pt x="555" y="49948"/>
                      <a:pt x="555" y="40513"/>
                    </a:cubicBezTo>
                    <a:cubicBezTo>
                      <a:pt x="0" y="26639"/>
                      <a:pt x="0" y="16649"/>
                      <a:pt x="0" y="10545"/>
                    </a:cubicBezTo>
                    <a:cubicBezTo>
                      <a:pt x="0" y="6660"/>
                      <a:pt x="2220" y="4995"/>
                      <a:pt x="6660" y="4995"/>
                    </a:cubicBezTo>
                    <a:cubicBezTo>
                      <a:pt x="9434" y="4995"/>
                      <a:pt x="11100" y="6105"/>
                      <a:pt x="11655" y="8325"/>
                    </a:cubicBezTo>
                    <a:cubicBezTo>
                      <a:pt x="12209" y="10545"/>
                      <a:pt x="12764" y="14984"/>
                      <a:pt x="12764" y="21644"/>
                    </a:cubicBezTo>
                    <a:lnTo>
                      <a:pt x="12764" y="60492"/>
                    </a:lnTo>
                    <a:cubicBezTo>
                      <a:pt x="17759" y="48283"/>
                      <a:pt x="22754" y="37183"/>
                      <a:pt x="28304" y="28304"/>
                    </a:cubicBezTo>
                    <a:cubicBezTo>
                      <a:pt x="33854" y="19424"/>
                      <a:pt x="39403" y="12209"/>
                      <a:pt x="44953" y="7215"/>
                    </a:cubicBezTo>
                    <a:cubicBezTo>
                      <a:pt x="50503" y="2220"/>
                      <a:pt x="55498" y="0"/>
                      <a:pt x="59382" y="0"/>
                    </a:cubicBezTo>
                    <a:cubicBezTo>
                      <a:pt x="62712" y="0"/>
                      <a:pt x="66597" y="555"/>
                      <a:pt x="69372" y="2220"/>
                    </a:cubicBezTo>
                    <a:cubicBezTo>
                      <a:pt x="72702" y="3885"/>
                      <a:pt x="75477" y="6105"/>
                      <a:pt x="77142" y="8325"/>
                    </a:cubicBezTo>
                    <a:cubicBezTo>
                      <a:pt x="79361" y="11100"/>
                      <a:pt x="79916" y="13319"/>
                      <a:pt x="79916" y="15539"/>
                    </a:cubicBezTo>
                    <a:cubicBezTo>
                      <a:pt x="79916" y="17204"/>
                      <a:pt x="78806" y="18869"/>
                      <a:pt x="77142" y="20534"/>
                    </a:cubicBezTo>
                    <a:close/>
                  </a:path>
                </a:pathLst>
              </a:custGeom>
              <a:solidFill>
                <a:srgbClr val="676767"/>
              </a:solidFill>
              <a:ln w="55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34F9369B-4BE2-4DE3-8C71-5E7F56C4B1DE}"/>
                  </a:ext>
                </a:extLst>
              </p:cNvPr>
              <p:cNvSpPr/>
              <p:nvPr/>
            </p:nvSpPr>
            <p:spPr>
              <a:xfrm>
                <a:off x="6453958" y="3797503"/>
                <a:ext cx="104928" cy="180367"/>
              </a:xfrm>
              <a:custGeom>
                <a:avLst/>
                <a:gdLst>
                  <a:gd name="connsiteX0" fmla="*/ 89351 w 104928"/>
                  <a:gd name="connsiteY0" fmla="*/ 129309 h 180367"/>
                  <a:gd name="connsiteX1" fmla="*/ 47173 w 104928"/>
                  <a:gd name="connsiteY1" fmla="*/ 172597 h 180367"/>
                  <a:gd name="connsiteX2" fmla="*/ 31079 w 104928"/>
                  <a:gd name="connsiteY2" fmla="*/ 180367 h 180367"/>
                  <a:gd name="connsiteX3" fmla="*/ 26639 w 104928"/>
                  <a:gd name="connsiteY3" fmla="*/ 178702 h 180367"/>
                  <a:gd name="connsiteX4" fmla="*/ 24974 w 104928"/>
                  <a:gd name="connsiteY4" fmla="*/ 174262 h 180367"/>
                  <a:gd name="connsiteX5" fmla="*/ 27194 w 104928"/>
                  <a:gd name="connsiteY5" fmla="*/ 168713 h 180367"/>
                  <a:gd name="connsiteX6" fmla="*/ 34409 w 104928"/>
                  <a:gd name="connsiteY6" fmla="*/ 164273 h 180367"/>
                  <a:gd name="connsiteX7" fmla="*/ 64932 w 104928"/>
                  <a:gd name="connsiteY7" fmla="*/ 143184 h 180367"/>
                  <a:gd name="connsiteX8" fmla="*/ 86576 w 104928"/>
                  <a:gd name="connsiteY8" fmla="*/ 114325 h 180367"/>
                  <a:gd name="connsiteX9" fmla="*/ 94346 w 104928"/>
                  <a:gd name="connsiteY9" fmla="*/ 87131 h 180367"/>
                  <a:gd name="connsiteX10" fmla="*/ 92126 w 104928"/>
                  <a:gd name="connsiteY10" fmla="*/ 79917 h 180367"/>
                  <a:gd name="connsiteX11" fmla="*/ 85466 w 104928"/>
                  <a:gd name="connsiteY11" fmla="*/ 77697 h 180367"/>
                  <a:gd name="connsiteX12" fmla="*/ 64377 w 104928"/>
                  <a:gd name="connsiteY12" fmla="*/ 86021 h 180367"/>
                  <a:gd name="connsiteX13" fmla="*/ 44398 w 104928"/>
                  <a:gd name="connsiteY13" fmla="*/ 107665 h 180367"/>
                  <a:gd name="connsiteX14" fmla="*/ 30524 w 104928"/>
                  <a:gd name="connsiteY14" fmla="*/ 132084 h 180367"/>
                  <a:gd name="connsiteX15" fmla="*/ 20534 w 104928"/>
                  <a:gd name="connsiteY15" fmla="*/ 162608 h 180367"/>
                  <a:gd name="connsiteX16" fmla="*/ 12210 w 104928"/>
                  <a:gd name="connsiteY16" fmla="*/ 170932 h 180367"/>
                  <a:gd name="connsiteX17" fmla="*/ 8325 w 104928"/>
                  <a:gd name="connsiteY17" fmla="*/ 168158 h 180367"/>
                  <a:gd name="connsiteX18" fmla="*/ 6105 w 104928"/>
                  <a:gd name="connsiteY18" fmla="*/ 162608 h 180367"/>
                  <a:gd name="connsiteX19" fmla="*/ 3885 w 104928"/>
                  <a:gd name="connsiteY19" fmla="*/ 79362 h 180367"/>
                  <a:gd name="connsiteX20" fmla="*/ 1110 w 104928"/>
                  <a:gd name="connsiteY20" fmla="*/ 16649 h 180367"/>
                  <a:gd name="connsiteX21" fmla="*/ 1110 w 104928"/>
                  <a:gd name="connsiteY21" fmla="*/ 13874 h 180367"/>
                  <a:gd name="connsiteX22" fmla="*/ 555 w 104928"/>
                  <a:gd name="connsiteY22" fmla="*/ 11100 h 180367"/>
                  <a:gd name="connsiteX23" fmla="*/ 0 w 104928"/>
                  <a:gd name="connsiteY23" fmla="*/ 8325 h 180367"/>
                  <a:gd name="connsiteX24" fmla="*/ 0 w 104928"/>
                  <a:gd name="connsiteY24" fmla="*/ 5550 h 180367"/>
                  <a:gd name="connsiteX25" fmla="*/ 4995 w 104928"/>
                  <a:gd name="connsiteY25" fmla="*/ 0 h 180367"/>
                  <a:gd name="connsiteX26" fmla="*/ 11655 w 104928"/>
                  <a:gd name="connsiteY26" fmla="*/ 4995 h 180367"/>
                  <a:gd name="connsiteX27" fmla="*/ 14429 w 104928"/>
                  <a:gd name="connsiteY27" fmla="*/ 16649 h 180367"/>
                  <a:gd name="connsiteX28" fmla="*/ 14429 w 104928"/>
                  <a:gd name="connsiteY28" fmla="*/ 29414 h 180367"/>
                  <a:gd name="connsiteX29" fmla="*/ 16094 w 104928"/>
                  <a:gd name="connsiteY29" fmla="*/ 118765 h 180367"/>
                  <a:gd name="connsiteX30" fmla="*/ 17759 w 104928"/>
                  <a:gd name="connsiteY30" fmla="*/ 135969 h 180367"/>
                  <a:gd name="connsiteX31" fmla="*/ 26084 w 104928"/>
                  <a:gd name="connsiteY31" fmla="*/ 118210 h 180367"/>
                  <a:gd name="connsiteX32" fmla="*/ 38293 w 104928"/>
                  <a:gd name="connsiteY32" fmla="*/ 99896 h 180367"/>
                  <a:gd name="connsiteX33" fmla="*/ 63267 w 104928"/>
                  <a:gd name="connsiteY33" fmla="*/ 74922 h 180367"/>
                  <a:gd name="connsiteX34" fmla="*/ 87686 w 104928"/>
                  <a:gd name="connsiteY34" fmla="*/ 65487 h 180367"/>
                  <a:gd name="connsiteX35" fmla="*/ 99896 w 104928"/>
                  <a:gd name="connsiteY35" fmla="*/ 70482 h 180367"/>
                  <a:gd name="connsiteX36" fmla="*/ 104890 w 104928"/>
                  <a:gd name="connsiteY36" fmla="*/ 84356 h 180367"/>
                  <a:gd name="connsiteX37" fmla="*/ 89351 w 104928"/>
                  <a:gd name="connsiteY37" fmla="*/ 129309 h 1803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104928" h="180367">
                    <a:moveTo>
                      <a:pt x="89351" y="129309"/>
                    </a:moveTo>
                    <a:cubicBezTo>
                      <a:pt x="78252" y="145404"/>
                      <a:pt x="64377" y="159833"/>
                      <a:pt x="47173" y="172597"/>
                    </a:cubicBezTo>
                    <a:cubicBezTo>
                      <a:pt x="39958" y="178147"/>
                      <a:pt x="34963" y="180367"/>
                      <a:pt x="31079" y="180367"/>
                    </a:cubicBezTo>
                    <a:cubicBezTo>
                      <a:pt x="29414" y="180367"/>
                      <a:pt x="27749" y="179812"/>
                      <a:pt x="26639" y="178702"/>
                    </a:cubicBezTo>
                    <a:cubicBezTo>
                      <a:pt x="25529" y="177592"/>
                      <a:pt x="24974" y="175927"/>
                      <a:pt x="24974" y="174262"/>
                    </a:cubicBezTo>
                    <a:cubicBezTo>
                      <a:pt x="24974" y="172597"/>
                      <a:pt x="25529" y="170932"/>
                      <a:pt x="27194" y="168713"/>
                    </a:cubicBezTo>
                    <a:cubicBezTo>
                      <a:pt x="28859" y="167048"/>
                      <a:pt x="31079" y="165383"/>
                      <a:pt x="34409" y="164273"/>
                    </a:cubicBezTo>
                    <a:cubicBezTo>
                      <a:pt x="45508" y="159278"/>
                      <a:pt x="56053" y="152618"/>
                      <a:pt x="64932" y="143184"/>
                    </a:cubicBezTo>
                    <a:cubicBezTo>
                      <a:pt x="74367" y="133749"/>
                      <a:pt x="81581" y="124315"/>
                      <a:pt x="86576" y="114325"/>
                    </a:cubicBezTo>
                    <a:cubicBezTo>
                      <a:pt x="91571" y="104335"/>
                      <a:pt x="94346" y="94901"/>
                      <a:pt x="94346" y="87131"/>
                    </a:cubicBezTo>
                    <a:cubicBezTo>
                      <a:pt x="94346" y="83801"/>
                      <a:pt x="93791" y="81581"/>
                      <a:pt x="92126" y="79917"/>
                    </a:cubicBezTo>
                    <a:cubicBezTo>
                      <a:pt x="91016" y="78252"/>
                      <a:pt x="88241" y="77697"/>
                      <a:pt x="85466" y="77697"/>
                    </a:cubicBezTo>
                    <a:cubicBezTo>
                      <a:pt x="78807" y="77697"/>
                      <a:pt x="71592" y="80471"/>
                      <a:pt x="64377" y="86021"/>
                    </a:cubicBezTo>
                    <a:cubicBezTo>
                      <a:pt x="57162" y="91571"/>
                      <a:pt x="50503" y="98786"/>
                      <a:pt x="44398" y="107665"/>
                    </a:cubicBezTo>
                    <a:cubicBezTo>
                      <a:pt x="39958" y="114325"/>
                      <a:pt x="34963" y="122650"/>
                      <a:pt x="30524" y="132084"/>
                    </a:cubicBezTo>
                    <a:cubicBezTo>
                      <a:pt x="26084" y="141519"/>
                      <a:pt x="22754" y="151508"/>
                      <a:pt x="20534" y="162608"/>
                    </a:cubicBezTo>
                    <a:cubicBezTo>
                      <a:pt x="19424" y="168158"/>
                      <a:pt x="16649" y="170932"/>
                      <a:pt x="12210" y="170932"/>
                    </a:cubicBezTo>
                    <a:cubicBezTo>
                      <a:pt x="11100" y="170932"/>
                      <a:pt x="9989" y="169823"/>
                      <a:pt x="8325" y="168158"/>
                    </a:cubicBezTo>
                    <a:cubicBezTo>
                      <a:pt x="7215" y="165938"/>
                      <a:pt x="6105" y="164273"/>
                      <a:pt x="6105" y="162608"/>
                    </a:cubicBezTo>
                    <a:cubicBezTo>
                      <a:pt x="6105" y="143739"/>
                      <a:pt x="5550" y="115990"/>
                      <a:pt x="3885" y="79362"/>
                    </a:cubicBezTo>
                    <a:cubicBezTo>
                      <a:pt x="2220" y="42733"/>
                      <a:pt x="1665" y="22199"/>
                      <a:pt x="1110" y="16649"/>
                    </a:cubicBezTo>
                    <a:cubicBezTo>
                      <a:pt x="1110" y="15539"/>
                      <a:pt x="1110" y="14984"/>
                      <a:pt x="1110" y="13874"/>
                    </a:cubicBezTo>
                    <a:cubicBezTo>
                      <a:pt x="1110" y="12764"/>
                      <a:pt x="555" y="12210"/>
                      <a:pt x="555" y="11100"/>
                    </a:cubicBezTo>
                    <a:cubicBezTo>
                      <a:pt x="555" y="9990"/>
                      <a:pt x="0" y="8880"/>
                      <a:pt x="0" y="8325"/>
                    </a:cubicBezTo>
                    <a:cubicBezTo>
                      <a:pt x="0" y="7215"/>
                      <a:pt x="0" y="6105"/>
                      <a:pt x="0" y="5550"/>
                    </a:cubicBezTo>
                    <a:cubicBezTo>
                      <a:pt x="0" y="1665"/>
                      <a:pt x="1665" y="0"/>
                      <a:pt x="4995" y="0"/>
                    </a:cubicBezTo>
                    <a:cubicBezTo>
                      <a:pt x="7770" y="0"/>
                      <a:pt x="9989" y="1665"/>
                      <a:pt x="11655" y="4995"/>
                    </a:cubicBezTo>
                    <a:cubicBezTo>
                      <a:pt x="13319" y="8325"/>
                      <a:pt x="14429" y="12210"/>
                      <a:pt x="14429" y="16649"/>
                    </a:cubicBezTo>
                    <a:lnTo>
                      <a:pt x="14429" y="29414"/>
                    </a:lnTo>
                    <a:cubicBezTo>
                      <a:pt x="14429" y="68262"/>
                      <a:pt x="14984" y="97676"/>
                      <a:pt x="16094" y="118765"/>
                    </a:cubicBezTo>
                    <a:cubicBezTo>
                      <a:pt x="16649" y="128754"/>
                      <a:pt x="17204" y="134859"/>
                      <a:pt x="17759" y="135969"/>
                    </a:cubicBezTo>
                    <a:cubicBezTo>
                      <a:pt x="19424" y="130419"/>
                      <a:pt x="22199" y="124869"/>
                      <a:pt x="26084" y="118210"/>
                    </a:cubicBezTo>
                    <a:cubicBezTo>
                      <a:pt x="29969" y="111550"/>
                      <a:pt x="33854" y="105445"/>
                      <a:pt x="38293" y="99896"/>
                    </a:cubicBezTo>
                    <a:cubicBezTo>
                      <a:pt x="46063" y="89351"/>
                      <a:pt x="54388" y="81026"/>
                      <a:pt x="63267" y="74922"/>
                    </a:cubicBezTo>
                    <a:cubicBezTo>
                      <a:pt x="72147" y="68817"/>
                      <a:pt x="80471" y="65487"/>
                      <a:pt x="87686" y="65487"/>
                    </a:cubicBezTo>
                    <a:cubicBezTo>
                      <a:pt x="92681" y="65487"/>
                      <a:pt x="96566" y="67152"/>
                      <a:pt x="99896" y="70482"/>
                    </a:cubicBezTo>
                    <a:cubicBezTo>
                      <a:pt x="103225" y="73812"/>
                      <a:pt x="104890" y="78252"/>
                      <a:pt x="104890" y="84356"/>
                    </a:cubicBezTo>
                    <a:cubicBezTo>
                      <a:pt x="105445" y="98231"/>
                      <a:pt x="99896" y="113215"/>
                      <a:pt x="89351" y="129309"/>
                    </a:cubicBezTo>
                    <a:close/>
                  </a:path>
                </a:pathLst>
              </a:custGeom>
              <a:solidFill>
                <a:srgbClr val="676767"/>
              </a:solidFill>
              <a:ln w="55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DF507AD3-1AB6-41A3-B080-22C42ED53F81}"/>
                  </a:ext>
                </a:extLst>
              </p:cNvPr>
              <p:cNvSpPr/>
              <p:nvPr/>
            </p:nvSpPr>
            <p:spPr>
              <a:xfrm>
                <a:off x="6577718" y="3857440"/>
                <a:ext cx="94900" cy="119874"/>
              </a:xfrm>
              <a:custGeom>
                <a:avLst/>
                <a:gdLst>
                  <a:gd name="connsiteX0" fmla="*/ 94901 w 94900"/>
                  <a:gd name="connsiteY0" fmla="*/ 59937 h 119874"/>
                  <a:gd name="connsiteX1" fmla="*/ 88241 w 94900"/>
                  <a:gd name="connsiteY1" fmla="*/ 79362 h 119874"/>
                  <a:gd name="connsiteX2" fmla="*/ 68817 w 94900"/>
                  <a:gd name="connsiteY2" fmla="*/ 107110 h 119874"/>
                  <a:gd name="connsiteX3" fmla="*/ 36628 w 94900"/>
                  <a:gd name="connsiteY3" fmla="*/ 119875 h 119874"/>
                  <a:gd name="connsiteX4" fmla="*/ 10545 w 94900"/>
                  <a:gd name="connsiteY4" fmla="*/ 109885 h 119874"/>
                  <a:gd name="connsiteX5" fmla="*/ 0 w 94900"/>
                  <a:gd name="connsiteY5" fmla="*/ 79917 h 119874"/>
                  <a:gd name="connsiteX6" fmla="*/ 8880 w 94900"/>
                  <a:gd name="connsiteY6" fmla="*/ 42178 h 119874"/>
                  <a:gd name="connsiteX7" fmla="*/ 31634 w 94900"/>
                  <a:gd name="connsiteY7" fmla="*/ 11655 h 119874"/>
                  <a:gd name="connsiteX8" fmla="*/ 61047 w 94900"/>
                  <a:gd name="connsiteY8" fmla="*/ 0 h 119874"/>
                  <a:gd name="connsiteX9" fmla="*/ 76032 w 94900"/>
                  <a:gd name="connsiteY9" fmla="*/ 3885 h 119874"/>
                  <a:gd name="connsiteX10" fmla="*/ 82136 w 94900"/>
                  <a:gd name="connsiteY10" fmla="*/ 15539 h 119874"/>
                  <a:gd name="connsiteX11" fmla="*/ 72702 w 94900"/>
                  <a:gd name="connsiteY11" fmla="*/ 32189 h 119874"/>
                  <a:gd name="connsiteX12" fmla="*/ 47728 w 94900"/>
                  <a:gd name="connsiteY12" fmla="*/ 46063 h 119874"/>
                  <a:gd name="connsiteX13" fmla="*/ 16094 w 94900"/>
                  <a:gd name="connsiteY13" fmla="*/ 54943 h 119874"/>
                  <a:gd name="connsiteX14" fmla="*/ 13320 w 94900"/>
                  <a:gd name="connsiteY14" fmla="*/ 76587 h 119874"/>
                  <a:gd name="connsiteX15" fmla="*/ 19979 w 94900"/>
                  <a:gd name="connsiteY15" fmla="*/ 98231 h 119874"/>
                  <a:gd name="connsiteX16" fmla="*/ 38848 w 94900"/>
                  <a:gd name="connsiteY16" fmla="*/ 106000 h 119874"/>
                  <a:gd name="connsiteX17" fmla="*/ 69372 w 94900"/>
                  <a:gd name="connsiteY17" fmla="*/ 92681 h 119874"/>
                  <a:gd name="connsiteX18" fmla="*/ 88796 w 94900"/>
                  <a:gd name="connsiteY18" fmla="*/ 62712 h 119874"/>
                  <a:gd name="connsiteX19" fmla="*/ 90461 w 94900"/>
                  <a:gd name="connsiteY19" fmla="*/ 58827 h 119874"/>
                  <a:gd name="connsiteX20" fmla="*/ 92681 w 94900"/>
                  <a:gd name="connsiteY20" fmla="*/ 56053 h 119874"/>
                  <a:gd name="connsiteX21" fmla="*/ 94901 w 94900"/>
                  <a:gd name="connsiteY21" fmla="*/ 59937 h 119874"/>
                  <a:gd name="connsiteX22" fmla="*/ 67707 w 94900"/>
                  <a:gd name="connsiteY22" fmla="*/ 12209 h 119874"/>
                  <a:gd name="connsiteX23" fmla="*/ 58272 w 94900"/>
                  <a:gd name="connsiteY23" fmla="*/ 9990 h 119874"/>
                  <a:gd name="connsiteX24" fmla="*/ 40513 w 94900"/>
                  <a:gd name="connsiteY24" fmla="*/ 16094 h 119874"/>
                  <a:gd name="connsiteX25" fmla="*/ 26084 w 94900"/>
                  <a:gd name="connsiteY25" fmla="*/ 30524 h 119874"/>
                  <a:gd name="connsiteX26" fmla="*/ 18869 w 94900"/>
                  <a:gd name="connsiteY26" fmla="*/ 45508 h 119874"/>
                  <a:gd name="connsiteX27" fmla="*/ 42733 w 94900"/>
                  <a:gd name="connsiteY27" fmla="*/ 39403 h 119874"/>
                  <a:gd name="connsiteX28" fmla="*/ 63267 w 94900"/>
                  <a:gd name="connsiteY28" fmla="*/ 28304 h 119874"/>
                  <a:gd name="connsiteX29" fmla="*/ 71592 w 94900"/>
                  <a:gd name="connsiteY29" fmla="*/ 18314 h 119874"/>
                  <a:gd name="connsiteX30" fmla="*/ 67707 w 94900"/>
                  <a:gd name="connsiteY30" fmla="*/ 12209 h 119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94900" h="119874">
                    <a:moveTo>
                      <a:pt x="94901" y="59937"/>
                    </a:moveTo>
                    <a:cubicBezTo>
                      <a:pt x="94901" y="62712"/>
                      <a:pt x="92681" y="69372"/>
                      <a:pt x="88241" y="79362"/>
                    </a:cubicBezTo>
                    <a:cubicBezTo>
                      <a:pt x="83801" y="89351"/>
                      <a:pt x="77697" y="98231"/>
                      <a:pt x="68817" y="107110"/>
                    </a:cubicBezTo>
                    <a:cubicBezTo>
                      <a:pt x="59937" y="115435"/>
                      <a:pt x="49393" y="119875"/>
                      <a:pt x="36628" y="119875"/>
                    </a:cubicBezTo>
                    <a:cubicBezTo>
                      <a:pt x="26084" y="119875"/>
                      <a:pt x="17759" y="116545"/>
                      <a:pt x="10545" y="109885"/>
                    </a:cubicBezTo>
                    <a:cubicBezTo>
                      <a:pt x="3330" y="103225"/>
                      <a:pt x="0" y="93236"/>
                      <a:pt x="0" y="79917"/>
                    </a:cubicBezTo>
                    <a:cubicBezTo>
                      <a:pt x="0" y="67152"/>
                      <a:pt x="2775" y="54943"/>
                      <a:pt x="8880" y="42178"/>
                    </a:cubicBezTo>
                    <a:cubicBezTo>
                      <a:pt x="14984" y="29969"/>
                      <a:pt x="22199" y="19424"/>
                      <a:pt x="31634" y="11655"/>
                    </a:cubicBezTo>
                    <a:cubicBezTo>
                      <a:pt x="41068" y="3885"/>
                      <a:pt x="50503" y="0"/>
                      <a:pt x="61047" y="0"/>
                    </a:cubicBezTo>
                    <a:cubicBezTo>
                      <a:pt x="67152" y="0"/>
                      <a:pt x="72147" y="1110"/>
                      <a:pt x="76032" y="3885"/>
                    </a:cubicBezTo>
                    <a:cubicBezTo>
                      <a:pt x="79917" y="6660"/>
                      <a:pt x="82136" y="10545"/>
                      <a:pt x="82136" y="15539"/>
                    </a:cubicBezTo>
                    <a:cubicBezTo>
                      <a:pt x="82136" y="21089"/>
                      <a:pt x="78807" y="26639"/>
                      <a:pt x="72702" y="32189"/>
                    </a:cubicBezTo>
                    <a:cubicBezTo>
                      <a:pt x="66042" y="37738"/>
                      <a:pt x="57718" y="42178"/>
                      <a:pt x="47728" y="46063"/>
                    </a:cubicBezTo>
                    <a:cubicBezTo>
                      <a:pt x="37738" y="49948"/>
                      <a:pt x="27194" y="53278"/>
                      <a:pt x="16094" y="54943"/>
                    </a:cubicBezTo>
                    <a:cubicBezTo>
                      <a:pt x="14429" y="62157"/>
                      <a:pt x="13320" y="69927"/>
                      <a:pt x="13320" y="76587"/>
                    </a:cubicBezTo>
                    <a:cubicBezTo>
                      <a:pt x="13320" y="86021"/>
                      <a:pt x="15539" y="93236"/>
                      <a:pt x="19979" y="98231"/>
                    </a:cubicBezTo>
                    <a:cubicBezTo>
                      <a:pt x="24419" y="103225"/>
                      <a:pt x="31079" y="106000"/>
                      <a:pt x="38848" y="106000"/>
                    </a:cubicBezTo>
                    <a:cubicBezTo>
                      <a:pt x="51613" y="106000"/>
                      <a:pt x="61602" y="101561"/>
                      <a:pt x="69372" y="92681"/>
                    </a:cubicBezTo>
                    <a:cubicBezTo>
                      <a:pt x="77142" y="83801"/>
                      <a:pt x="83801" y="73812"/>
                      <a:pt x="88796" y="62712"/>
                    </a:cubicBezTo>
                    <a:cubicBezTo>
                      <a:pt x="89351" y="62157"/>
                      <a:pt x="89906" y="61047"/>
                      <a:pt x="90461" y="58827"/>
                    </a:cubicBezTo>
                    <a:cubicBezTo>
                      <a:pt x="91016" y="57162"/>
                      <a:pt x="92126" y="56053"/>
                      <a:pt x="92681" y="56053"/>
                    </a:cubicBezTo>
                    <a:cubicBezTo>
                      <a:pt x="94346" y="56607"/>
                      <a:pt x="94901" y="57718"/>
                      <a:pt x="94901" y="59937"/>
                    </a:cubicBezTo>
                    <a:close/>
                    <a:moveTo>
                      <a:pt x="67707" y="12209"/>
                    </a:moveTo>
                    <a:cubicBezTo>
                      <a:pt x="64932" y="10545"/>
                      <a:pt x="62157" y="9990"/>
                      <a:pt x="58272" y="9990"/>
                    </a:cubicBezTo>
                    <a:cubicBezTo>
                      <a:pt x="52168" y="9990"/>
                      <a:pt x="46063" y="12209"/>
                      <a:pt x="40513" y="16094"/>
                    </a:cubicBezTo>
                    <a:cubicBezTo>
                      <a:pt x="34964" y="19979"/>
                      <a:pt x="29969" y="24974"/>
                      <a:pt x="26084" y="30524"/>
                    </a:cubicBezTo>
                    <a:cubicBezTo>
                      <a:pt x="22199" y="36073"/>
                      <a:pt x="19979" y="41068"/>
                      <a:pt x="18869" y="45508"/>
                    </a:cubicBezTo>
                    <a:cubicBezTo>
                      <a:pt x="26084" y="44953"/>
                      <a:pt x="34409" y="42733"/>
                      <a:pt x="42733" y="39403"/>
                    </a:cubicBezTo>
                    <a:cubicBezTo>
                      <a:pt x="51058" y="36073"/>
                      <a:pt x="57718" y="32189"/>
                      <a:pt x="63267" y="28304"/>
                    </a:cubicBezTo>
                    <a:cubicBezTo>
                      <a:pt x="68817" y="24419"/>
                      <a:pt x="71592" y="21089"/>
                      <a:pt x="71592" y="18314"/>
                    </a:cubicBezTo>
                    <a:cubicBezTo>
                      <a:pt x="71592" y="15539"/>
                      <a:pt x="70482" y="13874"/>
                      <a:pt x="67707" y="12209"/>
                    </a:cubicBezTo>
                    <a:close/>
                  </a:path>
                </a:pathLst>
              </a:custGeom>
              <a:solidFill>
                <a:srgbClr val="676767"/>
              </a:solidFill>
              <a:ln w="55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576E0C06-7F1C-41AE-8F8A-91A517AB6429}"/>
                  </a:ext>
                </a:extLst>
              </p:cNvPr>
              <p:cNvSpPr/>
              <p:nvPr/>
            </p:nvSpPr>
            <p:spPr>
              <a:xfrm>
                <a:off x="6688713" y="3855220"/>
                <a:ext cx="90461" cy="128754"/>
              </a:xfrm>
              <a:custGeom>
                <a:avLst/>
                <a:gdLst>
                  <a:gd name="connsiteX0" fmla="*/ 82136 w 90461"/>
                  <a:gd name="connsiteY0" fmla="*/ 107110 h 128754"/>
                  <a:gd name="connsiteX1" fmla="*/ 59382 w 90461"/>
                  <a:gd name="connsiteY1" fmla="*/ 122650 h 128754"/>
                  <a:gd name="connsiteX2" fmla="*/ 29969 w 90461"/>
                  <a:gd name="connsiteY2" fmla="*/ 128754 h 128754"/>
                  <a:gd name="connsiteX3" fmla="*/ 16094 w 90461"/>
                  <a:gd name="connsiteY3" fmla="*/ 126534 h 128754"/>
                  <a:gd name="connsiteX4" fmla="*/ 12210 w 90461"/>
                  <a:gd name="connsiteY4" fmla="*/ 120985 h 128754"/>
                  <a:gd name="connsiteX5" fmla="*/ 17759 w 90461"/>
                  <a:gd name="connsiteY5" fmla="*/ 113215 h 128754"/>
                  <a:gd name="connsiteX6" fmla="*/ 25529 w 90461"/>
                  <a:gd name="connsiteY6" fmla="*/ 107665 h 128754"/>
                  <a:gd name="connsiteX7" fmla="*/ 28304 w 90461"/>
                  <a:gd name="connsiteY7" fmla="*/ 108775 h 128754"/>
                  <a:gd name="connsiteX8" fmla="*/ 27194 w 90461"/>
                  <a:gd name="connsiteY8" fmla="*/ 110995 h 128754"/>
                  <a:gd name="connsiteX9" fmla="*/ 26084 w 90461"/>
                  <a:gd name="connsiteY9" fmla="*/ 112660 h 128754"/>
                  <a:gd name="connsiteX10" fmla="*/ 28859 w 90461"/>
                  <a:gd name="connsiteY10" fmla="*/ 114325 h 128754"/>
                  <a:gd name="connsiteX11" fmla="*/ 36073 w 90461"/>
                  <a:gd name="connsiteY11" fmla="*/ 115435 h 128754"/>
                  <a:gd name="connsiteX12" fmla="*/ 56608 w 90461"/>
                  <a:gd name="connsiteY12" fmla="*/ 111550 h 128754"/>
                  <a:gd name="connsiteX13" fmla="*/ 73812 w 90461"/>
                  <a:gd name="connsiteY13" fmla="*/ 101561 h 128754"/>
                  <a:gd name="connsiteX14" fmla="*/ 80471 w 90461"/>
                  <a:gd name="connsiteY14" fmla="*/ 88796 h 128754"/>
                  <a:gd name="connsiteX15" fmla="*/ 76587 w 90461"/>
                  <a:gd name="connsiteY15" fmla="*/ 78251 h 128754"/>
                  <a:gd name="connsiteX16" fmla="*/ 66042 w 90461"/>
                  <a:gd name="connsiteY16" fmla="*/ 72702 h 128754"/>
                  <a:gd name="connsiteX17" fmla="*/ 44953 w 90461"/>
                  <a:gd name="connsiteY17" fmla="*/ 67707 h 128754"/>
                  <a:gd name="connsiteX18" fmla="*/ 19979 w 90461"/>
                  <a:gd name="connsiteY18" fmla="*/ 61047 h 128754"/>
                  <a:gd name="connsiteX19" fmla="*/ 5550 w 90461"/>
                  <a:gd name="connsiteY19" fmla="*/ 53833 h 128754"/>
                  <a:gd name="connsiteX20" fmla="*/ 0 w 90461"/>
                  <a:gd name="connsiteY20" fmla="*/ 42733 h 128754"/>
                  <a:gd name="connsiteX21" fmla="*/ 11655 w 90461"/>
                  <a:gd name="connsiteY21" fmla="*/ 21089 h 128754"/>
                  <a:gd name="connsiteX22" fmla="*/ 37738 w 90461"/>
                  <a:gd name="connsiteY22" fmla="*/ 5550 h 128754"/>
                  <a:gd name="connsiteX23" fmla="*/ 60492 w 90461"/>
                  <a:gd name="connsiteY23" fmla="*/ 0 h 128754"/>
                  <a:gd name="connsiteX24" fmla="*/ 68817 w 90461"/>
                  <a:gd name="connsiteY24" fmla="*/ 4995 h 128754"/>
                  <a:gd name="connsiteX25" fmla="*/ 67152 w 90461"/>
                  <a:gd name="connsiteY25" fmla="*/ 11654 h 128754"/>
                  <a:gd name="connsiteX26" fmla="*/ 61047 w 90461"/>
                  <a:gd name="connsiteY26" fmla="*/ 14984 h 128754"/>
                  <a:gd name="connsiteX27" fmla="*/ 57718 w 90461"/>
                  <a:gd name="connsiteY27" fmla="*/ 13874 h 128754"/>
                  <a:gd name="connsiteX28" fmla="*/ 54388 w 90461"/>
                  <a:gd name="connsiteY28" fmla="*/ 12764 h 128754"/>
                  <a:gd name="connsiteX29" fmla="*/ 38848 w 90461"/>
                  <a:gd name="connsiteY29" fmla="*/ 16094 h 128754"/>
                  <a:gd name="connsiteX30" fmla="*/ 19979 w 90461"/>
                  <a:gd name="connsiteY30" fmla="*/ 25529 h 128754"/>
                  <a:gd name="connsiteX31" fmla="*/ 11655 w 90461"/>
                  <a:gd name="connsiteY31" fmla="*/ 41068 h 128754"/>
                  <a:gd name="connsiteX32" fmla="*/ 18314 w 90461"/>
                  <a:gd name="connsiteY32" fmla="*/ 49948 h 128754"/>
                  <a:gd name="connsiteX33" fmla="*/ 43288 w 90461"/>
                  <a:gd name="connsiteY33" fmla="*/ 57162 h 128754"/>
                  <a:gd name="connsiteX34" fmla="*/ 47728 w 90461"/>
                  <a:gd name="connsiteY34" fmla="*/ 58272 h 128754"/>
                  <a:gd name="connsiteX35" fmla="*/ 51613 w 90461"/>
                  <a:gd name="connsiteY35" fmla="*/ 59382 h 128754"/>
                  <a:gd name="connsiteX36" fmla="*/ 80471 w 90461"/>
                  <a:gd name="connsiteY36" fmla="*/ 69372 h 128754"/>
                  <a:gd name="connsiteX37" fmla="*/ 90461 w 90461"/>
                  <a:gd name="connsiteY37" fmla="*/ 86021 h 128754"/>
                  <a:gd name="connsiteX38" fmla="*/ 82136 w 90461"/>
                  <a:gd name="connsiteY38" fmla="*/ 107110 h 1287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90461" h="128754">
                    <a:moveTo>
                      <a:pt x="82136" y="107110"/>
                    </a:moveTo>
                    <a:cubicBezTo>
                      <a:pt x="76587" y="113770"/>
                      <a:pt x="68817" y="118765"/>
                      <a:pt x="59382" y="122650"/>
                    </a:cubicBezTo>
                    <a:cubicBezTo>
                      <a:pt x="49948" y="126534"/>
                      <a:pt x="39958" y="128754"/>
                      <a:pt x="29969" y="128754"/>
                    </a:cubicBezTo>
                    <a:cubicBezTo>
                      <a:pt x="22754" y="128754"/>
                      <a:pt x="18314" y="128199"/>
                      <a:pt x="16094" y="126534"/>
                    </a:cubicBezTo>
                    <a:cubicBezTo>
                      <a:pt x="13874" y="124869"/>
                      <a:pt x="12210" y="123205"/>
                      <a:pt x="12210" y="120985"/>
                    </a:cubicBezTo>
                    <a:cubicBezTo>
                      <a:pt x="12210" y="119320"/>
                      <a:pt x="13874" y="117100"/>
                      <a:pt x="17759" y="113215"/>
                    </a:cubicBezTo>
                    <a:cubicBezTo>
                      <a:pt x="21644" y="109330"/>
                      <a:pt x="23864" y="107665"/>
                      <a:pt x="25529" y="107665"/>
                    </a:cubicBezTo>
                    <a:cubicBezTo>
                      <a:pt x="27194" y="107665"/>
                      <a:pt x="28304" y="108220"/>
                      <a:pt x="28304" y="108775"/>
                    </a:cubicBezTo>
                    <a:cubicBezTo>
                      <a:pt x="28304" y="109330"/>
                      <a:pt x="27749" y="109885"/>
                      <a:pt x="27194" y="110995"/>
                    </a:cubicBezTo>
                    <a:cubicBezTo>
                      <a:pt x="26639" y="111550"/>
                      <a:pt x="26084" y="112105"/>
                      <a:pt x="26084" y="112660"/>
                    </a:cubicBezTo>
                    <a:cubicBezTo>
                      <a:pt x="26084" y="113215"/>
                      <a:pt x="27194" y="113770"/>
                      <a:pt x="28859" y="114325"/>
                    </a:cubicBezTo>
                    <a:cubicBezTo>
                      <a:pt x="31079" y="114880"/>
                      <a:pt x="33299" y="115435"/>
                      <a:pt x="36073" y="115435"/>
                    </a:cubicBezTo>
                    <a:cubicBezTo>
                      <a:pt x="42733" y="115435"/>
                      <a:pt x="49948" y="114325"/>
                      <a:pt x="56608" y="111550"/>
                    </a:cubicBezTo>
                    <a:cubicBezTo>
                      <a:pt x="63267" y="108775"/>
                      <a:pt x="69372" y="106000"/>
                      <a:pt x="73812" y="101561"/>
                    </a:cubicBezTo>
                    <a:cubicBezTo>
                      <a:pt x="78252" y="97676"/>
                      <a:pt x="80471" y="93236"/>
                      <a:pt x="80471" y="88796"/>
                    </a:cubicBezTo>
                    <a:cubicBezTo>
                      <a:pt x="80471" y="84356"/>
                      <a:pt x="79362" y="81026"/>
                      <a:pt x="76587" y="78251"/>
                    </a:cubicBezTo>
                    <a:cubicBezTo>
                      <a:pt x="73812" y="75477"/>
                      <a:pt x="70482" y="73812"/>
                      <a:pt x="66042" y="72702"/>
                    </a:cubicBezTo>
                    <a:cubicBezTo>
                      <a:pt x="62157" y="71592"/>
                      <a:pt x="54943" y="69927"/>
                      <a:pt x="44953" y="67707"/>
                    </a:cubicBezTo>
                    <a:cubicBezTo>
                      <a:pt x="34409" y="65487"/>
                      <a:pt x="26084" y="63267"/>
                      <a:pt x="19979" y="61047"/>
                    </a:cubicBezTo>
                    <a:cubicBezTo>
                      <a:pt x="13874" y="59382"/>
                      <a:pt x="9435" y="56607"/>
                      <a:pt x="5550" y="53833"/>
                    </a:cubicBezTo>
                    <a:cubicBezTo>
                      <a:pt x="2220" y="51058"/>
                      <a:pt x="0" y="47173"/>
                      <a:pt x="0" y="42733"/>
                    </a:cubicBezTo>
                    <a:cubicBezTo>
                      <a:pt x="0" y="34963"/>
                      <a:pt x="3885" y="27749"/>
                      <a:pt x="11655" y="21089"/>
                    </a:cubicBezTo>
                    <a:cubicBezTo>
                      <a:pt x="19424" y="14429"/>
                      <a:pt x="28304" y="9435"/>
                      <a:pt x="37738" y="5550"/>
                    </a:cubicBezTo>
                    <a:cubicBezTo>
                      <a:pt x="47728" y="1665"/>
                      <a:pt x="55498" y="0"/>
                      <a:pt x="60492" y="0"/>
                    </a:cubicBezTo>
                    <a:cubicBezTo>
                      <a:pt x="66042" y="0"/>
                      <a:pt x="68817" y="1665"/>
                      <a:pt x="68817" y="4995"/>
                    </a:cubicBezTo>
                    <a:cubicBezTo>
                      <a:pt x="68817" y="6660"/>
                      <a:pt x="68262" y="8880"/>
                      <a:pt x="67152" y="11654"/>
                    </a:cubicBezTo>
                    <a:cubicBezTo>
                      <a:pt x="66042" y="13874"/>
                      <a:pt x="63822" y="14984"/>
                      <a:pt x="61047" y="14984"/>
                    </a:cubicBezTo>
                    <a:cubicBezTo>
                      <a:pt x="59937" y="14984"/>
                      <a:pt x="58827" y="14429"/>
                      <a:pt x="57718" y="13874"/>
                    </a:cubicBezTo>
                    <a:cubicBezTo>
                      <a:pt x="56608" y="13319"/>
                      <a:pt x="55498" y="12764"/>
                      <a:pt x="54388" y="12764"/>
                    </a:cubicBezTo>
                    <a:cubicBezTo>
                      <a:pt x="51058" y="12764"/>
                      <a:pt x="46063" y="13874"/>
                      <a:pt x="38848" y="16094"/>
                    </a:cubicBezTo>
                    <a:cubicBezTo>
                      <a:pt x="31634" y="18314"/>
                      <a:pt x="25529" y="21089"/>
                      <a:pt x="19979" y="25529"/>
                    </a:cubicBezTo>
                    <a:cubicBezTo>
                      <a:pt x="14429" y="29969"/>
                      <a:pt x="11655" y="34963"/>
                      <a:pt x="11655" y="41068"/>
                    </a:cubicBezTo>
                    <a:cubicBezTo>
                      <a:pt x="11655" y="44953"/>
                      <a:pt x="13874" y="47728"/>
                      <a:pt x="18314" y="49948"/>
                    </a:cubicBezTo>
                    <a:cubicBezTo>
                      <a:pt x="22754" y="51613"/>
                      <a:pt x="31079" y="54388"/>
                      <a:pt x="43288" y="57162"/>
                    </a:cubicBezTo>
                    <a:cubicBezTo>
                      <a:pt x="44953" y="57717"/>
                      <a:pt x="46063" y="58272"/>
                      <a:pt x="47728" y="58272"/>
                    </a:cubicBezTo>
                    <a:cubicBezTo>
                      <a:pt x="49393" y="58272"/>
                      <a:pt x="50503" y="58827"/>
                      <a:pt x="51613" y="59382"/>
                    </a:cubicBezTo>
                    <a:cubicBezTo>
                      <a:pt x="63822" y="62157"/>
                      <a:pt x="73812" y="65487"/>
                      <a:pt x="80471" y="69372"/>
                    </a:cubicBezTo>
                    <a:cubicBezTo>
                      <a:pt x="87131" y="73257"/>
                      <a:pt x="90461" y="78807"/>
                      <a:pt x="90461" y="86021"/>
                    </a:cubicBezTo>
                    <a:cubicBezTo>
                      <a:pt x="90461" y="93791"/>
                      <a:pt x="87686" y="101006"/>
                      <a:pt x="82136" y="107110"/>
                    </a:cubicBezTo>
                    <a:close/>
                  </a:path>
                </a:pathLst>
              </a:custGeom>
              <a:solidFill>
                <a:srgbClr val="676767"/>
              </a:solidFill>
              <a:ln w="55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4A8CC901-5F7C-4D57-A566-510C810B70D0}"/>
                  </a:ext>
                </a:extLst>
              </p:cNvPr>
              <p:cNvSpPr/>
              <p:nvPr/>
            </p:nvSpPr>
            <p:spPr>
              <a:xfrm>
                <a:off x="6788608" y="3824697"/>
                <a:ext cx="119319" cy="155393"/>
              </a:xfrm>
              <a:custGeom>
                <a:avLst/>
                <a:gdLst>
                  <a:gd name="connsiteX0" fmla="*/ 115990 w 119319"/>
                  <a:gd name="connsiteY0" fmla="*/ 57162 h 155393"/>
                  <a:gd name="connsiteX1" fmla="*/ 103225 w 119319"/>
                  <a:gd name="connsiteY1" fmla="*/ 60492 h 155393"/>
                  <a:gd name="connsiteX2" fmla="*/ 78252 w 119319"/>
                  <a:gd name="connsiteY2" fmla="*/ 64932 h 155393"/>
                  <a:gd name="connsiteX3" fmla="*/ 62712 w 119319"/>
                  <a:gd name="connsiteY3" fmla="*/ 67707 h 155393"/>
                  <a:gd name="connsiteX4" fmla="*/ 63267 w 119319"/>
                  <a:gd name="connsiteY4" fmla="*/ 94346 h 155393"/>
                  <a:gd name="connsiteX5" fmla="*/ 64377 w 119319"/>
                  <a:gd name="connsiteY5" fmla="*/ 118765 h 155393"/>
                  <a:gd name="connsiteX6" fmla="*/ 67707 w 119319"/>
                  <a:gd name="connsiteY6" fmla="*/ 140409 h 155393"/>
                  <a:gd name="connsiteX7" fmla="*/ 70482 w 119319"/>
                  <a:gd name="connsiteY7" fmla="*/ 148733 h 155393"/>
                  <a:gd name="connsiteX8" fmla="*/ 67707 w 119319"/>
                  <a:gd name="connsiteY8" fmla="*/ 153173 h 155393"/>
                  <a:gd name="connsiteX9" fmla="*/ 62157 w 119319"/>
                  <a:gd name="connsiteY9" fmla="*/ 155393 h 155393"/>
                  <a:gd name="connsiteX10" fmla="*/ 59937 w 119319"/>
                  <a:gd name="connsiteY10" fmla="*/ 154283 h 155393"/>
                  <a:gd name="connsiteX11" fmla="*/ 58272 w 119319"/>
                  <a:gd name="connsiteY11" fmla="*/ 151508 h 155393"/>
                  <a:gd name="connsiteX12" fmla="*/ 55498 w 119319"/>
                  <a:gd name="connsiteY12" fmla="*/ 138744 h 155393"/>
                  <a:gd name="connsiteX13" fmla="*/ 53278 w 119319"/>
                  <a:gd name="connsiteY13" fmla="*/ 118210 h 155393"/>
                  <a:gd name="connsiteX14" fmla="*/ 52168 w 119319"/>
                  <a:gd name="connsiteY14" fmla="*/ 94901 h 155393"/>
                  <a:gd name="connsiteX15" fmla="*/ 51613 w 119319"/>
                  <a:gd name="connsiteY15" fmla="*/ 69372 h 155393"/>
                  <a:gd name="connsiteX16" fmla="*/ 23864 w 119319"/>
                  <a:gd name="connsiteY16" fmla="*/ 74922 h 155393"/>
                  <a:gd name="connsiteX17" fmla="*/ 8325 w 119319"/>
                  <a:gd name="connsiteY17" fmla="*/ 77697 h 155393"/>
                  <a:gd name="connsiteX18" fmla="*/ 2775 w 119319"/>
                  <a:gd name="connsiteY18" fmla="*/ 76032 h 155393"/>
                  <a:gd name="connsiteX19" fmla="*/ 0 w 119319"/>
                  <a:gd name="connsiteY19" fmla="*/ 71592 h 155393"/>
                  <a:gd name="connsiteX20" fmla="*/ 2220 w 119319"/>
                  <a:gd name="connsiteY20" fmla="*/ 67707 h 155393"/>
                  <a:gd name="connsiteX21" fmla="*/ 9435 w 119319"/>
                  <a:gd name="connsiteY21" fmla="*/ 66597 h 155393"/>
                  <a:gd name="connsiteX22" fmla="*/ 19979 w 119319"/>
                  <a:gd name="connsiteY22" fmla="*/ 65487 h 155393"/>
                  <a:gd name="connsiteX23" fmla="*/ 28859 w 119319"/>
                  <a:gd name="connsiteY23" fmla="*/ 63822 h 155393"/>
                  <a:gd name="connsiteX24" fmla="*/ 51058 w 119319"/>
                  <a:gd name="connsiteY24" fmla="*/ 59937 h 155393"/>
                  <a:gd name="connsiteX25" fmla="*/ 50503 w 119319"/>
                  <a:gd name="connsiteY25" fmla="*/ 46618 h 155393"/>
                  <a:gd name="connsiteX26" fmla="*/ 49948 w 119319"/>
                  <a:gd name="connsiteY26" fmla="*/ 29414 h 155393"/>
                  <a:gd name="connsiteX27" fmla="*/ 50503 w 119319"/>
                  <a:gd name="connsiteY27" fmla="*/ 14429 h 155393"/>
                  <a:gd name="connsiteX28" fmla="*/ 52723 w 119319"/>
                  <a:gd name="connsiteY28" fmla="*/ 4995 h 155393"/>
                  <a:gd name="connsiteX29" fmla="*/ 59937 w 119319"/>
                  <a:gd name="connsiteY29" fmla="*/ 0 h 155393"/>
                  <a:gd name="connsiteX30" fmla="*/ 62712 w 119319"/>
                  <a:gd name="connsiteY30" fmla="*/ 555 h 155393"/>
                  <a:gd name="connsiteX31" fmla="*/ 63267 w 119319"/>
                  <a:gd name="connsiteY31" fmla="*/ 3330 h 155393"/>
                  <a:gd name="connsiteX32" fmla="*/ 62157 w 119319"/>
                  <a:gd name="connsiteY32" fmla="*/ 11654 h 155393"/>
                  <a:gd name="connsiteX33" fmla="*/ 61047 w 119319"/>
                  <a:gd name="connsiteY33" fmla="*/ 30524 h 155393"/>
                  <a:gd name="connsiteX34" fmla="*/ 61602 w 119319"/>
                  <a:gd name="connsiteY34" fmla="*/ 50503 h 155393"/>
                  <a:gd name="connsiteX35" fmla="*/ 61602 w 119319"/>
                  <a:gd name="connsiteY35" fmla="*/ 57162 h 155393"/>
                  <a:gd name="connsiteX36" fmla="*/ 104890 w 119319"/>
                  <a:gd name="connsiteY36" fmla="*/ 48283 h 155393"/>
                  <a:gd name="connsiteX37" fmla="*/ 108220 w 119319"/>
                  <a:gd name="connsiteY37" fmla="*/ 44953 h 155393"/>
                  <a:gd name="connsiteX38" fmla="*/ 110995 w 119319"/>
                  <a:gd name="connsiteY38" fmla="*/ 42178 h 155393"/>
                  <a:gd name="connsiteX39" fmla="*/ 116545 w 119319"/>
                  <a:gd name="connsiteY39" fmla="*/ 44953 h 155393"/>
                  <a:gd name="connsiteX40" fmla="*/ 119320 w 119319"/>
                  <a:gd name="connsiteY40" fmla="*/ 51058 h 155393"/>
                  <a:gd name="connsiteX41" fmla="*/ 115990 w 119319"/>
                  <a:gd name="connsiteY41" fmla="*/ 57162 h 155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19319" h="155393">
                    <a:moveTo>
                      <a:pt x="115990" y="57162"/>
                    </a:moveTo>
                    <a:cubicBezTo>
                      <a:pt x="113770" y="58827"/>
                      <a:pt x="109330" y="59937"/>
                      <a:pt x="103225" y="60492"/>
                    </a:cubicBezTo>
                    <a:cubicBezTo>
                      <a:pt x="88241" y="63267"/>
                      <a:pt x="79917" y="64377"/>
                      <a:pt x="78252" y="64932"/>
                    </a:cubicBezTo>
                    <a:lnTo>
                      <a:pt x="62712" y="67707"/>
                    </a:lnTo>
                    <a:cubicBezTo>
                      <a:pt x="62712" y="76032"/>
                      <a:pt x="62712" y="84911"/>
                      <a:pt x="63267" y="94346"/>
                    </a:cubicBezTo>
                    <a:cubicBezTo>
                      <a:pt x="63267" y="103780"/>
                      <a:pt x="63822" y="111550"/>
                      <a:pt x="64377" y="118765"/>
                    </a:cubicBezTo>
                    <a:cubicBezTo>
                      <a:pt x="64932" y="128199"/>
                      <a:pt x="66042" y="135414"/>
                      <a:pt x="67707" y="140409"/>
                    </a:cubicBezTo>
                    <a:cubicBezTo>
                      <a:pt x="69372" y="145404"/>
                      <a:pt x="70482" y="148178"/>
                      <a:pt x="70482" y="148733"/>
                    </a:cubicBezTo>
                    <a:cubicBezTo>
                      <a:pt x="70482" y="150398"/>
                      <a:pt x="69372" y="152063"/>
                      <a:pt x="67707" y="153173"/>
                    </a:cubicBezTo>
                    <a:cubicBezTo>
                      <a:pt x="65487" y="154283"/>
                      <a:pt x="63822" y="155393"/>
                      <a:pt x="62157" y="155393"/>
                    </a:cubicBezTo>
                    <a:cubicBezTo>
                      <a:pt x="61047" y="155393"/>
                      <a:pt x="60492" y="154838"/>
                      <a:pt x="59937" y="154283"/>
                    </a:cubicBezTo>
                    <a:cubicBezTo>
                      <a:pt x="59382" y="153728"/>
                      <a:pt x="58827" y="152618"/>
                      <a:pt x="58272" y="151508"/>
                    </a:cubicBezTo>
                    <a:cubicBezTo>
                      <a:pt x="57163" y="149288"/>
                      <a:pt x="56608" y="144849"/>
                      <a:pt x="55498" y="138744"/>
                    </a:cubicBezTo>
                    <a:cubicBezTo>
                      <a:pt x="54388" y="132639"/>
                      <a:pt x="53833" y="125979"/>
                      <a:pt x="53278" y="118210"/>
                    </a:cubicBezTo>
                    <a:cubicBezTo>
                      <a:pt x="52723" y="111550"/>
                      <a:pt x="52168" y="103780"/>
                      <a:pt x="52168" y="94901"/>
                    </a:cubicBezTo>
                    <a:cubicBezTo>
                      <a:pt x="52168" y="86021"/>
                      <a:pt x="51613" y="77697"/>
                      <a:pt x="51613" y="69372"/>
                    </a:cubicBezTo>
                    <a:cubicBezTo>
                      <a:pt x="42733" y="71037"/>
                      <a:pt x="33299" y="72702"/>
                      <a:pt x="23864" y="74922"/>
                    </a:cubicBezTo>
                    <a:cubicBezTo>
                      <a:pt x="15539" y="76587"/>
                      <a:pt x="9990" y="77697"/>
                      <a:pt x="8325" y="77697"/>
                    </a:cubicBezTo>
                    <a:cubicBezTo>
                      <a:pt x="6105" y="77697"/>
                      <a:pt x="4440" y="77142"/>
                      <a:pt x="2775" y="76032"/>
                    </a:cubicBezTo>
                    <a:cubicBezTo>
                      <a:pt x="1110" y="74922"/>
                      <a:pt x="0" y="73257"/>
                      <a:pt x="0" y="71592"/>
                    </a:cubicBezTo>
                    <a:cubicBezTo>
                      <a:pt x="0" y="69372"/>
                      <a:pt x="555" y="68262"/>
                      <a:pt x="2220" y="67707"/>
                    </a:cubicBezTo>
                    <a:cubicBezTo>
                      <a:pt x="3885" y="67152"/>
                      <a:pt x="6105" y="66597"/>
                      <a:pt x="9435" y="66597"/>
                    </a:cubicBezTo>
                    <a:cubicBezTo>
                      <a:pt x="11655" y="66597"/>
                      <a:pt x="15539" y="66042"/>
                      <a:pt x="19979" y="65487"/>
                    </a:cubicBezTo>
                    <a:cubicBezTo>
                      <a:pt x="24419" y="64377"/>
                      <a:pt x="27749" y="63822"/>
                      <a:pt x="28859" y="63822"/>
                    </a:cubicBezTo>
                    <a:cubicBezTo>
                      <a:pt x="39958" y="61602"/>
                      <a:pt x="47173" y="60492"/>
                      <a:pt x="51058" y="59937"/>
                    </a:cubicBezTo>
                    <a:cubicBezTo>
                      <a:pt x="51058" y="56607"/>
                      <a:pt x="51058" y="52168"/>
                      <a:pt x="50503" y="46618"/>
                    </a:cubicBezTo>
                    <a:cubicBezTo>
                      <a:pt x="49948" y="39403"/>
                      <a:pt x="49948" y="33299"/>
                      <a:pt x="49948" y="29414"/>
                    </a:cubicBezTo>
                    <a:cubicBezTo>
                      <a:pt x="49948" y="23309"/>
                      <a:pt x="49948" y="18314"/>
                      <a:pt x="50503" y="14429"/>
                    </a:cubicBezTo>
                    <a:cubicBezTo>
                      <a:pt x="51058" y="11100"/>
                      <a:pt x="51613" y="7770"/>
                      <a:pt x="52723" y="4995"/>
                    </a:cubicBezTo>
                    <a:cubicBezTo>
                      <a:pt x="53833" y="1665"/>
                      <a:pt x="56608" y="0"/>
                      <a:pt x="59937" y="0"/>
                    </a:cubicBezTo>
                    <a:cubicBezTo>
                      <a:pt x="61602" y="0"/>
                      <a:pt x="62157" y="0"/>
                      <a:pt x="62712" y="555"/>
                    </a:cubicBezTo>
                    <a:cubicBezTo>
                      <a:pt x="63267" y="1110"/>
                      <a:pt x="63267" y="1665"/>
                      <a:pt x="63267" y="3330"/>
                    </a:cubicBezTo>
                    <a:cubicBezTo>
                      <a:pt x="63267" y="4440"/>
                      <a:pt x="62712" y="7215"/>
                      <a:pt x="62157" y="11654"/>
                    </a:cubicBezTo>
                    <a:cubicBezTo>
                      <a:pt x="61602" y="16649"/>
                      <a:pt x="61047" y="22754"/>
                      <a:pt x="61047" y="30524"/>
                    </a:cubicBezTo>
                    <a:cubicBezTo>
                      <a:pt x="61047" y="36628"/>
                      <a:pt x="61047" y="43288"/>
                      <a:pt x="61602" y="50503"/>
                    </a:cubicBezTo>
                    <a:lnTo>
                      <a:pt x="61602" y="57162"/>
                    </a:lnTo>
                    <a:cubicBezTo>
                      <a:pt x="68817" y="56052"/>
                      <a:pt x="83246" y="53278"/>
                      <a:pt x="104890" y="48283"/>
                    </a:cubicBezTo>
                    <a:cubicBezTo>
                      <a:pt x="106000" y="47728"/>
                      <a:pt x="107110" y="46618"/>
                      <a:pt x="108220" y="44953"/>
                    </a:cubicBezTo>
                    <a:cubicBezTo>
                      <a:pt x="109330" y="43288"/>
                      <a:pt x="109885" y="42178"/>
                      <a:pt x="110995" y="42178"/>
                    </a:cubicBezTo>
                    <a:cubicBezTo>
                      <a:pt x="112660" y="42178"/>
                      <a:pt x="114880" y="43288"/>
                      <a:pt x="116545" y="44953"/>
                    </a:cubicBezTo>
                    <a:cubicBezTo>
                      <a:pt x="118210" y="47173"/>
                      <a:pt x="119320" y="48838"/>
                      <a:pt x="119320" y="51058"/>
                    </a:cubicBezTo>
                    <a:cubicBezTo>
                      <a:pt x="119320" y="53278"/>
                      <a:pt x="118210" y="55498"/>
                      <a:pt x="115990" y="57162"/>
                    </a:cubicBezTo>
                    <a:close/>
                  </a:path>
                </a:pathLst>
              </a:custGeom>
              <a:solidFill>
                <a:srgbClr val="676767"/>
              </a:solidFill>
              <a:ln w="55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" name="Freihandform: Form 56">
                <a:extLst>
                  <a:ext uri="{FF2B5EF4-FFF2-40B4-BE49-F238E27FC236}">
                    <a16:creationId xmlns:a16="http://schemas.microsoft.com/office/drawing/2014/main" id="{40173BFE-3FE2-4393-ADD9-88208DFDD16C}"/>
                  </a:ext>
                </a:extLst>
              </p:cNvPr>
              <p:cNvSpPr/>
              <p:nvPr/>
            </p:nvSpPr>
            <p:spPr>
              <a:xfrm>
                <a:off x="6985070" y="3857995"/>
                <a:ext cx="109330" cy="120429"/>
              </a:xfrm>
              <a:custGeom>
                <a:avLst/>
                <a:gdLst>
                  <a:gd name="connsiteX0" fmla="*/ 107665 w 109330"/>
                  <a:gd name="connsiteY0" fmla="*/ 106000 h 120429"/>
                  <a:gd name="connsiteX1" fmla="*/ 109330 w 109330"/>
                  <a:gd name="connsiteY1" fmla="*/ 108775 h 120429"/>
                  <a:gd name="connsiteX2" fmla="*/ 107110 w 109330"/>
                  <a:gd name="connsiteY2" fmla="*/ 115435 h 120429"/>
                  <a:gd name="connsiteX3" fmla="*/ 102115 w 109330"/>
                  <a:gd name="connsiteY3" fmla="*/ 119320 h 120429"/>
                  <a:gd name="connsiteX4" fmla="*/ 96011 w 109330"/>
                  <a:gd name="connsiteY4" fmla="*/ 114325 h 120429"/>
                  <a:gd name="connsiteX5" fmla="*/ 93791 w 109330"/>
                  <a:gd name="connsiteY5" fmla="*/ 102670 h 120429"/>
                  <a:gd name="connsiteX6" fmla="*/ 94346 w 109330"/>
                  <a:gd name="connsiteY6" fmla="*/ 67707 h 120429"/>
                  <a:gd name="connsiteX7" fmla="*/ 94346 w 109330"/>
                  <a:gd name="connsiteY7" fmla="*/ 58272 h 120429"/>
                  <a:gd name="connsiteX8" fmla="*/ 91571 w 109330"/>
                  <a:gd name="connsiteY8" fmla="*/ 50503 h 120429"/>
                  <a:gd name="connsiteX9" fmla="*/ 71037 w 109330"/>
                  <a:gd name="connsiteY9" fmla="*/ 82691 h 120429"/>
                  <a:gd name="connsiteX10" fmla="*/ 47173 w 109330"/>
                  <a:gd name="connsiteY10" fmla="*/ 108220 h 120429"/>
                  <a:gd name="connsiteX11" fmla="*/ 16649 w 109330"/>
                  <a:gd name="connsiteY11" fmla="*/ 120430 h 120429"/>
                  <a:gd name="connsiteX12" fmla="*/ 4440 w 109330"/>
                  <a:gd name="connsiteY12" fmla="*/ 115435 h 120429"/>
                  <a:gd name="connsiteX13" fmla="*/ 0 w 109330"/>
                  <a:gd name="connsiteY13" fmla="*/ 102670 h 120429"/>
                  <a:gd name="connsiteX14" fmla="*/ 8879 w 109330"/>
                  <a:gd name="connsiteY14" fmla="*/ 76032 h 120429"/>
                  <a:gd name="connsiteX15" fmla="*/ 31078 w 109330"/>
                  <a:gd name="connsiteY15" fmla="*/ 41623 h 120429"/>
                  <a:gd name="connsiteX16" fmla="*/ 58272 w 109330"/>
                  <a:gd name="connsiteY16" fmla="*/ 12764 h 120429"/>
                  <a:gd name="connsiteX17" fmla="*/ 72702 w 109330"/>
                  <a:gd name="connsiteY17" fmla="*/ 2775 h 120429"/>
                  <a:gd name="connsiteX18" fmla="*/ 82136 w 109330"/>
                  <a:gd name="connsiteY18" fmla="*/ 0 h 120429"/>
                  <a:gd name="connsiteX19" fmla="*/ 89906 w 109330"/>
                  <a:gd name="connsiteY19" fmla="*/ 2220 h 120429"/>
                  <a:gd name="connsiteX20" fmla="*/ 97121 w 109330"/>
                  <a:gd name="connsiteY20" fmla="*/ 8880 h 120429"/>
                  <a:gd name="connsiteX21" fmla="*/ 99896 w 109330"/>
                  <a:gd name="connsiteY21" fmla="*/ 18869 h 120429"/>
                  <a:gd name="connsiteX22" fmla="*/ 96011 w 109330"/>
                  <a:gd name="connsiteY22" fmla="*/ 33299 h 120429"/>
                  <a:gd name="connsiteX23" fmla="*/ 99896 w 109330"/>
                  <a:gd name="connsiteY23" fmla="*/ 32189 h 120429"/>
                  <a:gd name="connsiteX24" fmla="*/ 103225 w 109330"/>
                  <a:gd name="connsiteY24" fmla="*/ 38848 h 120429"/>
                  <a:gd name="connsiteX25" fmla="*/ 103780 w 109330"/>
                  <a:gd name="connsiteY25" fmla="*/ 54388 h 120429"/>
                  <a:gd name="connsiteX26" fmla="*/ 104335 w 109330"/>
                  <a:gd name="connsiteY26" fmla="*/ 73812 h 120429"/>
                  <a:gd name="connsiteX27" fmla="*/ 104890 w 109330"/>
                  <a:gd name="connsiteY27" fmla="*/ 89351 h 120429"/>
                  <a:gd name="connsiteX28" fmla="*/ 105445 w 109330"/>
                  <a:gd name="connsiteY28" fmla="*/ 101006 h 120429"/>
                  <a:gd name="connsiteX29" fmla="*/ 107665 w 109330"/>
                  <a:gd name="connsiteY29" fmla="*/ 106000 h 120429"/>
                  <a:gd name="connsiteX30" fmla="*/ 45508 w 109330"/>
                  <a:gd name="connsiteY30" fmla="*/ 97121 h 120429"/>
                  <a:gd name="connsiteX31" fmla="*/ 67152 w 109330"/>
                  <a:gd name="connsiteY31" fmla="*/ 73812 h 120429"/>
                  <a:gd name="connsiteX32" fmla="*/ 88241 w 109330"/>
                  <a:gd name="connsiteY32" fmla="*/ 40513 h 120429"/>
                  <a:gd name="connsiteX33" fmla="*/ 91016 w 109330"/>
                  <a:gd name="connsiteY33" fmla="*/ 24974 h 120429"/>
                  <a:gd name="connsiteX34" fmla="*/ 88241 w 109330"/>
                  <a:gd name="connsiteY34" fmla="*/ 16094 h 120429"/>
                  <a:gd name="connsiteX35" fmla="*/ 79916 w 109330"/>
                  <a:gd name="connsiteY35" fmla="*/ 12209 h 120429"/>
                  <a:gd name="connsiteX36" fmla="*/ 64377 w 109330"/>
                  <a:gd name="connsiteY36" fmla="*/ 20534 h 120429"/>
                  <a:gd name="connsiteX37" fmla="*/ 41068 w 109330"/>
                  <a:gd name="connsiteY37" fmla="*/ 45508 h 120429"/>
                  <a:gd name="connsiteX38" fmla="*/ 21089 w 109330"/>
                  <a:gd name="connsiteY38" fmla="*/ 76032 h 120429"/>
                  <a:gd name="connsiteX39" fmla="*/ 13319 w 109330"/>
                  <a:gd name="connsiteY39" fmla="*/ 99896 h 120429"/>
                  <a:gd name="connsiteX40" fmla="*/ 19979 w 109330"/>
                  <a:gd name="connsiteY40" fmla="*/ 107110 h 120429"/>
                  <a:gd name="connsiteX41" fmla="*/ 45508 w 109330"/>
                  <a:gd name="connsiteY41" fmla="*/ 97121 h 120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09330" h="120429">
                    <a:moveTo>
                      <a:pt x="107665" y="106000"/>
                    </a:moveTo>
                    <a:cubicBezTo>
                      <a:pt x="108775" y="107110"/>
                      <a:pt x="109330" y="108220"/>
                      <a:pt x="109330" y="108775"/>
                    </a:cubicBezTo>
                    <a:cubicBezTo>
                      <a:pt x="109330" y="110440"/>
                      <a:pt x="108775" y="113215"/>
                      <a:pt x="107110" y="115435"/>
                    </a:cubicBezTo>
                    <a:cubicBezTo>
                      <a:pt x="105445" y="118210"/>
                      <a:pt x="103780" y="119320"/>
                      <a:pt x="102115" y="119320"/>
                    </a:cubicBezTo>
                    <a:cubicBezTo>
                      <a:pt x="99341" y="119320"/>
                      <a:pt x="97121" y="117655"/>
                      <a:pt x="96011" y="114325"/>
                    </a:cubicBezTo>
                    <a:cubicBezTo>
                      <a:pt x="94346" y="110995"/>
                      <a:pt x="93791" y="107110"/>
                      <a:pt x="93791" y="102670"/>
                    </a:cubicBezTo>
                    <a:cubicBezTo>
                      <a:pt x="93791" y="98786"/>
                      <a:pt x="93791" y="87131"/>
                      <a:pt x="94346" y="67707"/>
                    </a:cubicBezTo>
                    <a:lnTo>
                      <a:pt x="94346" y="58272"/>
                    </a:lnTo>
                    <a:cubicBezTo>
                      <a:pt x="94346" y="54388"/>
                      <a:pt x="93236" y="51613"/>
                      <a:pt x="91571" y="50503"/>
                    </a:cubicBezTo>
                    <a:cubicBezTo>
                      <a:pt x="84356" y="62712"/>
                      <a:pt x="77697" y="73812"/>
                      <a:pt x="71037" y="82691"/>
                    </a:cubicBezTo>
                    <a:cubicBezTo>
                      <a:pt x="64932" y="91571"/>
                      <a:pt x="56607" y="100451"/>
                      <a:pt x="47173" y="108220"/>
                    </a:cubicBezTo>
                    <a:cubicBezTo>
                      <a:pt x="37183" y="115990"/>
                      <a:pt x="27194" y="120430"/>
                      <a:pt x="16649" y="120430"/>
                    </a:cubicBezTo>
                    <a:cubicBezTo>
                      <a:pt x="11654" y="120430"/>
                      <a:pt x="7215" y="118765"/>
                      <a:pt x="4440" y="115435"/>
                    </a:cubicBezTo>
                    <a:cubicBezTo>
                      <a:pt x="1665" y="112105"/>
                      <a:pt x="0" y="108220"/>
                      <a:pt x="0" y="102670"/>
                    </a:cubicBezTo>
                    <a:cubicBezTo>
                      <a:pt x="0" y="96011"/>
                      <a:pt x="2775" y="87131"/>
                      <a:pt x="8879" y="76032"/>
                    </a:cubicBezTo>
                    <a:cubicBezTo>
                      <a:pt x="14984" y="64932"/>
                      <a:pt x="22199" y="53278"/>
                      <a:pt x="31078" y="41623"/>
                    </a:cubicBezTo>
                    <a:cubicBezTo>
                      <a:pt x="39958" y="29969"/>
                      <a:pt x="49393" y="20534"/>
                      <a:pt x="58272" y="12764"/>
                    </a:cubicBezTo>
                    <a:cubicBezTo>
                      <a:pt x="64377" y="7770"/>
                      <a:pt x="68817" y="4440"/>
                      <a:pt x="72702" y="2775"/>
                    </a:cubicBezTo>
                    <a:cubicBezTo>
                      <a:pt x="76032" y="1110"/>
                      <a:pt x="79361" y="0"/>
                      <a:pt x="82136" y="0"/>
                    </a:cubicBezTo>
                    <a:cubicBezTo>
                      <a:pt x="84911" y="0"/>
                      <a:pt x="87131" y="555"/>
                      <a:pt x="89906" y="2220"/>
                    </a:cubicBezTo>
                    <a:cubicBezTo>
                      <a:pt x="92681" y="3885"/>
                      <a:pt x="94901" y="6105"/>
                      <a:pt x="97121" y="8880"/>
                    </a:cubicBezTo>
                    <a:cubicBezTo>
                      <a:pt x="99341" y="11654"/>
                      <a:pt x="99896" y="14984"/>
                      <a:pt x="99896" y="18869"/>
                    </a:cubicBezTo>
                    <a:cubicBezTo>
                      <a:pt x="99896" y="23864"/>
                      <a:pt x="98786" y="28859"/>
                      <a:pt x="96011" y="33299"/>
                    </a:cubicBezTo>
                    <a:lnTo>
                      <a:pt x="99896" y="32189"/>
                    </a:lnTo>
                    <a:cubicBezTo>
                      <a:pt x="101560" y="32189"/>
                      <a:pt x="102670" y="34408"/>
                      <a:pt x="103225" y="38848"/>
                    </a:cubicBezTo>
                    <a:cubicBezTo>
                      <a:pt x="103225" y="41623"/>
                      <a:pt x="103780" y="46618"/>
                      <a:pt x="103780" y="54388"/>
                    </a:cubicBezTo>
                    <a:cubicBezTo>
                      <a:pt x="103780" y="62157"/>
                      <a:pt x="104335" y="68817"/>
                      <a:pt x="104335" y="73812"/>
                    </a:cubicBezTo>
                    <a:cubicBezTo>
                      <a:pt x="104335" y="79362"/>
                      <a:pt x="104890" y="84356"/>
                      <a:pt x="104890" y="89351"/>
                    </a:cubicBezTo>
                    <a:cubicBezTo>
                      <a:pt x="104890" y="94346"/>
                      <a:pt x="105445" y="98231"/>
                      <a:pt x="105445" y="101006"/>
                    </a:cubicBezTo>
                    <a:cubicBezTo>
                      <a:pt x="106000" y="103780"/>
                      <a:pt x="106555" y="104890"/>
                      <a:pt x="107665" y="106000"/>
                    </a:cubicBezTo>
                    <a:close/>
                    <a:moveTo>
                      <a:pt x="45508" y="97121"/>
                    </a:moveTo>
                    <a:cubicBezTo>
                      <a:pt x="53833" y="90461"/>
                      <a:pt x="61047" y="82691"/>
                      <a:pt x="67152" y="73812"/>
                    </a:cubicBezTo>
                    <a:cubicBezTo>
                      <a:pt x="73812" y="64932"/>
                      <a:pt x="80471" y="53833"/>
                      <a:pt x="88241" y="40513"/>
                    </a:cubicBezTo>
                    <a:cubicBezTo>
                      <a:pt x="89906" y="35518"/>
                      <a:pt x="91016" y="30524"/>
                      <a:pt x="91016" y="24974"/>
                    </a:cubicBezTo>
                    <a:cubicBezTo>
                      <a:pt x="91016" y="21644"/>
                      <a:pt x="89906" y="18869"/>
                      <a:pt x="88241" y="16094"/>
                    </a:cubicBezTo>
                    <a:cubicBezTo>
                      <a:pt x="86576" y="13319"/>
                      <a:pt x="83246" y="12209"/>
                      <a:pt x="79916" y="12209"/>
                    </a:cubicBezTo>
                    <a:cubicBezTo>
                      <a:pt x="76032" y="12209"/>
                      <a:pt x="70482" y="14984"/>
                      <a:pt x="64377" y="20534"/>
                    </a:cubicBezTo>
                    <a:cubicBezTo>
                      <a:pt x="57162" y="26639"/>
                      <a:pt x="49393" y="34963"/>
                      <a:pt x="41068" y="45508"/>
                    </a:cubicBezTo>
                    <a:cubicBezTo>
                      <a:pt x="32744" y="56052"/>
                      <a:pt x="26084" y="66042"/>
                      <a:pt x="21089" y="76032"/>
                    </a:cubicBezTo>
                    <a:cubicBezTo>
                      <a:pt x="15539" y="86021"/>
                      <a:pt x="13319" y="93791"/>
                      <a:pt x="13319" y="99896"/>
                    </a:cubicBezTo>
                    <a:cubicBezTo>
                      <a:pt x="13319" y="104890"/>
                      <a:pt x="15539" y="107110"/>
                      <a:pt x="19979" y="107110"/>
                    </a:cubicBezTo>
                    <a:cubicBezTo>
                      <a:pt x="28859" y="107110"/>
                      <a:pt x="37183" y="103780"/>
                      <a:pt x="45508" y="97121"/>
                    </a:cubicBezTo>
                    <a:close/>
                  </a:path>
                </a:pathLst>
              </a:custGeom>
              <a:solidFill>
                <a:srgbClr val="676767"/>
              </a:solidFill>
              <a:ln w="55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212C33C4-2749-44CE-BDEF-6876F7A3A684}"/>
                  </a:ext>
                </a:extLst>
              </p:cNvPr>
              <p:cNvSpPr/>
              <p:nvPr/>
            </p:nvSpPr>
            <p:spPr>
              <a:xfrm>
                <a:off x="7107164" y="3824697"/>
                <a:ext cx="119319" cy="155393"/>
              </a:xfrm>
              <a:custGeom>
                <a:avLst/>
                <a:gdLst>
                  <a:gd name="connsiteX0" fmla="*/ 115990 w 119319"/>
                  <a:gd name="connsiteY0" fmla="*/ 57162 h 155393"/>
                  <a:gd name="connsiteX1" fmla="*/ 103225 w 119319"/>
                  <a:gd name="connsiteY1" fmla="*/ 60492 h 155393"/>
                  <a:gd name="connsiteX2" fmla="*/ 78251 w 119319"/>
                  <a:gd name="connsiteY2" fmla="*/ 64932 h 155393"/>
                  <a:gd name="connsiteX3" fmla="*/ 62712 w 119319"/>
                  <a:gd name="connsiteY3" fmla="*/ 67707 h 155393"/>
                  <a:gd name="connsiteX4" fmla="*/ 63267 w 119319"/>
                  <a:gd name="connsiteY4" fmla="*/ 94346 h 155393"/>
                  <a:gd name="connsiteX5" fmla="*/ 64377 w 119319"/>
                  <a:gd name="connsiteY5" fmla="*/ 118765 h 155393"/>
                  <a:gd name="connsiteX6" fmla="*/ 67707 w 119319"/>
                  <a:gd name="connsiteY6" fmla="*/ 140409 h 155393"/>
                  <a:gd name="connsiteX7" fmla="*/ 70482 w 119319"/>
                  <a:gd name="connsiteY7" fmla="*/ 148733 h 155393"/>
                  <a:gd name="connsiteX8" fmla="*/ 67707 w 119319"/>
                  <a:gd name="connsiteY8" fmla="*/ 153173 h 155393"/>
                  <a:gd name="connsiteX9" fmla="*/ 62157 w 119319"/>
                  <a:gd name="connsiteY9" fmla="*/ 155393 h 155393"/>
                  <a:gd name="connsiteX10" fmla="*/ 59937 w 119319"/>
                  <a:gd name="connsiteY10" fmla="*/ 154283 h 155393"/>
                  <a:gd name="connsiteX11" fmla="*/ 58272 w 119319"/>
                  <a:gd name="connsiteY11" fmla="*/ 151508 h 155393"/>
                  <a:gd name="connsiteX12" fmla="*/ 55498 w 119319"/>
                  <a:gd name="connsiteY12" fmla="*/ 138744 h 155393"/>
                  <a:gd name="connsiteX13" fmla="*/ 53278 w 119319"/>
                  <a:gd name="connsiteY13" fmla="*/ 118210 h 155393"/>
                  <a:gd name="connsiteX14" fmla="*/ 52168 w 119319"/>
                  <a:gd name="connsiteY14" fmla="*/ 94901 h 155393"/>
                  <a:gd name="connsiteX15" fmla="*/ 51613 w 119319"/>
                  <a:gd name="connsiteY15" fmla="*/ 69372 h 155393"/>
                  <a:gd name="connsiteX16" fmla="*/ 23864 w 119319"/>
                  <a:gd name="connsiteY16" fmla="*/ 74922 h 155393"/>
                  <a:gd name="connsiteX17" fmla="*/ 8325 w 119319"/>
                  <a:gd name="connsiteY17" fmla="*/ 77697 h 155393"/>
                  <a:gd name="connsiteX18" fmla="*/ 2775 w 119319"/>
                  <a:gd name="connsiteY18" fmla="*/ 76032 h 155393"/>
                  <a:gd name="connsiteX19" fmla="*/ 0 w 119319"/>
                  <a:gd name="connsiteY19" fmla="*/ 71592 h 155393"/>
                  <a:gd name="connsiteX20" fmla="*/ 2220 w 119319"/>
                  <a:gd name="connsiteY20" fmla="*/ 67707 h 155393"/>
                  <a:gd name="connsiteX21" fmla="*/ 9434 w 119319"/>
                  <a:gd name="connsiteY21" fmla="*/ 66597 h 155393"/>
                  <a:gd name="connsiteX22" fmla="*/ 19979 w 119319"/>
                  <a:gd name="connsiteY22" fmla="*/ 65487 h 155393"/>
                  <a:gd name="connsiteX23" fmla="*/ 28859 w 119319"/>
                  <a:gd name="connsiteY23" fmla="*/ 63822 h 155393"/>
                  <a:gd name="connsiteX24" fmla="*/ 51058 w 119319"/>
                  <a:gd name="connsiteY24" fmla="*/ 59937 h 155393"/>
                  <a:gd name="connsiteX25" fmla="*/ 50503 w 119319"/>
                  <a:gd name="connsiteY25" fmla="*/ 46618 h 155393"/>
                  <a:gd name="connsiteX26" fmla="*/ 49948 w 119319"/>
                  <a:gd name="connsiteY26" fmla="*/ 29414 h 155393"/>
                  <a:gd name="connsiteX27" fmla="*/ 50503 w 119319"/>
                  <a:gd name="connsiteY27" fmla="*/ 14429 h 155393"/>
                  <a:gd name="connsiteX28" fmla="*/ 52723 w 119319"/>
                  <a:gd name="connsiteY28" fmla="*/ 4995 h 155393"/>
                  <a:gd name="connsiteX29" fmla="*/ 59937 w 119319"/>
                  <a:gd name="connsiteY29" fmla="*/ 0 h 155393"/>
                  <a:gd name="connsiteX30" fmla="*/ 62712 w 119319"/>
                  <a:gd name="connsiteY30" fmla="*/ 555 h 155393"/>
                  <a:gd name="connsiteX31" fmla="*/ 63267 w 119319"/>
                  <a:gd name="connsiteY31" fmla="*/ 3330 h 155393"/>
                  <a:gd name="connsiteX32" fmla="*/ 62157 w 119319"/>
                  <a:gd name="connsiteY32" fmla="*/ 11654 h 155393"/>
                  <a:gd name="connsiteX33" fmla="*/ 61047 w 119319"/>
                  <a:gd name="connsiteY33" fmla="*/ 30524 h 155393"/>
                  <a:gd name="connsiteX34" fmla="*/ 61602 w 119319"/>
                  <a:gd name="connsiteY34" fmla="*/ 50503 h 155393"/>
                  <a:gd name="connsiteX35" fmla="*/ 61602 w 119319"/>
                  <a:gd name="connsiteY35" fmla="*/ 57162 h 155393"/>
                  <a:gd name="connsiteX36" fmla="*/ 104890 w 119319"/>
                  <a:gd name="connsiteY36" fmla="*/ 48283 h 155393"/>
                  <a:gd name="connsiteX37" fmla="*/ 108220 w 119319"/>
                  <a:gd name="connsiteY37" fmla="*/ 44953 h 155393"/>
                  <a:gd name="connsiteX38" fmla="*/ 110995 w 119319"/>
                  <a:gd name="connsiteY38" fmla="*/ 42178 h 155393"/>
                  <a:gd name="connsiteX39" fmla="*/ 116545 w 119319"/>
                  <a:gd name="connsiteY39" fmla="*/ 44953 h 155393"/>
                  <a:gd name="connsiteX40" fmla="*/ 119320 w 119319"/>
                  <a:gd name="connsiteY40" fmla="*/ 51058 h 155393"/>
                  <a:gd name="connsiteX41" fmla="*/ 115990 w 119319"/>
                  <a:gd name="connsiteY41" fmla="*/ 57162 h 155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19319" h="155393">
                    <a:moveTo>
                      <a:pt x="115990" y="57162"/>
                    </a:moveTo>
                    <a:cubicBezTo>
                      <a:pt x="113770" y="58827"/>
                      <a:pt x="109330" y="59937"/>
                      <a:pt x="103225" y="60492"/>
                    </a:cubicBezTo>
                    <a:cubicBezTo>
                      <a:pt x="88241" y="63267"/>
                      <a:pt x="79916" y="64377"/>
                      <a:pt x="78251" y="64932"/>
                    </a:cubicBezTo>
                    <a:lnTo>
                      <a:pt x="62712" y="67707"/>
                    </a:lnTo>
                    <a:cubicBezTo>
                      <a:pt x="62712" y="76032"/>
                      <a:pt x="62712" y="84911"/>
                      <a:pt x="63267" y="94346"/>
                    </a:cubicBezTo>
                    <a:cubicBezTo>
                      <a:pt x="63267" y="103780"/>
                      <a:pt x="63822" y="111550"/>
                      <a:pt x="64377" y="118765"/>
                    </a:cubicBezTo>
                    <a:cubicBezTo>
                      <a:pt x="64932" y="128199"/>
                      <a:pt x="66042" y="135414"/>
                      <a:pt x="67707" y="140409"/>
                    </a:cubicBezTo>
                    <a:cubicBezTo>
                      <a:pt x="69372" y="145404"/>
                      <a:pt x="70482" y="148178"/>
                      <a:pt x="70482" y="148733"/>
                    </a:cubicBezTo>
                    <a:cubicBezTo>
                      <a:pt x="70482" y="150398"/>
                      <a:pt x="69372" y="152063"/>
                      <a:pt x="67707" y="153173"/>
                    </a:cubicBezTo>
                    <a:cubicBezTo>
                      <a:pt x="65487" y="154283"/>
                      <a:pt x="63822" y="155393"/>
                      <a:pt x="62157" y="155393"/>
                    </a:cubicBezTo>
                    <a:cubicBezTo>
                      <a:pt x="61047" y="155393"/>
                      <a:pt x="60492" y="154838"/>
                      <a:pt x="59937" y="154283"/>
                    </a:cubicBezTo>
                    <a:cubicBezTo>
                      <a:pt x="59382" y="153728"/>
                      <a:pt x="58827" y="152618"/>
                      <a:pt x="58272" y="151508"/>
                    </a:cubicBezTo>
                    <a:cubicBezTo>
                      <a:pt x="57162" y="149288"/>
                      <a:pt x="56607" y="144849"/>
                      <a:pt x="55498" y="138744"/>
                    </a:cubicBezTo>
                    <a:cubicBezTo>
                      <a:pt x="54388" y="132639"/>
                      <a:pt x="53833" y="125979"/>
                      <a:pt x="53278" y="118210"/>
                    </a:cubicBezTo>
                    <a:cubicBezTo>
                      <a:pt x="52723" y="111550"/>
                      <a:pt x="52168" y="103780"/>
                      <a:pt x="52168" y="94901"/>
                    </a:cubicBezTo>
                    <a:cubicBezTo>
                      <a:pt x="52168" y="86021"/>
                      <a:pt x="51613" y="77697"/>
                      <a:pt x="51613" y="69372"/>
                    </a:cubicBezTo>
                    <a:cubicBezTo>
                      <a:pt x="42733" y="71037"/>
                      <a:pt x="33299" y="72702"/>
                      <a:pt x="23864" y="74922"/>
                    </a:cubicBezTo>
                    <a:cubicBezTo>
                      <a:pt x="15539" y="76587"/>
                      <a:pt x="9989" y="77697"/>
                      <a:pt x="8325" y="77697"/>
                    </a:cubicBezTo>
                    <a:cubicBezTo>
                      <a:pt x="6105" y="77697"/>
                      <a:pt x="4440" y="77142"/>
                      <a:pt x="2775" y="76032"/>
                    </a:cubicBezTo>
                    <a:cubicBezTo>
                      <a:pt x="1110" y="74922"/>
                      <a:pt x="0" y="73257"/>
                      <a:pt x="0" y="71592"/>
                    </a:cubicBezTo>
                    <a:cubicBezTo>
                      <a:pt x="0" y="69372"/>
                      <a:pt x="555" y="68262"/>
                      <a:pt x="2220" y="67707"/>
                    </a:cubicBezTo>
                    <a:cubicBezTo>
                      <a:pt x="3885" y="67152"/>
                      <a:pt x="6105" y="66597"/>
                      <a:pt x="9434" y="66597"/>
                    </a:cubicBezTo>
                    <a:cubicBezTo>
                      <a:pt x="11654" y="66597"/>
                      <a:pt x="15539" y="66042"/>
                      <a:pt x="19979" y="65487"/>
                    </a:cubicBezTo>
                    <a:cubicBezTo>
                      <a:pt x="24419" y="64377"/>
                      <a:pt x="27749" y="63822"/>
                      <a:pt x="28859" y="63822"/>
                    </a:cubicBezTo>
                    <a:cubicBezTo>
                      <a:pt x="39958" y="61602"/>
                      <a:pt x="47173" y="60492"/>
                      <a:pt x="51058" y="59937"/>
                    </a:cubicBezTo>
                    <a:cubicBezTo>
                      <a:pt x="51058" y="56607"/>
                      <a:pt x="51058" y="52168"/>
                      <a:pt x="50503" y="46618"/>
                    </a:cubicBezTo>
                    <a:cubicBezTo>
                      <a:pt x="49948" y="39403"/>
                      <a:pt x="49948" y="33299"/>
                      <a:pt x="49948" y="29414"/>
                    </a:cubicBezTo>
                    <a:cubicBezTo>
                      <a:pt x="49948" y="23309"/>
                      <a:pt x="49948" y="18314"/>
                      <a:pt x="50503" y="14429"/>
                    </a:cubicBezTo>
                    <a:cubicBezTo>
                      <a:pt x="51058" y="11100"/>
                      <a:pt x="51613" y="7770"/>
                      <a:pt x="52723" y="4995"/>
                    </a:cubicBezTo>
                    <a:cubicBezTo>
                      <a:pt x="53833" y="1665"/>
                      <a:pt x="56607" y="0"/>
                      <a:pt x="59937" y="0"/>
                    </a:cubicBezTo>
                    <a:cubicBezTo>
                      <a:pt x="61602" y="0"/>
                      <a:pt x="62157" y="0"/>
                      <a:pt x="62712" y="555"/>
                    </a:cubicBezTo>
                    <a:cubicBezTo>
                      <a:pt x="63267" y="1110"/>
                      <a:pt x="63267" y="1665"/>
                      <a:pt x="63267" y="3330"/>
                    </a:cubicBezTo>
                    <a:cubicBezTo>
                      <a:pt x="63267" y="4440"/>
                      <a:pt x="62712" y="7215"/>
                      <a:pt x="62157" y="11654"/>
                    </a:cubicBezTo>
                    <a:cubicBezTo>
                      <a:pt x="61602" y="16649"/>
                      <a:pt x="61047" y="22754"/>
                      <a:pt x="61047" y="30524"/>
                    </a:cubicBezTo>
                    <a:cubicBezTo>
                      <a:pt x="61047" y="36628"/>
                      <a:pt x="61047" y="43288"/>
                      <a:pt x="61602" y="50503"/>
                    </a:cubicBezTo>
                    <a:lnTo>
                      <a:pt x="61602" y="57162"/>
                    </a:lnTo>
                    <a:cubicBezTo>
                      <a:pt x="68817" y="56052"/>
                      <a:pt x="83246" y="53278"/>
                      <a:pt x="104890" y="48283"/>
                    </a:cubicBezTo>
                    <a:cubicBezTo>
                      <a:pt x="106000" y="47728"/>
                      <a:pt x="107110" y="46618"/>
                      <a:pt x="108220" y="44953"/>
                    </a:cubicBezTo>
                    <a:cubicBezTo>
                      <a:pt x="109330" y="43288"/>
                      <a:pt x="109885" y="42178"/>
                      <a:pt x="110995" y="42178"/>
                    </a:cubicBezTo>
                    <a:cubicBezTo>
                      <a:pt x="112660" y="42178"/>
                      <a:pt x="114880" y="43288"/>
                      <a:pt x="116545" y="44953"/>
                    </a:cubicBezTo>
                    <a:cubicBezTo>
                      <a:pt x="118210" y="47173"/>
                      <a:pt x="119320" y="48838"/>
                      <a:pt x="119320" y="51058"/>
                    </a:cubicBezTo>
                    <a:cubicBezTo>
                      <a:pt x="119320" y="53278"/>
                      <a:pt x="118210" y="55498"/>
                      <a:pt x="115990" y="57162"/>
                    </a:cubicBezTo>
                    <a:close/>
                  </a:path>
                </a:pathLst>
              </a:custGeom>
              <a:solidFill>
                <a:srgbClr val="676767"/>
              </a:solidFill>
              <a:ln w="55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9" name="Freihandform: Form 58">
                <a:extLst>
                  <a:ext uri="{FF2B5EF4-FFF2-40B4-BE49-F238E27FC236}">
                    <a16:creationId xmlns:a16="http://schemas.microsoft.com/office/drawing/2014/main" id="{D6B9FA15-6D6A-48F5-8791-9544CF8A1F41}"/>
                  </a:ext>
                </a:extLst>
              </p:cNvPr>
              <p:cNvSpPr/>
              <p:nvPr/>
            </p:nvSpPr>
            <p:spPr>
              <a:xfrm>
                <a:off x="7300296" y="3860770"/>
                <a:ext cx="158722" cy="128199"/>
              </a:xfrm>
              <a:custGeom>
                <a:avLst/>
                <a:gdLst>
                  <a:gd name="connsiteX0" fmla="*/ 152618 w 158722"/>
                  <a:gd name="connsiteY0" fmla="*/ 66042 h 128199"/>
                  <a:gd name="connsiteX1" fmla="*/ 137634 w 158722"/>
                  <a:gd name="connsiteY1" fmla="*/ 102670 h 128199"/>
                  <a:gd name="connsiteX2" fmla="*/ 123759 w 158722"/>
                  <a:gd name="connsiteY2" fmla="*/ 116545 h 128199"/>
                  <a:gd name="connsiteX3" fmla="*/ 109885 w 158722"/>
                  <a:gd name="connsiteY3" fmla="*/ 102670 h 128199"/>
                  <a:gd name="connsiteX4" fmla="*/ 98786 w 158722"/>
                  <a:gd name="connsiteY4" fmla="*/ 68817 h 128199"/>
                  <a:gd name="connsiteX5" fmla="*/ 93791 w 158722"/>
                  <a:gd name="connsiteY5" fmla="*/ 32744 h 128199"/>
                  <a:gd name="connsiteX6" fmla="*/ 79917 w 158722"/>
                  <a:gd name="connsiteY6" fmla="*/ 61602 h 128199"/>
                  <a:gd name="connsiteX7" fmla="*/ 68262 w 158722"/>
                  <a:gd name="connsiteY7" fmla="*/ 88796 h 128199"/>
                  <a:gd name="connsiteX8" fmla="*/ 56608 w 158722"/>
                  <a:gd name="connsiteY8" fmla="*/ 122650 h 128199"/>
                  <a:gd name="connsiteX9" fmla="*/ 56052 w 158722"/>
                  <a:gd name="connsiteY9" fmla="*/ 124869 h 128199"/>
                  <a:gd name="connsiteX10" fmla="*/ 54943 w 158722"/>
                  <a:gd name="connsiteY10" fmla="*/ 127644 h 128199"/>
                  <a:gd name="connsiteX11" fmla="*/ 52168 w 158722"/>
                  <a:gd name="connsiteY11" fmla="*/ 128199 h 128199"/>
                  <a:gd name="connsiteX12" fmla="*/ 46618 w 158722"/>
                  <a:gd name="connsiteY12" fmla="*/ 126534 h 128199"/>
                  <a:gd name="connsiteX13" fmla="*/ 43288 w 158722"/>
                  <a:gd name="connsiteY13" fmla="*/ 121540 h 128199"/>
                  <a:gd name="connsiteX14" fmla="*/ 41068 w 158722"/>
                  <a:gd name="connsiteY14" fmla="*/ 111550 h 128199"/>
                  <a:gd name="connsiteX15" fmla="*/ 31634 w 158722"/>
                  <a:gd name="connsiteY15" fmla="*/ 66042 h 128199"/>
                  <a:gd name="connsiteX16" fmla="*/ 20534 w 158722"/>
                  <a:gd name="connsiteY16" fmla="*/ 29414 h 128199"/>
                  <a:gd name="connsiteX17" fmla="*/ 12210 w 158722"/>
                  <a:gd name="connsiteY17" fmla="*/ 14984 h 128199"/>
                  <a:gd name="connsiteX18" fmla="*/ 9435 w 158722"/>
                  <a:gd name="connsiteY18" fmla="*/ 16649 h 128199"/>
                  <a:gd name="connsiteX19" fmla="*/ 5550 w 158722"/>
                  <a:gd name="connsiteY19" fmla="*/ 19424 h 128199"/>
                  <a:gd name="connsiteX20" fmla="*/ 2775 w 158722"/>
                  <a:gd name="connsiteY20" fmla="*/ 19979 h 128199"/>
                  <a:gd name="connsiteX21" fmla="*/ 0 w 158722"/>
                  <a:gd name="connsiteY21" fmla="*/ 16649 h 128199"/>
                  <a:gd name="connsiteX22" fmla="*/ 2775 w 158722"/>
                  <a:gd name="connsiteY22" fmla="*/ 10545 h 128199"/>
                  <a:gd name="connsiteX23" fmla="*/ 9435 w 158722"/>
                  <a:gd name="connsiteY23" fmla="*/ 3330 h 128199"/>
                  <a:gd name="connsiteX24" fmla="*/ 16094 w 158722"/>
                  <a:gd name="connsiteY24" fmla="*/ 0 h 128199"/>
                  <a:gd name="connsiteX25" fmla="*/ 19979 w 158722"/>
                  <a:gd name="connsiteY25" fmla="*/ 1110 h 128199"/>
                  <a:gd name="connsiteX26" fmla="*/ 23309 w 158722"/>
                  <a:gd name="connsiteY26" fmla="*/ 4440 h 128199"/>
                  <a:gd name="connsiteX27" fmla="*/ 32189 w 158722"/>
                  <a:gd name="connsiteY27" fmla="*/ 23864 h 128199"/>
                  <a:gd name="connsiteX28" fmla="*/ 42178 w 158722"/>
                  <a:gd name="connsiteY28" fmla="*/ 60492 h 128199"/>
                  <a:gd name="connsiteX29" fmla="*/ 52168 w 158722"/>
                  <a:gd name="connsiteY29" fmla="*/ 103225 h 128199"/>
                  <a:gd name="connsiteX30" fmla="*/ 72702 w 158722"/>
                  <a:gd name="connsiteY30" fmla="*/ 51613 h 128199"/>
                  <a:gd name="connsiteX31" fmla="*/ 93791 w 158722"/>
                  <a:gd name="connsiteY31" fmla="*/ 8880 h 128199"/>
                  <a:gd name="connsiteX32" fmla="*/ 103780 w 158722"/>
                  <a:gd name="connsiteY32" fmla="*/ 555 h 128199"/>
                  <a:gd name="connsiteX33" fmla="*/ 109330 w 158722"/>
                  <a:gd name="connsiteY33" fmla="*/ 2775 h 128199"/>
                  <a:gd name="connsiteX34" fmla="*/ 111550 w 158722"/>
                  <a:gd name="connsiteY34" fmla="*/ 6660 h 128199"/>
                  <a:gd name="connsiteX35" fmla="*/ 110440 w 158722"/>
                  <a:gd name="connsiteY35" fmla="*/ 8880 h 128199"/>
                  <a:gd name="connsiteX36" fmla="*/ 108220 w 158722"/>
                  <a:gd name="connsiteY36" fmla="*/ 11100 h 128199"/>
                  <a:gd name="connsiteX37" fmla="*/ 105445 w 158722"/>
                  <a:gd name="connsiteY37" fmla="*/ 17204 h 128199"/>
                  <a:gd name="connsiteX38" fmla="*/ 104335 w 158722"/>
                  <a:gd name="connsiteY38" fmla="*/ 27749 h 128199"/>
                  <a:gd name="connsiteX39" fmla="*/ 107110 w 158722"/>
                  <a:gd name="connsiteY39" fmla="*/ 54388 h 128199"/>
                  <a:gd name="connsiteX40" fmla="*/ 115435 w 158722"/>
                  <a:gd name="connsiteY40" fmla="*/ 87131 h 128199"/>
                  <a:gd name="connsiteX41" fmla="*/ 126534 w 158722"/>
                  <a:gd name="connsiteY41" fmla="*/ 101561 h 128199"/>
                  <a:gd name="connsiteX42" fmla="*/ 135414 w 158722"/>
                  <a:gd name="connsiteY42" fmla="*/ 89351 h 128199"/>
                  <a:gd name="connsiteX43" fmla="*/ 144848 w 158722"/>
                  <a:gd name="connsiteY43" fmla="*/ 59382 h 128199"/>
                  <a:gd name="connsiteX44" fmla="*/ 148733 w 158722"/>
                  <a:gd name="connsiteY44" fmla="*/ 24974 h 128199"/>
                  <a:gd name="connsiteX45" fmla="*/ 145404 w 158722"/>
                  <a:gd name="connsiteY45" fmla="*/ 17204 h 128199"/>
                  <a:gd name="connsiteX46" fmla="*/ 142629 w 158722"/>
                  <a:gd name="connsiteY46" fmla="*/ 11654 h 128199"/>
                  <a:gd name="connsiteX47" fmla="*/ 144848 w 158722"/>
                  <a:gd name="connsiteY47" fmla="*/ 7215 h 128199"/>
                  <a:gd name="connsiteX48" fmla="*/ 149843 w 158722"/>
                  <a:gd name="connsiteY48" fmla="*/ 4440 h 128199"/>
                  <a:gd name="connsiteX49" fmla="*/ 155948 w 158722"/>
                  <a:gd name="connsiteY49" fmla="*/ 9435 h 128199"/>
                  <a:gd name="connsiteX50" fmla="*/ 158723 w 158722"/>
                  <a:gd name="connsiteY50" fmla="*/ 19424 h 128199"/>
                  <a:gd name="connsiteX51" fmla="*/ 152618 w 158722"/>
                  <a:gd name="connsiteY51" fmla="*/ 66042 h 128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158722" h="128199">
                    <a:moveTo>
                      <a:pt x="152618" y="66042"/>
                    </a:moveTo>
                    <a:cubicBezTo>
                      <a:pt x="148178" y="81026"/>
                      <a:pt x="143184" y="93236"/>
                      <a:pt x="137634" y="102670"/>
                    </a:cubicBezTo>
                    <a:cubicBezTo>
                      <a:pt x="132084" y="112105"/>
                      <a:pt x="127644" y="116545"/>
                      <a:pt x="123759" y="116545"/>
                    </a:cubicBezTo>
                    <a:cubicBezTo>
                      <a:pt x="118765" y="116545"/>
                      <a:pt x="114325" y="112105"/>
                      <a:pt x="109885" y="102670"/>
                    </a:cubicBezTo>
                    <a:cubicBezTo>
                      <a:pt x="105445" y="93236"/>
                      <a:pt x="102116" y="82136"/>
                      <a:pt x="98786" y="68817"/>
                    </a:cubicBezTo>
                    <a:cubicBezTo>
                      <a:pt x="96011" y="55498"/>
                      <a:pt x="94346" y="43288"/>
                      <a:pt x="93791" y="32744"/>
                    </a:cubicBezTo>
                    <a:cubicBezTo>
                      <a:pt x="89351" y="41068"/>
                      <a:pt x="84911" y="50503"/>
                      <a:pt x="79917" y="61602"/>
                    </a:cubicBezTo>
                    <a:cubicBezTo>
                      <a:pt x="74922" y="72147"/>
                      <a:pt x="71037" y="81026"/>
                      <a:pt x="68262" y="88796"/>
                    </a:cubicBezTo>
                    <a:cubicBezTo>
                      <a:pt x="63822" y="100451"/>
                      <a:pt x="59937" y="111550"/>
                      <a:pt x="56608" y="122650"/>
                    </a:cubicBezTo>
                    <a:cubicBezTo>
                      <a:pt x="56608" y="123205"/>
                      <a:pt x="56052" y="123760"/>
                      <a:pt x="56052" y="124869"/>
                    </a:cubicBezTo>
                    <a:cubicBezTo>
                      <a:pt x="55498" y="125979"/>
                      <a:pt x="55498" y="127089"/>
                      <a:pt x="54943" y="127644"/>
                    </a:cubicBezTo>
                    <a:cubicBezTo>
                      <a:pt x="54388" y="128199"/>
                      <a:pt x="53278" y="128199"/>
                      <a:pt x="52168" y="128199"/>
                    </a:cubicBezTo>
                    <a:cubicBezTo>
                      <a:pt x="49948" y="128199"/>
                      <a:pt x="47728" y="127644"/>
                      <a:pt x="46618" y="126534"/>
                    </a:cubicBezTo>
                    <a:cubicBezTo>
                      <a:pt x="45508" y="125424"/>
                      <a:pt x="44398" y="123760"/>
                      <a:pt x="43288" y="121540"/>
                    </a:cubicBezTo>
                    <a:lnTo>
                      <a:pt x="41068" y="111550"/>
                    </a:lnTo>
                    <a:cubicBezTo>
                      <a:pt x="38293" y="95456"/>
                      <a:pt x="34963" y="80471"/>
                      <a:pt x="31634" y="66042"/>
                    </a:cubicBezTo>
                    <a:cubicBezTo>
                      <a:pt x="28304" y="51058"/>
                      <a:pt x="24419" y="38848"/>
                      <a:pt x="20534" y="29414"/>
                    </a:cubicBezTo>
                    <a:cubicBezTo>
                      <a:pt x="16649" y="19979"/>
                      <a:pt x="13874" y="14984"/>
                      <a:pt x="12210" y="14984"/>
                    </a:cubicBezTo>
                    <a:cubicBezTo>
                      <a:pt x="11654" y="14984"/>
                      <a:pt x="10545" y="15539"/>
                      <a:pt x="9435" y="16649"/>
                    </a:cubicBezTo>
                    <a:cubicBezTo>
                      <a:pt x="8325" y="17759"/>
                      <a:pt x="6660" y="18314"/>
                      <a:pt x="5550" y="19424"/>
                    </a:cubicBezTo>
                    <a:cubicBezTo>
                      <a:pt x="4440" y="19979"/>
                      <a:pt x="3330" y="19979"/>
                      <a:pt x="2775" y="19979"/>
                    </a:cubicBezTo>
                    <a:cubicBezTo>
                      <a:pt x="555" y="18869"/>
                      <a:pt x="0" y="17759"/>
                      <a:pt x="0" y="16649"/>
                    </a:cubicBezTo>
                    <a:cubicBezTo>
                      <a:pt x="0" y="15539"/>
                      <a:pt x="1110" y="13319"/>
                      <a:pt x="2775" y="10545"/>
                    </a:cubicBezTo>
                    <a:cubicBezTo>
                      <a:pt x="4995" y="7770"/>
                      <a:pt x="7215" y="5550"/>
                      <a:pt x="9435" y="3330"/>
                    </a:cubicBezTo>
                    <a:cubicBezTo>
                      <a:pt x="11654" y="1110"/>
                      <a:pt x="14429" y="0"/>
                      <a:pt x="16094" y="0"/>
                    </a:cubicBezTo>
                    <a:cubicBezTo>
                      <a:pt x="17759" y="0"/>
                      <a:pt x="18869" y="555"/>
                      <a:pt x="19979" y="1110"/>
                    </a:cubicBezTo>
                    <a:cubicBezTo>
                      <a:pt x="21089" y="1665"/>
                      <a:pt x="22199" y="2775"/>
                      <a:pt x="23309" y="4440"/>
                    </a:cubicBezTo>
                    <a:cubicBezTo>
                      <a:pt x="25529" y="7215"/>
                      <a:pt x="28304" y="13874"/>
                      <a:pt x="32189" y="23864"/>
                    </a:cubicBezTo>
                    <a:cubicBezTo>
                      <a:pt x="36073" y="33853"/>
                      <a:pt x="39403" y="46063"/>
                      <a:pt x="42178" y="60492"/>
                    </a:cubicBezTo>
                    <a:lnTo>
                      <a:pt x="52168" y="103225"/>
                    </a:lnTo>
                    <a:cubicBezTo>
                      <a:pt x="59382" y="82691"/>
                      <a:pt x="66597" y="65487"/>
                      <a:pt x="72702" y="51613"/>
                    </a:cubicBezTo>
                    <a:cubicBezTo>
                      <a:pt x="78807" y="37738"/>
                      <a:pt x="86021" y="23864"/>
                      <a:pt x="93791" y="8880"/>
                    </a:cubicBezTo>
                    <a:cubicBezTo>
                      <a:pt x="97121" y="3330"/>
                      <a:pt x="99896" y="555"/>
                      <a:pt x="103780" y="555"/>
                    </a:cubicBezTo>
                    <a:cubicBezTo>
                      <a:pt x="106000" y="555"/>
                      <a:pt x="107665" y="1110"/>
                      <a:pt x="109330" y="2775"/>
                    </a:cubicBezTo>
                    <a:cubicBezTo>
                      <a:pt x="110995" y="4440"/>
                      <a:pt x="111550" y="5550"/>
                      <a:pt x="111550" y="6660"/>
                    </a:cubicBezTo>
                    <a:cubicBezTo>
                      <a:pt x="111550" y="7215"/>
                      <a:pt x="110995" y="7770"/>
                      <a:pt x="110440" y="8880"/>
                    </a:cubicBezTo>
                    <a:cubicBezTo>
                      <a:pt x="109885" y="9990"/>
                      <a:pt x="108775" y="10545"/>
                      <a:pt x="108220" y="11100"/>
                    </a:cubicBezTo>
                    <a:cubicBezTo>
                      <a:pt x="107110" y="12764"/>
                      <a:pt x="106000" y="14984"/>
                      <a:pt x="105445" y="17204"/>
                    </a:cubicBezTo>
                    <a:cubicBezTo>
                      <a:pt x="104890" y="19424"/>
                      <a:pt x="104335" y="22754"/>
                      <a:pt x="104335" y="27749"/>
                    </a:cubicBezTo>
                    <a:cubicBezTo>
                      <a:pt x="104335" y="33299"/>
                      <a:pt x="105445" y="42178"/>
                      <a:pt x="107110" y="54388"/>
                    </a:cubicBezTo>
                    <a:cubicBezTo>
                      <a:pt x="109330" y="66597"/>
                      <a:pt x="112105" y="77142"/>
                      <a:pt x="115435" y="87131"/>
                    </a:cubicBezTo>
                    <a:cubicBezTo>
                      <a:pt x="118765" y="96566"/>
                      <a:pt x="122649" y="101561"/>
                      <a:pt x="126534" y="101561"/>
                    </a:cubicBezTo>
                    <a:cubicBezTo>
                      <a:pt x="128754" y="101561"/>
                      <a:pt x="132084" y="97676"/>
                      <a:pt x="135414" y="89351"/>
                    </a:cubicBezTo>
                    <a:cubicBezTo>
                      <a:pt x="138744" y="81026"/>
                      <a:pt x="142074" y="71037"/>
                      <a:pt x="144848" y="59382"/>
                    </a:cubicBezTo>
                    <a:cubicBezTo>
                      <a:pt x="147623" y="47728"/>
                      <a:pt x="148733" y="36073"/>
                      <a:pt x="148733" y="24974"/>
                    </a:cubicBezTo>
                    <a:cubicBezTo>
                      <a:pt x="148733" y="22754"/>
                      <a:pt x="147623" y="19979"/>
                      <a:pt x="145404" y="17204"/>
                    </a:cubicBezTo>
                    <a:cubicBezTo>
                      <a:pt x="143739" y="14984"/>
                      <a:pt x="142629" y="12764"/>
                      <a:pt x="142629" y="11654"/>
                    </a:cubicBezTo>
                    <a:cubicBezTo>
                      <a:pt x="142629" y="10545"/>
                      <a:pt x="143184" y="9435"/>
                      <a:pt x="144848" y="7215"/>
                    </a:cubicBezTo>
                    <a:cubicBezTo>
                      <a:pt x="146514" y="5550"/>
                      <a:pt x="148178" y="4440"/>
                      <a:pt x="149843" y="4440"/>
                    </a:cubicBezTo>
                    <a:cubicBezTo>
                      <a:pt x="152063" y="4440"/>
                      <a:pt x="153728" y="6105"/>
                      <a:pt x="155948" y="9435"/>
                    </a:cubicBezTo>
                    <a:cubicBezTo>
                      <a:pt x="157613" y="12764"/>
                      <a:pt x="158723" y="16094"/>
                      <a:pt x="158723" y="19424"/>
                    </a:cubicBezTo>
                    <a:cubicBezTo>
                      <a:pt x="158723" y="35518"/>
                      <a:pt x="156503" y="51058"/>
                      <a:pt x="152618" y="66042"/>
                    </a:cubicBezTo>
                    <a:close/>
                  </a:path>
                </a:pathLst>
              </a:custGeom>
              <a:solidFill>
                <a:srgbClr val="676767"/>
              </a:solidFill>
              <a:ln w="55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0" name="Freihandform: Form 59">
                <a:extLst>
                  <a:ext uri="{FF2B5EF4-FFF2-40B4-BE49-F238E27FC236}">
                    <a16:creationId xmlns:a16="http://schemas.microsoft.com/office/drawing/2014/main" id="{1954E6BF-4268-4ED4-BB8B-5D81C6D5676D}"/>
                  </a:ext>
                </a:extLst>
              </p:cNvPr>
              <p:cNvSpPr/>
              <p:nvPr/>
            </p:nvSpPr>
            <p:spPr>
              <a:xfrm>
                <a:off x="7478998" y="3866320"/>
                <a:ext cx="87686" cy="110995"/>
              </a:xfrm>
              <a:custGeom>
                <a:avLst/>
                <a:gdLst>
                  <a:gd name="connsiteX0" fmla="*/ 81026 w 87686"/>
                  <a:gd name="connsiteY0" fmla="*/ 81026 h 110995"/>
                  <a:gd name="connsiteX1" fmla="*/ 61047 w 87686"/>
                  <a:gd name="connsiteY1" fmla="*/ 102115 h 110995"/>
                  <a:gd name="connsiteX2" fmla="*/ 31634 w 87686"/>
                  <a:gd name="connsiteY2" fmla="*/ 110995 h 110995"/>
                  <a:gd name="connsiteX3" fmla="*/ 7769 w 87686"/>
                  <a:gd name="connsiteY3" fmla="*/ 102115 h 110995"/>
                  <a:gd name="connsiteX4" fmla="*/ 0 w 87686"/>
                  <a:gd name="connsiteY4" fmla="*/ 79916 h 110995"/>
                  <a:gd name="connsiteX5" fmla="*/ 4440 w 87686"/>
                  <a:gd name="connsiteY5" fmla="*/ 51058 h 110995"/>
                  <a:gd name="connsiteX6" fmla="*/ 16649 w 87686"/>
                  <a:gd name="connsiteY6" fmla="*/ 19979 h 110995"/>
                  <a:gd name="connsiteX7" fmla="*/ 20534 w 87686"/>
                  <a:gd name="connsiteY7" fmla="*/ 12764 h 110995"/>
                  <a:gd name="connsiteX8" fmla="*/ 28304 w 87686"/>
                  <a:gd name="connsiteY8" fmla="*/ 3330 h 110995"/>
                  <a:gd name="connsiteX9" fmla="*/ 37738 w 87686"/>
                  <a:gd name="connsiteY9" fmla="*/ 0 h 110995"/>
                  <a:gd name="connsiteX10" fmla="*/ 41623 w 87686"/>
                  <a:gd name="connsiteY10" fmla="*/ 1110 h 110995"/>
                  <a:gd name="connsiteX11" fmla="*/ 43288 w 87686"/>
                  <a:gd name="connsiteY11" fmla="*/ 3885 h 110995"/>
                  <a:gd name="connsiteX12" fmla="*/ 42178 w 87686"/>
                  <a:gd name="connsiteY12" fmla="*/ 6105 h 110995"/>
                  <a:gd name="connsiteX13" fmla="*/ 39958 w 87686"/>
                  <a:gd name="connsiteY13" fmla="*/ 8880 h 110995"/>
                  <a:gd name="connsiteX14" fmla="*/ 26639 w 87686"/>
                  <a:gd name="connsiteY14" fmla="*/ 28304 h 110995"/>
                  <a:gd name="connsiteX15" fmla="*/ 16094 w 87686"/>
                  <a:gd name="connsiteY15" fmla="*/ 52723 h 110995"/>
                  <a:gd name="connsiteX16" fmla="*/ 12210 w 87686"/>
                  <a:gd name="connsiteY16" fmla="*/ 79362 h 110995"/>
                  <a:gd name="connsiteX17" fmla="*/ 35518 w 87686"/>
                  <a:gd name="connsiteY17" fmla="*/ 98786 h 110995"/>
                  <a:gd name="connsiteX18" fmla="*/ 56052 w 87686"/>
                  <a:gd name="connsiteY18" fmla="*/ 92681 h 110995"/>
                  <a:gd name="connsiteX19" fmla="*/ 71037 w 87686"/>
                  <a:gd name="connsiteY19" fmla="*/ 77142 h 110995"/>
                  <a:gd name="connsiteX20" fmla="*/ 76587 w 87686"/>
                  <a:gd name="connsiteY20" fmla="*/ 60492 h 110995"/>
                  <a:gd name="connsiteX21" fmla="*/ 71037 w 87686"/>
                  <a:gd name="connsiteY21" fmla="*/ 45508 h 110995"/>
                  <a:gd name="connsiteX22" fmla="*/ 55498 w 87686"/>
                  <a:gd name="connsiteY22" fmla="*/ 32189 h 110995"/>
                  <a:gd name="connsiteX23" fmla="*/ 46063 w 87686"/>
                  <a:gd name="connsiteY23" fmla="*/ 24419 h 110995"/>
                  <a:gd name="connsiteX24" fmla="*/ 43288 w 87686"/>
                  <a:gd name="connsiteY24" fmla="*/ 19424 h 110995"/>
                  <a:gd name="connsiteX25" fmla="*/ 47173 w 87686"/>
                  <a:gd name="connsiteY25" fmla="*/ 14429 h 110995"/>
                  <a:gd name="connsiteX26" fmla="*/ 57162 w 87686"/>
                  <a:gd name="connsiteY26" fmla="*/ 12764 h 110995"/>
                  <a:gd name="connsiteX27" fmla="*/ 61047 w 87686"/>
                  <a:gd name="connsiteY27" fmla="*/ 13319 h 110995"/>
                  <a:gd name="connsiteX28" fmla="*/ 62157 w 87686"/>
                  <a:gd name="connsiteY28" fmla="*/ 14429 h 110995"/>
                  <a:gd name="connsiteX29" fmla="*/ 61047 w 87686"/>
                  <a:gd name="connsiteY29" fmla="*/ 16094 h 110995"/>
                  <a:gd name="connsiteX30" fmla="*/ 59937 w 87686"/>
                  <a:gd name="connsiteY30" fmla="*/ 17759 h 110995"/>
                  <a:gd name="connsiteX31" fmla="*/ 64932 w 87686"/>
                  <a:gd name="connsiteY31" fmla="*/ 22754 h 110995"/>
                  <a:gd name="connsiteX32" fmla="*/ 81026 w 87686"/>
                  <a:gd name="connsiteY32" fmla="*/ 38848 h 110995"/>
                  <a:gd name="connsiteX33" fmla="*/ 87686 w 87686"/>
                  <a:gd name="connsiteY33" fmla="*/ 58272 h 110995"/>
                  <a:gd name="connsiteX34" fmla="*/ 81026 w 87686"/>
                  <a:gd name="connsiteY34" fmla="*/ 81026 h 1109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87686" h="110995">
                    <a:moveTo>
                      <a:pt x="81026" y="81026"/>
                    </a:moveTo>
                    <a:cubicBezTo>
                      <a:pt x="76587" y="89351"/>
                      <a:pt x="69927" y="96566"/>
                      <a:pt x="61047" y="102115"/>
                    </a:cubicBezTo>
                    <a:cubicBezTo>
                      <a:pt x="52167" y="108220"/>
                      <a:pt x="42733" y="110995"/>
                      <a:pt x="31634" y="110995"/>
                    </a:cubicBezTo>
                    <a:cubicBezTo>
                      <a:pt x="20534" y="110995"/>
                      <a:pt x="12764" y="108220"/>
                      <a:pt x="7769" y="102115"/>
                    </a:cubicBezTo>
                    <a:cubicBezTo>
                      <a:pt x="2775" y="96011"/>
                      <a:pt x="0" y="88796"/>
                      <a:pt x="0" y="79916"/>
                    </a:cubicBezTo>
                    <a:cubicBezTo>
                      <a:pt x="0" y="72147"/>
                      <a:pt x="1665" y="62712"/>
                      <a:pt x="4440" y="51058"/>
                    </a:cubicBezTo>
                    <a:cubicBezTo>
                      <a:pt x="7215" y="39403"/>
                      <a:pt x="11100" y="29414"/>
                      <a:pt x="16649" y="19979"/>
                    </a:cubicBezTo>
                    <a:cubicBezTo>
                      <a:pt x="17204" y="19424"/>
                      <a:pt x="18314" y="17204"/>
                      <a:pt x="20534" y="12764"/>
                    </a:cubicBezTo>
                    <a:cubicBezTo>
                      <a:pt x="22754" y="8880"/>
                      <a:pt x="25529" y="5550"/>
                      <a:pt x="28304" y="3330"/>
                    </a:cubicBezTo>
                    <a:cubicBezTo>
                      <a:pt x="31078" y="1110"/>
                      <a:pt x="34409" y="0"/>
                      <a:pt x="37738" y="0"/>
                    </a:cubicBezTo>
                    <a:cubicBezTo>
                      <a:pt x="39403" y="0"/>
                      <a:pt x="40513" y="555"/>
                      <a:pt x="41623" y="1110"/>
                    </a:cubicBezTo>
                    <a:cubicBezTo>
                      <a:pt x="42733" y="1665"/>
                      <a:pt x="43288" y="2775"/>
                      <a:pt x="43288" y="3885"/>
                    </a:cubicBezTo>
                    <a:cubicBezTo>
                      <a:pt x="43288" y="4440"/>
                      <a:pt x="42733" y="4995"/>
                      <a:pt x="42178" y="6105"/>
                    </a:cubicBezTo>
                    <a:cubicBezTo>
                      <a:pt x="41068" y="7215"/>
                      <a:pt x="40513" y="8325"/>
                      <a:pt x="39958" y="8880"/>
                    </a:cubicBezTo>
                    <a:cubicBezTo>
                      <a:pt x="34409" y="15539"/>
                      <a:pt x="29968" y="22199"/>
                      <a:pt x="26639" y="28304"/>
                    </a:cubicBezTo>
                    <a:cubicBezTo>
                      <a:pt x="22199" y="36628"/>
                      <a:pt x="18314" y="44953"/>
                      <a:pt x="16094" y="52723"/>
                    </a:cubicBezTo>
                    <a:cubicBezTo>
                      <a:pt x="13319" y="61047"/>
                      <a:pt x="12210" y="69927"/>
                      <a:pt x="12210" y="79362"/>
                    </a:cubicBezTo>
                    <a:cubicBezTo>
                      <a:pt x="12210" y="92126"/>
                      <a:pt x="19979" y="98786"/>
                      <a:pt x="35518" y="98786"/>
                    </a:cubicBezTo>
                    <a:cubicBezTo>
                      <a:pt x="42733" y="98786"/>
                      <a:pt x="49393" y="96566"/>
                      <a:pt x="56052" y="92681"/>
                    </a:cubicBezTo>
                    <a:cubicBezTo>
                      <a:pt x="62157" y="88241"/>
                      <a:pt x="67152" y="83246"/>
                      <a:pt x="71037" y="77142"/>
                    </a:cubicBezTo>
                    <a:cubicBezTo>
                      <a:pt x="74922" y="71037"/>
                      <a:pt x="76587" y="65487"/>
                      <a:pt x="76587" y="60492"/>
                    </a:cubicBezTo>
                    <a:cubicBezTo>
                      <a:pt x="76587" y="54943"/>
                      <a:pt x="74922" y="49948"/>
                      <a:pt x="71037" y="45508"/>
                    </a:cubicBezTo>
                    <a:cubicBezTo>
                      <a:pt x="67152" y="41068"/>
                      <a:pt x="62157" y="36628"/>
                      <a:pt x="55498" y="32189"/>
                    </a:cubicBezTo>
                    <a:cubicBezTo>
                      <a:pt x="51058" y="28859"/>
                      <a:pt x="48283" y="26639"/>
                      <a:pt x="46063" y="24419"/>
                    </a:cubicBezTo>
                    <a:cubicBezTo>
                      <a:pt x="44398" y="22754"/>
                      <a:pt x="43288" y="21089"/>
                      <a:pt x="43288" y="19424"/>
                    </a:cubicBezTo>
                    <a:cubicBezTo>
                      <a:pt x="43288" y="17204"/>
                      <a:pt x="44398" y="16094"/>
                      <a:pt x="47173" y="14429"/>
                    </a:cubicBezTo>
                    <a:cubicBezTo>
                      <a:pt x="49948" y="13319"/>
                      <a:pt x="53278" y="12764"/>
                      <a:pt x="57162" y="12764"/>
                    </a:cubicBezTo>
                    <a:cubicBezTo>
                      <a:pt x="59382" y="12764"/>
                      <a:pt x="60492" y="12764"/>
                      <a:pt x="61047" y="13319"/>
                    </a:cubicBezTo>
                    <a:cubicBezTo>
                      <a:pt x="61602" y="13319"/>
                      <a:pt x="62157" y="13874"/>
                      <a:pt x="62157" y="14429"/>
                    </a:cubicBezTo>
                    <a:cubicBezTo>
                      <a:pt x="62157" y="14984"/>
                      <a:pt x="61602" y="15539"/>
                      <a:pt x="61047" y="16094"/>
                    </a:cubicBezTo>
                    <a:cubicBezTo>
                      <a:pt x="60492" y="16649"/>
                      <a:pt x="59937" y="17204"/>
                      <a:pt x="59937" y="17759"/>
                    </a:cubicBezTo>
                    <a:cubicBezTo>
                      <a:pt x="59937" y="18314"/>
                      <a:pt x="61602" y="19979"/>
                      <a:pt x="64932" y="22754"/>
                    </a:cubicBezTo>
                    <a:cubicBezTo>
                      <a:pt x="71592" y="28304"/>
                      <a:pt x="76587" y="33299"/>
                      <a:pt x="81026" y="38848"/>
                    </a:cubicBezTo>
                    <a:cubicBezTo>
                      <a:pt x="85466" y="44398"/>
                      <a:pt x="87686" y="51058"/>
                      <a:pt x="87686" y="58272"/>
                    </a:cubicBezTo>
                    <a:cubicBezTo>
                      <a:pt x="87686" y="65487"/>
                      <a:pt x="85466" y="72702"/>
                      <a:pt x="81026" y="81026"/>
                    </a:cubicBezTo>
                    <a:close/>
                  </a:path>
                </a:pathLst>
              </a:custGeom>
              <a:solidFill>
                <a:srgbClr val="676767"/>
              </a:solidFill>
              <a:ln w="55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1" name="Freihandform: Form 60">
                <a:extLst>
                  <a:ext uri="{FF2B5EF4-FFF2-40B4-BE49-F238E27FC236}">
                    <a16:creationId xmlns:a16="http://schemas.microsoft.com/office/drawing/2014/main" id="{EE769933-56FE-4AD7-850D-64E441EE46D5}"/>
                  </a:ext>
                </a:extLst>
              </p:cNvPr>
              <p:cNvSpPr/>
              <p:nvPr/>
            </p:nvSpPr>
            <p:spPr>
              <a:xfrm>
                <a:off x="7589993" y="3857995"/>
                <a:ext cx="79916" cy="123204"/>
              </a:xfrm>
              <a:custGeom>
                <a:avLst/>
                <a:gdLst>
                  <a:gd name="connsiteX0" fmla="*/ 77141 w 79916"/>
                  <a:gd name="connsiteY0" fmla="*/ 20534 h 123204"/>
                  <a:gd name="connsiteX1" fmla="*/ 72147 w 79916"/>
                  <a:gd name="connsiteY1" fmla="*/ 23309 h 123204"/>
                  <a:gd name="connsiteX2" fmla="*/ 68817 w 79916"/>
                  <a:gd name="connsiteY2" fmla="*/ 21644 h 123204"/>
                  <a:gd name="connsiteX3" fmla="*/ 65487 w 79916"/>
                  <a:gd name="connsiteY3" fmla="*/ 17759 h 123204"/>
                  <a:gd name="connsiteX4" fmla="*/ 61047 w 79916"/>
                  <a:gd name="connsiteY4" fmla="*/ 13874 h 123204"/>
                  <a:gd name="connsiteX5" fmla="*/ 55498 w 79916"/>
                  <a:gd name="connsiteY5" fmla="*/ 12209 h 123204"/>
                  <a:gd name="connsiteX6" fmla="*/ 36628 w 79916"/>
                  <a:gd name="connsiteY6" fmla="*/ 31079 h 123204"/>
                  <a:gd name="connsiteX7" fmla="*/ 13319 w 79916"/>
                  <a:gd name="connsiteY7" fmla="*/ 77697 h 123204"/>
                  <a:gd name="connsiteX8" fmla="*/ 14429 w 79916"/>
                  <a:gd name="connsiteY8" fmla="*/ 91571 h 123204"/>
                  <a:gd name="connsiteX9" fmla="*/ 15539 w 79916"/>
                  <a:gd name="connsiteY9" fmla="*/ 104335 h 123204"/>
                  <a:gd name="connsiteX10" fmla="*/ 16094 w 79916"/>
                  <a:gd name="connsiteY10" fmla="*/ 114325 h 123204"/>
                  <a:gd name="connsiteX11" fmla="*/ 14429 w 79916"/>
                  <a:gd name="connsiteY11" fmla="*/ 120430 h 123204"/>
                  <a:gd name="connsiteX12" fmla="*/ 8879 w 79916"/>
                  <a:gd name="connsiteY12" fmla="*/ 123205 h 123204"/>
                  <a:gd name="connsiteX13" fmla="*/ 3330 w 79916"/>
                  <a:gd name="connsiteY13" fmla="*/ 112105 h 123204"/>
                  <a:gd name="connsiteX14" fmla="*/ 1665 w 79916"/>
                  <a:gd name="connsiteY14" fmla="*/ 79916 h 123204"/>
                  <a:gd name="connsiteX15" fmla="*/ 1110 w 79916"/>
                  <a:gd name="connsiteY15" fmla="*/ 64377 h 123204"/>
                  <a:gd name="connsiteX16" fmla="*/ 555 w 79916"/>
                  <a:gd name="connsiteY16" fmla="*/ 40513 h 123204"/>
                  <a:gd name="connsiteX17" fmla="*/ 0 w 79916"/>
                  <a:gd name="connsiteY17" fmla="*/ 10545 h 123204"/>
                  <a:gd name="connsiteX18" fmla="*/ 6660 w 79916"/>
                  <a:gd name="connsiteY18" fmla="*/ 4995 h 123204"/>
                  <a:gd name="connsiteX19" fmla="*/ 11654 w 79916"/>
                  <a:gd name="connsiteY19" fmla="*/ 8325 h 123204"/>
                  <a:gd name="connsiteX20" fmla="*/ 12764 w 79916"/>
                  <a:gd name="connsiteY20" fmla="*/ 21644 h 123204"/>
                  <a:gd name="connsiteX21" fmla="*/ 12764 w 79916"/>
                  <a:gd name="connsiteY21" fmla="*/ 60492 h 123204"/>
                  <a:gd name="connsiteX22" fmla="*/ 28304 w 79916"/>
                  <a:gd name="connsiteY22" fmla="*/ 28304 h 123204"/>
                  <a:gd name="connsiteX23" fmla="*/ 44953 w 79916"/>
                  <a:gd name="connsiteY23" fmla="*/ 7215 h 123204"/>
                  <a:gd name="connsiteX24" fmla="*/ 59382 w 79916"/>
                  <a:gd name="connsiteY24" fmla="*/ 0 h 123204"/>
                  <a:gd name="connsiteX25" fmla="*/ 69372 w 79916"/>
                  <a:gd name="connsiteY25" fmla="*/ 2220 h 123204"/>
                  <a:gd name="connsiteX26" fmla="*/ 77141 w 79916"/>
                  <a:gd name="connsiteY26" fmla="*/ 8325 h 123204"/>
                  <a:gd name="connsiteX27" fmla="*/ 79916 w 79916"/>
                  <a:gd name="connsiteY27" fmla="*/ 15539 h 123204"/>
                  <a:gd name="connsiteX28" fmla="*/ 77141 w 79916"/>
                  <a:gd name="connsiteY28" fmla="*/ 20534 h 123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9916" h="123204">
                    <a:moveTo>
                      <a:pt x="77141" y="20534"/>
                    </a:moveTo>
                    <a:cubicBezTo>
                      <a:pt x="74922" y="22199"/>
                      <a:pt x="73257" y="23309"/>
                      <a:pt x="72147" y="23309"/>
                    </a:cubicBezTo>
                    <a:cubicBezTo>
                      <a:pt x="71037" y="23309"/>
                      <a:pt x="69927" y="22754"/>
                      <a:pt x="68817" y="21644"/>
                    </a:cubicBezTo>
                    <a:cubicBezTo>
                      <a:pt x="67707" y="20534"/>
                      <a:pt x="66597" y="19424"/>
                      <a:pt x="65487" y="17759"/>
                    </a:cubicBezTo>
                    <a:cubicBezTo>
                      <a:pt x="64377" y="16094"/>
                      <a:pt x="62712" y="14984"/>
                      <a:pt x="61047" y="13874"/>
                    </a:cubicBezTo>
                    <a:cubicBezTo>
                      <a:pt x="59382" y="12764"/>
                      <a:pt x="57162" y="12209"/>
                      <a:pt x="55498" y="12209"/>
                    </a:cubicBezTo>
                    <a:cubicBezTo>
                      <a:pt x="51058" y="12209"/>
                      <a:pt x="44398" y="18314"/>
                      <a:pt x="36628" y="31079"/>
                    </a:cubicBezTo>
                    <a:cubicBezTo>
                      <a:pt x="28859" y="43288"/>
                      <a:pt x="21089" y="59382"/>
                      <a:pt x="13319" y="77697"/>
                    </a:cubicBezTo>
                    <a:cubicBezTo>
                      <a:pt x="13319" y="81581"/>
                      <a:pt x="13874" y="86021"/>
                      <a:pt x="14429" y="91571"/>
                    </a:cubicBezTo>
                    <a:cubicBezTo>
                      <a:pt x="14984" y="97121"/>
                      <a:pt x="14984" y="101561"/>
                      <a:pt x="15539" y="104335"/>
                    </a:cubicBezTo>
                    <a:lnTo>
                      <a:pt x="16094" y="114325"/>
                    </a:lnTo>
                    <a:cubicBezTo>
                      <a:pt x="16094" y="116545"/>
                      <a:pt x="15539" y="118765"/>
                      <a:pt x="14429" y="120430"/>
                    </a:cubicBezTo>
                    <a:cubicBezTo>
                      <a:pt x="13319" y="122095"/>
                      <a:pt x="11654" y="123205"/>
                      <a:pt x="8879" y="123205"/>
                    </a:cubicBezTo>
                    <a:cubicBezTo>
                      <a:pt x="6105" y="123205"/>
                      <a:pt x="4440" y="119320"/>
                      <a:pt x="3330" y="112105"/>
                    </a:cubicBezTo>
                    <a:cubicBezTo>
                      <a:pt x="2775" y="104890"/>
                      <a:pt x="2220" y="93791"/>
                      <a:pt x="1665" y="79916"/>
                    </a:cubicBezTo>
                    <a:cubicBezTo>
                      <a:pt x="1665" y="76587"/>
                      <a:pt x="1110" y="71037"/>
                      <a:pt x="1110" y="64377"/>
                    </a:cubicBezTo>
                    <a:cubicBezTo>
                      <a:pt x="1110" y="57717"/>
                      <a:pt x="555" y="49948"/>
                      <a:pt x="555" y="40513"/>
                    </a:cubicBezTo>
                    <a:cubicBezTo>
                      <a:pt x="0" y="26639"/>
                      <a:pt x="0" y="16649"/>
                      <a:pt x="0" y="10545"/>
                    </a:cubicBezTo>
                    <a:cubicBezTo>
                      <a:pt x="0" y="6660"/>
                      <a:pt x="2220" y="4995"/>
                      <a:pt x="6660" y="4995"/>
                    </a:cubicBezTo>
                    <a:cubicBezTo>
                      <a:pt x="9435" y="4995"/>
                      <a:pt x="11100" y="6105"/>
                      <a:pt x="11654" y="8325"/>
                    </a:cubicBezTo>
                    <a:cubicBezTo>
                      <a:pt x="12210" y="10545"/>
                      <a:pt x="12764" y="14984"/>
                      <a:pt x="12764" y="21644"/>
                    </a:cubicBezTo>
                    <a:lnTo>
                      <a:pt x="12764" y="60492"/>
                    </a:lnTo>
                    <a:cubicBezTo>
                      <a:pt x="17759" y="48283"/>
                      <a:pt x="22754" y="37183"/>
                      <a:pt x="28304" y="28304"/>
                    </a:cubicBezTo>
                    <a:cubicBezTo>
                      <a:pt x="33853" y="19424"/>
                      <a:pt x="39403" y="12209"/>
                      <a:pt x="44953" y="7215"/>
                    </a:cubicBezTo>
                    <a:cubicBezTo>
                      <a:pt x="50503" y="2220"/>
                      <a:pt x="55498" y="0"/>
                      <a:pt x="59382" y="0"/>
                    </a:cubicBezTo>
                    <a:cubicBezTo>
                      <a:pt x="62712" y="0"/>
                      <a:pt x="66597" y="555"/>
                      <a:pt x="69372" y="2220"/>
                    </a:cubicBezTo>
                    <a:cubicBezTo>
                      <a:pt x="72702" y="3885"/>
                      <a:pt x="75477" y="6105"/>
                      <a:pt x="77141" y="8325"/>
                    </a:cubicBezTo>
                    <a:cubicBezTo>
                      <a:pt x="79361" y="11100"/>
                      <a:pt x="79916" y="13319"/>
                      <a:pt x="79916" y="15539"/>
                    </a:cubicBezTo>
                    <a:cubicBezTo>
                      <a:pt x="79916" y="17204"/>
                      <a:pt x="79361" y="18869"/>
                      <a:pt x="77141" y="20534"/>
                    </a:cubicBezTo>
                    <a:close/>
                  </a:path>
                </a:pathLst>
              </a:custGeom>
              <a:solidFill>
                <a:srgbClr val="676767"/>
              </a:solidFill>
              <a:ln w="55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2" name="Freihandform: Form 61">
                <a:extLst>
                  <a:ext uri="{FF2B5EF4-FFF2-40B4-BE49-F238E27FC236}">
                    <a16:creationId xmlns:a16="http://schemas.microsoft.com/office/drawing/2014/main" id="{60306F70-8858-410F-A41A-BF99DE55E76A}"/>
                  </a:ext>
                </a:extLst>
              </p:cNvPr>
              <p:cNvSpPr/>
              <p:nvPr/>
            </p:nvSpPr>
            <p:spPr>
              <a:xfrm>
                <a:off x="7688778" y="3801388"/>
                <a:ext cx="109885" cy="182586"/>
              </a:xfrm>
              <a:custGeom>
                <a:avLst/>
                <a:gdLst>
                  <a:gd name="connsiteX0" fmla="*/ 106000 w 109885"/>
                  <a:gd name="connsiteY0" fmla="*/ 77142 h 182586"/>
                  <a:gd name="connsiteX1" fmla="*/ 99896 w 109885"/>
                  <a:gd name="connsiteY1" fmla="*/ 81026 h 182586"/>
                  <a:gd name="connsiteX2" fmla="*/ 95456 w 109885"/>
                  <a:gd name="connsiteY2" fmla="*/ 78807 h 182586"/>
                  <a:gd name="connsiteX3" fmla="*/ 92126 w 109885"/>
                  <a:gd name="connsiteY3" fmla="*/ 76587 h 182586"/>
                  <a:gd name="connsiteX4" fmla="*/ 71037 w 109885"/>
                  <a:gd name="connsiteY4" fmla="*/ 85466 h 182586"/>
                  <a:gd name="connsiteX5" fmla="*/ 41623 w 109885"/>
                  <a:gd name="connsiteY5" fmla="*/ 106555 h 182586"/>
                  <a:gd name="connsiteX6" fmla="*/ 18314 w 109885"/>
                  <a:gd name="connsiteY6" fmla="*/ 127089 h 182586"/>
                  <a:gd name="connsiteX7" fmla="*/ 18314 w 109885"/>
                  <a:gd name="connsiteY7" fmla="*/ 131529 h 182586"/>
                  <a:gd name="connsiteX8" fmla="*/ 59382 w 109885"/>
                  <a:gd name="connsiteY8" fmla="*/ 149843 h 182586"/>
                  <a:gd name="connsiteX9" fmla="*/ 91016 w 109885"/>
                  <a:gd name="connsiteY9" fmla="*/ 161498 h 182586"/>
                  <a:gd name="connsiteX10" fmla="*/ 97676 w 109885"/>
                  <a:gd name="connsiteY10" fmla="*/ 162053 h 182586"/>
                  <a:gd name="connsiteX11" fmla="*/ 102670 w 109885"/>
                  <a:gd name="connsiteY11" fmla="*/ 162053 h 182586"/>
                  <a:gd name="connsiteX12" fmla="*/ 106555 w 109885"/>
                  <a:gd name="connsiteY12" fmla="*/ 162053 h 182586"/>
                  <a:gd name="connsiteX13" fmla="*/ 108220 w 109885"/>
                  <a:gd name="connsiteY13" fmla="*/ 163163 h 182586"/>
                  <a:gd name="connsiteX14" fmla="*/ 103780 w 109885"/>
                  <a:gd name="connsiteY14" fmla="*/ 169268 h 182586"/>
                  <a:gd name="connsiteX15" fmla="*/ 90461 w 109885"/>
                  <a:gd name="connsiteY15" fmla="*/ 172042 h 182586"/>
                  <a:gd name="connsiteX16" fmla="*/ 68817 w 109885"/>
                  <a:gd name="connsiteY16" fmla="*/ 165938 h 182586"/>
                  <a:gd name="connsiteX17" fmla="*/ 36073 w 109885"/>
                  <a:gd name="connsiteY17" fmla="*/ 150398 h 182586"/>
                  <a:gd name="connsiteX18" fmla="*/ 20534 w 109885"/>
                  <a:gd name="connsiteY18" fmla="*/ 142629 h 182586"/>
                  <a:gd name="connsiteX19" fmla="*/ 23864 w 109885"/>
                  <a:gd name="connsiteY19" fmla="*/ 176482 h 182586"/>
                  <a:gd name="connsiteX20" fmla="*/ 21089 w 109885"/>
                  <a:gd name="connsiteY20" fmla="*/ 180922 h 182586"/>
                  <a:gd name="connsiteX21" fmla="*/ 14984 w 109885"/>
                  <a:gd name="connsiteY21" fmla="*/ 182587 h 182586"/>
                  <a:gd name="connsiteX22" fmla="*/ 11654 w 109885"/>
                  <a:gd name="connsiteY22" fmla="*/ 176482 h 182586"/>
                  <a:gd name="connsiteX23" fmla="*/ 8879 w 109885"/>
                  <a:gd name="connsiteY23" fmla="*/ 153173 h 182586"/>
                  <a:gd name="connsiteX24" fmla="*/ 7215 w 109885"/>
                  <a:gd name="connsiteY24" fmla="*/ 138189 h 182586"/>
                  <a:gd name="connsiteX25" fmla="*/ 2220 w 109885"/>
                  <a:gd name="connsiteY25" fmla="*/ 134859 h 182586"/>
                  <a:gd name="connsiteX26" fmla="*/ 0 w 109885"/>
                  <a:gd name="connsiteY26" fmla="*/ 130419 h 182586"/>
                  <a:gd name="connsiteX27" fmla="*/ 4995 w 109885"/>
                  <a:gd name="connsiteY27" fmla="*/ 123759 h 182586"/>
                  <a:gd name="connsiteX28" fmla="*/ 3885 w 109885"/>
                  <a:gd name="connsiteY28" fmla="*/ 86021 h 182586"/>
                  <a:gd name="connsiteX29" fmla="*/ 2220 w 109885"/>
                  <a:gd name="connsiteY29" fmla="*/ 50503 h 182586"/>
                  <a:gd name="connsiteX30" fmla="*/ 1110 w 109885"/>
                  <a:gd name="connsiteY30" fmla="*/ 16649 h 182586"/>
                  <a:gd name="connsiteX31" fmla="*/ 2775 w 109885"/>
                  <a:gd name="connsiteY31" fmla="*/ 4995 h 182586"/>
                  <a:gd name="connsiteX32" fmla="*/ 10545 w 109885"/>
                  <a:gd name="connsiteY32" fmla="*/ 0 h 182586"/>
                  <a:gd name="connsiteX33" fmla="*/ 13320 w 109885"/>
                  <a:gd name="connsiteY33" fmla="*/ 1110 h 182586"/>
                  <a:gd name="connsiteX34" fmla="*/ 13874 w 109885"/>
                  <a:gd name="connsiteY34" fmla="*/ 4440 h 182586"/>
                  <a:gd name="connsiteX35" fmla="*/ 15539 w 109885"/>
                  <a:gd name="connsiteY35" fmla="*/ 56607 h 182586"/>
                  <a:gd name="connsiteX36" fmla="*/ 18314 w 109885"/>
                  <a:gd name="connsiteY36" fmla="*/ 114880 h 182586"/>
                  <a:gd name="connsiteX37" fmla="*/ 97676 w 109885"/>
                  <a:gd name="connsiteY37" fmla="*/ 63267 h 182586"/>
                  <a:gd name="connsiteX38" fmla="*/ 106555 w 109885"/>
                  <a:gd name="connsiteY38" fmla="*/ 64932 h 182586"/>
                  <a:gd name="connsiteX39" fmla="*/ 109885 w 109885"/>
                  <a:gd name="connsiteY39" fmla="*/ 68817 h 182586"/>
                  <a:gd name="connsiteX40" fmla="*/ 106000 w 109885"/>
                  <a:gd name="connsiteY40" fmla="*/ 77142 h 1825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109885" h="182586">
                    <a:moveTo>
                      <a:pt x="106000" y="77142"/>
                    </a:moveTo>
                    <a:cubicBezTo>
                      <a:pt x="103780" y="79916"/>
                      <a:pt x="101560" y="81026"/>
                      <a:pt x="99896" y="81026"/>
                    </a:cubicBezTo>
                    <a:cubicBezTo>
                      <a:pt x="98786" y="81026"/>
                      <a:pt x="97121" y="80471"/>
                      <a:pt x="95456" y="78807"/>
                    </a:cubicBezTo>
                    <a:cubicBezTo>
                      <a:pt x="93791" y="77697"/>
                      <a:pt x="92681" y="76587"/>
                      <a:pt x="92126" y="76587"/>
                    </a:cubicBezTo>
                    <a:cubicBezTo>
                      <a:pt x="87686" y="76587"/>
                      <a:pt x="81026" y="79361"/>
                      <a:pt x="71037" y="85466"/>
                    </a:cubicBezTo>
                    <a:cubicBezTo>
                      <a:pt x="61602" y="91571"/>
                      <a:pt x="51613" y="98786"/>
                      <a:pt x="41623" y="106555"/>
                    </a:cubicBezTo>
                    <a:cubicBezTo>
                      <a:pt x="31634" y="114880"/>
                      <a:pt x="23864" y="121540"/>
                      <a:pt x="18314" y="127089"/>
                    </a:cubicBezTo>
                    <a:lnTo>
                      <a:pt x="18314" y="131529"/>
                    </a:lnTo>
                    <a:cubicBezTo>
                      <a:pt x="30524" y="137079"/>
                      <a:pt x="44398" y="143184"/>
                      <a:pt x="59382" y="149843"/>
                    </a:cubicBezTo>
                    <a:cubicBezTo>
                      <a:pt x="74367" y="156503"/>
                      <a:pt x="84911" y="160388"/>
                      <a:pt x="91016" y="161498"/>
                    </a:cubicBezTo>
                    <a:cubicBezTo>
                      <a:pt x="93236" y="162053"/>
                      <a:pt x="95456" y="162053"/>
                      <a:pt x="97676" y="162053"/>
                    </a:cubicBezTo>
                    <a:cubicBezTo>
                      <a:pt x="99896" y="162053"/>
                      <a:pt x="101560" y="162053"/>
                      <a:pt x="102670" y="162053"/>
                    </a:cubicBezTo>
                    <a:cubicBezTo>
                      <a:pt x="104335" y="162053"/>
                      <a:pt x="105445" y="162053"/>
                      <a:pt x="106555" y="162053"/>
                    </a:cubicBezTo>
                    <a:cubicBezTo>
                      <a:pt x="107665" y="162053"/>
                      <a:pt x="108220" y="162608"/>
                      <a:pt x="108220" y="163163"/>
                    </a:cubicBezTo>
                    <a:cubicBezTo>
                      <a:pt x="108220" y="165383"/>
                      <a:pt x="106555" y="167048"/>
                      <a:pt x="103780" y="169268"/>
                    </a:cubicBezTo>
                    <a:cubicBezTo>
                      <a:pt x="101006" y="171487"/>
                      <a:pt x="96011" y="172042"/>
                      <a:pt x="90461" y="172042"/>
                    </a:cubicBezTo>
                    <a:cubicBezTo>
                      <a:pt x="84911" y="172042"/>
                      <a:pt x="77697" y="169822"/>
                      <a:pt x="68817" y="165938"/>
                    </a:cubicBezTo>
                    <a:cubicBezTo>
                      <a:pt x="59937" y="162053"/>
                      <a:pt x="48838" y="156503"/>
                      <a:pt x="36073" y="150398"/>
                    </a:cubicBezTo>
                    <a:lnTo>
                      <a:pt x="20534" y="142629"/>
                    </a:lnTo>
                    <a:cubicBezTo>
                      <a:pt x="22754" y="163163"/>
                      <a:pt x="23864" y="174817"/>
                      <a:pt x="23864" y="176482"/>
                    </a:cubicBezTo>
                    <a:cubicBezTo>
                      <a:pt x="23864" y="178147"/>
                      <a:pt x="22754" y="179812"/>
                      <a:pt x="21089" y="180922"/>
                    </a:cubicBezTo>
                    <a:cubicBezTo>
                      <a:pt x="19424" y="182032"/>
                      <a:pt x="17204" y="182587"/>
                      <a:pt x="14984" y="182587"/>
                    </a:cubicBezTo>
                    <a:cubicBezTo>
                      <a:pt x="13874" y="182587"/>
                      <a:pt x="12764" y="180367"/>
                      <a:pt x="11654" y="176482"/>
                    </a:cubicBezTo>
                    <a:cubicBezTo>
                      <a:pt x="11100" y="172597"/>
                      <a:pt x="9989" y="164828"/>
                      <a:pt x="8879" y="153173"/>
                    </a:cubicBezTo>
                    <a:lnTo>
                      <a:pt x="7215" y="138189"/>
                    </a:lnTo>
                    <a:cubicBezTo>
                      <a:pt x="4995" y="137634"/>
                      <a:pt x="3330" y="135969"/>
                      <a:pt x="2220" y="134859"/>
                    </a:cubicBezTo>
                    <a:cubicBezTo>
                      <a:pt x="555" y="133194"/>
                      <a:pt x="0" y="132084"/>
                      <a:pt x="0" y="130419"/>
                    </a:cubicBezTo>
                    <a:cubicBezTo>
                      <a:pt x="0" y="128199"/>
                      <a:pt x="1665" y="125979"/>
                      <a:pt x="4995" y="123759"/>
                    </a:cubicBezTo>
                    <a:cubicBezTo>
                      <a:pt x="4995" y="114880"/>
                      <a:pt x="4440" y="102670"/>
                      <a:pt x="3885" y="86021"/>
                    </a:cubicBezTo>
                    <a:cubicBezTo>
                      <a:pt x="3330" y="69927"/>
                      <a:pt x="2775" y="57717"/>
                      <a:pt x="2220" y="50503"/>
                    </a:cubicBezTo>
                    <a:lnTo>
                      <a:pt x="1110" y="16649"/>
                    </a:lnTo>
                    <a:cubicBezTo>
                      <a:pt x="1110" y="12209"/>
                      <a:pt x="1665" y="8325"/>
                      <a:pt x="2775" y="4995"/>
                    </a:cubicBezTo>
                    <a:cubicBezTo>
                      <a:pt x="3885" y="1665"/>
                      <a:pt x="6660" y="0"/>
                      <a:pt x="10545" y="0"/>
                    </a:cubicBezTo>
                    <a:cubicBezTo>
                      <a:pt x="12210" y="0"/>
                      <a:pt x="12764" y="555"/>
                      <a:pt x="13320" y="1110"/>
                    </a:cubicBezTo>
                    <a:cubicBezTo>
                      <a:pt x="13874" y="1665"/>
                      <a:pt x="13874" y="2775"/>
                      <a:pt x="13874" y="4440"/>
                    </a:cubicBezTo>
                    <a:cubicBezTo>
                      <a:pt x="13874" y="11654"/>
                      <a:pt x="14429" y="29414"/>
                      <a:pt x="15539" y="56607"/>
                    </a:cubicBezTo>
                    <a:cubicBezTo>
                      <a:pt x="16649" y="83801"/>
                      <a:pt x="17204" y="103225"/>
                      <a:pt x="18314" y="114880"/>
                    </a:cubicBezTo>
                    <a:cubicBezTo>
                      <a:pt x="54388" y="80471"/>
                      <a:pt x="81026" y="63267"/>
                      <a:pt x="97676" y="63267"/>
                    </a:cubicBezTo>
                    <a:cubicBezTo>
                      <a:pt x="101006" y="63267"/>
                      <a:pt x="103780" y="63822"/>
                      <a:pt x="106555" y="64932"/>
                    </a:cubicBezTo>
                    <a:cubicBezTo>
                      <a:pt x="108775" y="66042"/>
                      <a:pt x="109885" y="67152"/>
                      <a:pt x="109885" y="68817"/>
                    </a:cubicBezTo>
                    <a:cubicBezTo>
                      <a:pt x="109330" y="72147"/>
                      <a:pt x="108220" y="74367"/>
                      <a:pt x="106000" y="77142"/>
                    </a:cubicBezTo>
                    <a:close/>
                  </a:path>
                </a:pathLst>
              </a:custGeom>
              <a:solidFill>
                <a:srgbClr val="676767"/>
              </a:solidFill>
              <a:ln w="55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40121200-3C7A-4333-8690-8C4EF7B79B6F}"/>
                </a:ext>
              </a:extLst>
            </p:cNvPr>
            <p:cNvSpPr/>
            <p:nvPr/>
          </p:nvSpPr>
          <p:spPr>
            <a:xfrm>
              <a:off x="7235918" y="2953385"/>
              <a:ext cx="198126" cy="198681"/>
            </a:xfrm>
            <a:custGeom>
              <a:avLst/>
              <a:gdLst>
                <a:gd name="connsiteX0" fmla="*/ 187582 w 198126"/>
                <a:gd name="connsiteY0" fmla="*/ 198681 h 198681"/>
                <a:gd name="connsiteX1" fmla="*/ 10544 w 198126"/>
                <a:gd name="connsiteY1" fmla="*/ 198681 h 198681"/>
                <a:gd name="connsiteX2" fmla="*/ 0 w 198126"/>
                <a:gd name="connsiteY2" fmla="*/ 188137 h 198681"/>
                <a:gd name="connsiteX3" fmla="*/ 0 w 198126"/>
                <a:gd name="connsiteY3" fmla="*/ 10545 h 198681"/>
                <a:gd name="connsiteX4" fmla="*/ 10544 w 198126"/>
                <a:gd name="connsiteY4" fmla="*/ 0 h 198681"/>
                <a:gd name="connsiteX5" fmla="*/ 187582 w 198126"/>
                <a:gd name="connsiteY5" fmla="*/ 0 h 198681"/>
                <a:gd name="connsiteX6" fmla="*/ 198126 w 198126"/>
                <a:gd name="connsiteY6" fmla="*/ 10545 h 198681"/>
                <a:gd name="connsiteX7" fmla="*/ 198126 w 198126"/>
                <a:gd name="connsiteY7" fmla="*/ 188137 h 19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8126" h="198681">
                  <a:moveTo>
                    <a:pt x="187582" y="198681"/>
                  </a:moveTo>
                  <a:lnTo>
                    <a:pt x="10544" y="198681"/>
                  </a:lnTo>
                  <a:lnTo>
                    <a:pt x="0" y="188137"/>
                  </a:lnTo>
                  <a:lnTo>
                    <a:pt x="0" y="10545"/>
                  </a:lnTo>
                  <a:lnTo>
                    <a:pt x="10544" y="0"/>
                  </a:lnTo>
                  <a:lnTo>
                    <a:pt x="187582" y="0"/>
                  </a:lnTo>
                  <a:lnTo>
                    <a:pt x="198126" y="10545"/>
                  </a:lnTo>
                  <a:lnTo>
                    <a:pt x="198126" y="188137"/>
                  </a:lnTo>
                  <a:close/>
                </a:path>
              </a:pathLst>
            </a:custGeom>
            <a:solidFill>
              <a:srgbClr val="123F6E"/>
            </a:solidFill>
            <a:ln w="554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ihandform: Form 63">
              <a:extLst>
                <a:ext uri="{FF2B5EF4-FFF2-40B4-BE49-F238E27FC236}">
                  <a16:creationId xmlns:a16="http://schemas.microsoft.com/office/drawing/2014/main" id="{0048A05D-4693-40D7-92A6-81C9D4DE26D7}"/>
                </a:ext>
              </a:extLst>
            </p:cNvPr>
            <p:cNvSpPr/>
            <p:nvPr/>
          </p:nvSpPr>
          <p:spPr>
            <a:xfrm>
              <a:off x="7475668" y="3193689"/>
              <a:ext cx="198681" cy="198681"/>
            </a:xfrm>
            <a:custGeom>
              <a:avLst/>
              <a:gdLst>
                <a:gd name="connsiteX0" fmla="*/ 188137 w 198681"/>
                <a:gd name="connsiteY0" fmla="*/ 198681 h 198681"/>
                <a:gd name="connsiteX1" fmla="*/ 10545 w 198681"/>
                <a:gd name="connsiteY1" fmla="*/ 198681 h 198681"/>
                <a:gd name="connsiteX2" fmla="*/ 0 w 198681"/>
                <a:gd name="connsiteY2" fmla="*/ 187582 h 198681"/>
                <a:gd name="connsiteX3" fmla="*/ 0 w 198681"/>
                <a:gd name="connsiteY3" fmla="*/ 10545 h 198681"/>
                <a:gd name="connsiteX4" fmla="*/ 10545 w 198681"/>
                <a:gd name="connsiteY4" fmla="*/ 0 h 198681"/>
                <a:gd name="connsiteX5" fmla="*/ 188137 w 198681"/>
                <a:gd name="connsiteY5" fmla="*/ 0 h 198681"/>
                <a:gd name="connsiteX6" fmla="*/ 198681 w 198681"/>
                <a:gd name="connsiteY6" fmla="*/ 10545 h 198681"/>
                <a:gd name="connsiteX7" fmla="*/ 198681 w 198681"/>
                <a:gd name="connsiteY7" fmla="*/ 187582 h 19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8681" h="198681">
                  <a:moveTo>
                    <a:pt x="188137" y="198681"/>
                  </a:moveTo>
                  <a:lnTo>
                    <a:pt x="10545" y="198681"/>
                  </a:lnTo>
                  <a:lnTo>
                    <a:pt x="0" y="187582"/>
                  </a:lnTo>
                  <a:lnTo>
                    <a:pt x="0" y="10545"/>
                  </a:lnTo>
                  <a:lnTo>
                    <a:pt x="10545" y="0"/>
                  </a:lnTo>
                  <a:lnTo>
                    <a:pt x="188137" y="0"/>
                  </a:lnTo>
                  <a:lnTo>
                    <a:pt x="198681" y="10545"/>
                  </a:lnTo>
                  <a:lnTo>
                    <a:pt x="198681" y="187582"/>
                  </a:lnTo>
                  <a:close/>
                </a:path>
              </a:pathLst>
            </a:custGeom>
            <a:solidFill>
              <a:srgbClr val="123F6E"/>
            </a:solidFill>
            <a:ln w="554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ihandform: Form 64">
              <a:extLst>
                <a:ext uri="{FF2B5EF4-FFF2-40B4-BE49-F238E27FC236}">
                  <a16:creationId xmlns:a16="http://schemas.microsoft.com/office/drawing/2014/main" id="{91AA81A3-262D-47E1-8918-AE460CAF84D6}"/>
                </a:ext>
              </a:extLst>
            </p:cNvPr>
            <p:cNvSpPr/>
            <p:nvPr/>
          </p:nvSpPr>
          <p:spPr>
            <a:xfrm>
              <a:off x="7475668" y="2829626"/>
              <a:ext cx="322440" cy="322440"/>
            </a:xfrm>
            <a:custGeom>
              <a:avLst/>
              <a:gdLst>
                <a:gd name="connsiteX0" fmla="*/ 311896 w 322440"/>
                <a:gd name="connsiteY0" fmla="*/ 322441 h 322440"/>
                <a:gd name="connsiteX1" fmla="*/ 10545 w 322440"/>
                <a:gd name="connsiteY1" fmla="*/ 322441 h 322440"/>
                <a:gd name="connsiteX2" fmla="*/ 0 w 322440"/>
                <a:gd name="connsiteY2" fmla="*/ 311896 h 322440"/>
                <a:gd name="connsiteX3" fmla="*/ 0 w 322440"/>
                <a:gd name="connsiteY3" fmla="*/ 10545 h 322440"/>
                <a:gd name="connsiteX4" fmla="*/ 10545 w 322440"/>
                <a:gd name="connsiteY4" fmla="*/ 0 h 322440"/>
                <a:gd name="connsiteX5" fmla="*/ 161498 w 322440"/>
                <a:gd name="connsiteY5" fmla="*/ 0 h 322440"/>
                <a:gd name="connsiteX6" fmla="*/ 322441 w 322440"/>
                <a:gd name="connsiteY6" fmla="*/ 160943 h 322440"/>
                <a:gd name="connsiteX7" fmla="*/ 322441 w 322440"/>
                <a:gd name="connsiteY7" fmla="*/ 311896 h 322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2440" h="322440">
                  <a:moveTo>
                    <a:pt x="311896" y="322441"/>
                  </a:moveTo>
                  <a:lnTo>
                    <a:pt x="10545" y="322441"/>
                  </a:lnTo>
                  <a:lnTo>
                    <a:pt x="0" y="311896"/>
                  </a:lnTo>
                  <a:lnTo>
                    <a:pt x="0" y="10545"/>
                  </a:lnTo>
                  <a:lnTo>
                    <a:pt x="10545" y="0"/>
                  </a:lnTo>
                  <a:lnTo>
                    <a:pt x="161498" y="0"/>
                  </a:lnTo>
                  <a:lnTo>
                    <a:pt x="322441" y="160943"/>
                  </a:lnTo>
                  <a:lnTo>
                    <a:pt x="322441" y="311896"/>
                  </a:lnTo>
                  <a:close/>
                </a:path>
              </a:pathLst>
            </a:custGeom>
            <a:solidFill>
              <a:srgbClr val="123F6E"/>
            </a:solidFill>
            <a:ln w="554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ihandform: Form 65">
              <a:extLst>
                <a:ext uri="{FF2B5EF4-FFF2-40B4-BE49-F238E27FC236}">
                  <a16:creationId xmlns:a16="http://schemas.microsoft.com/office/drawing/2014/main" id="{D8CFD276-1544-4C99-BDD7-ABE7001657D3}"/>
                </a:ext>
              </a:extLst>
            </p:cNvPr>
            <p:cNvSpPr/>
            <p:nvPr/>
          </p:nvSpPr>
          <p:spPr>
            <a:xfrm>
              <a:off x="7335259" y="3193689"/>
              <a:ext cx="98785" cy="99340"/>
            </a:xfrm>
            <a:custGeom>
              <a:avLst/>
              <a:gdLst>
                <a:gd name="connsiteX0" fmla="*/ 88241 w 98785"/>
                <a:gd name="connsiteY0" fmla="*/ 99341 h 99340"/>
                <a:gd name="connsiteX1" fmla="*/ 10545 w 98785"/>
                <a:gd name="connsiteY1" fmla="*/ 99341 h 99340"/>
                <a:gd name="connsiteX2" fmla="*/ 0 w 98785"/>
                <a:gd name="connsiteY2" fmla="*/ 88796 h 99340"/>
                <a:gd name="connsiteX3" fmla="*/ 0 w 98785"/>
                <a:gd name="connsiteY3" fmla="*/ 10545 h 99340"/>
                <a:gd name="connsiteX4" fmla="*/ 10545 w 98785"/>
                <a:gd name="connsiteY4" fmla="*/ 0 h 99340"/>
                <a:gd name="connsiteX5" fmla="*/ 88241 w 98785"/>
                <a:gd name="connsiteY5" fmla="*/ 0 h 99340"/>
                <a:gd name="connsiteX6" fmla="*/ 98786 w 98785"/>
                <a:gd name="connsiteY6" fmla="*/ 10545 h 99340"/>
                <a:gd name="connsiteX7" fmla="*/ 98786 w 98785"/>
                <a:gd name="connsiteY7" fmla="*/ 88796 h 9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8785" h="99340">
                  <a:moveTo>
                    <a:pt x="88241" y="99341"/>
                  </a:moveTo>
                  <a:lnTo>
                    <a:pt x="10545" y="99341"/>
                  </a:lnTo>
                  <a:lnTo>
                    <a:pt x="0" y="88796"/>
                  </a:lnTo>
                  <a:lnTo>
                    <a:pt x="0" y="10545"/>
                  </a:lnTo>
                  <a:lnTo>
                    <a:pt x="10545" y="0"/>
                  </a:lnTo>
                  <a:lnTo>
                    <a:pt x="88241" y="0"/>
                  </a:lnTo>
                  <a:lnTo>
                    <a:pt x="98786" y="10545"/>
                  </a:lnTo>
                  <a:lnTo>
                    <a:pt x="98786" y="88796"/>
                  </a:lnTo>
                  <a:close/>
                </a:path>
              </a:pathLst>
            </a:custGeom>
            <a:solidFill>
              <a:srgbClr val="123F6E"/>
            </a:solidFill>
            <a:ln w="554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ihandform: Form 66">
              <a:extLst>
                <a:ext uri="{FF2B5EF4-FFF2-40B4-BE49-F238E27FC236}">
                  <a16:creationId xmlns:a16="http://schemas.microsoft.com/office/drawing/2014/main" id="{5ECB2BD9-46D5-42C7-B351-7D348B238FC9}"/>
                </a:ext>
              </a:extLst>
            </p:cNvPr>
            <p:cNvSpPr/>
            <p:nvPr/>
          </p:nvSpPr>
          <p:spPr>
            <a:xfrm>
              <a:off x="4784592" y="3299690"/>
              <a:ext cx="539991" cy="325215"/>
            </a:xfrm>
            <a:custGeom>
              <a:avLst/>
              <a:gdLst>
                <a:gd name="connsiteX0" fmla="*/ 0 w 539991"/>
                <a:gd name="connsiteY0" fmla="*/ 324106 h 325215"/>
                <a:gd name="connsiteX1" fmla="*/ 0 w 539991"/>
                <a:gd name="connsiteY1" fmla="*/ 8325 h 325215"/>
                <a:gd name="connsiteX2" fmla="*/ 113215 w 539991"/>
                <a:gd name="connsiteY2" fmla="*/ 8325 h 325215"/>
                <a:gd name="connsiteX3" fmla="*/ 113215 w 539991"/>
                <a:gd name="connsiteY3" fmla="*/ 54388 h 325215"/>
                <a:gd name="connsiteX4" fmla="*/ 159833 w 539991"/>
                <a:gd name="connsiteY4" fmla="*/ 13319 h 325215"/>
                <a:gd name="connsiteX5" fmla="*/ 219215 w 539991"/>
                <a:gd name="connsiteY5" fmla="*/ 0 h 325215"/>
                <a:gd name="connsiteX6" fmla="*/ 272493 w 539991"/>
                <a:gd name="connsiteY6" fmla="*/ 13319 h 325215"/>
                <a:gd name="connsiteX7" fmla="*/ 312451 w 539991"/>
                <a:gd name="connsiteY7" fmla="*/ 54943 h 325215"/>
                <a:gd name="connsiteX8" fmla="*/ 362399 w 539991"/>
                <a:gd name="connsiteY8" fmla="*/ 13319 h 325215"/>
                <a:gd name="connsiteX9" fmla="*/ 423446 w 539991"/>
                <a:gd name="connsiteY9" fmla="*/ 0 h 325215"/>
                <a:gd name="connsiteX10" fmla="*/ 509467 w 539991"/>
                <a:gd name="connsiteY10" fmla="*/ 28859 h 325215"/>
                <a:gd name="connsiteX11" fmla="*/ 539991 w 539991"/>
                <a:gd name="connsiteY11" fmla="*/ 109330 h 325215"/>
                <a:gd name="connsiteX12" fmla="*/ 539991 w 539991"/>
                <a:gd name="connsiteY12" fmla="*/ 324661 h 325215"/>
                <a:gd name="connsiteX13" fmla="*/ 417341 w 539991"/>
                <a:gd name="connsiteY13" fmla="*/ 324661 h 325215"/>
                <a:gd name="connsiteX14" fmla="*/ 417341 w 539991"/>
                <a:gd name="connsiteY14" fmla="*/ 155948 h 325215"/>
                <a:gd name="connsiteX15" fmla="*/ 407352 w 539991"/>
                <a:gd name="connsiteY15" fmla="*/ 113215 h 325215"/>
                <a:gd name="connsiteX16" fmla="*/ 375163 w 539991"/>
                <a:gd name="connsiteY16" fmla="*/ 99896 h 325215"/>
                <a:gd name="connsiteX17" fmla="*/ 341865 w 539991"/>
                <a:gd name="connsiteY17" fmla="*/ 113770 h 325215"/>
                <a:gd name="connsiteX18" fmla="*/ 331320 w 539991"/>
                <a:gd name="connsiteY18" fmla="*/ 157058 h 325215"/>
                <a:gd name="connsiteX19" fmla="*/ 331320 w 539991"/>
                <a:gd name="connsiteY19" fmla="*/ 324661 h 325215"/>
                <a:gd name="connsiteX20" fmla="*/ 209226 w 539991"/>
                <a:gd name="connsiteY20" fmla="*/ 324661 h 325215"/>
                <a:gd name="connsiteX21" fmla="*/ 209226 w 539991"/>
                <a:gd name="connsiteY21" fmla="*/ 159833 h 325215"/>
                <a:gd name="connsiteX22" fmla="*/ 199236 w 539991"/>
                <a:gd name="connsiteY22" fmla="*/ 113215 h 325215"/>
                <a:gd name="connsiteX23" fmla="*/ 165938 w 539991"/>
                <a:gd name="connsiteY23" fmla="*/ 99341 h 325215"/>
                <a:gd name="connsiteX24" fmla="*/ 134304 w 539991"/>
                <a:gd name="connsiteY24" fmla="*/ 113770 h 325215"/>
                <a:gd name="connsiteX25" fmla="*/ 123760 w 539991"/>
                <a:gd name="connsiteY25" fmla="*/ 155393 h 325215"/>
                <a:gd name="connsiteX26" fmla="*/ 123760 w 539991"/>
                <a:gd name="connsiteY26" fmla="*/ 325216 h 325215"/>
                <a:gd name="connsiteX27" fmla="*/ 0 w 539991"/>
                <a:gd name="connsiteY27" fmla="*/ 325216 h 325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39991" h="325215">
                  <a:moveTo>
                    <a:pt x="0" y="324106"/>
                  </a:moveTo>
                  <a:lnTo>
                    <a:pt x="0" y="8325"/>
                  </a:lnTo>
                  <a:lnTo>
                    <a:pt x="113215" y="8325"/>
                  </a:lnTo>
                  <a:lnTo>
                    <a:pt x="113215" y="54388"/>
                  </a:lnTo>
                  <a:cubicBezTo>
                    <a:pt x="127089" y="36073"/>
                    <a:pt x="142629" y="22199"/>
                    <a:pt x="159833" y="13319"/>
                  </a:cubicBezTo>
                  <a:cubicBezTo>
                    <a:pt x="177037" y="4440"/>
                    <a:pt x="197016" y="0"/>
                    <a:pt x="219215" y="0"/>
                  </a:cubicBezTo>
                  <a:cubicBezTo>
                    <a:pt x="239749" y="0"/>
                    <a:pt x="257509" y="4440"/>
                    <a:pt x="272493" y="13319"/>
                  </a:cubicBezTo>
                  <a:cubicBezTo>
                    <a:pt x="287477" y="22199"/>
                    <a:pt x="300797" y="36073"/>
                    <a:pt x="312451" y="54943"/>
                  </a:cubicBezTo>
                  <a:cubicBezTo>
                    <a:pt x="327435" y="36073"/>
                    <a:pt x="344085" y="22199"/>
                    <a:pt x="362399" y="13319"/>
                  </a:cubicBezTo>
                  <a:cubicBezTo>
                    <a:pt x="380713" y="4440"/>
                    <a:pt x="400692" y="0"/>
                    <a:pt x="423446" y="0"/>
                  </a:cubicBezTo>
                  <a:cubicBezTo>
                    <a:pt x="460075" y="0"/>
                    <a:pt x="488933" y="9435"/>
                    <a:pt x="509467" y="28859"/>
                  </a:cubicBezTo>
                  <a:cubicBezTo>
                    <a:pt x="530002" y="48283"/>
                    <a:pt x="539991" y="74922"/>
                    <a:pt x="539991" y="109330"/>
                  </a:cubicBezTo>
                  <a:lnTo>
                    <a:pt x="539991" y="324661"/>
                  </a:lnTo>
                  <a:lnTo>
                    <a:pt x="417341" y="324661"/>
                  </a:lnTo>
                  <a:lnTo>
                    <a:pt x="417341" y="155948"/>
                  </a:lnTo>
                  <a:cubicBezTo>
                    <a:pt x="417341" y="135969"/>
                    <a:pt x="414012" y="122095"/>
                    <a:pt x="407352" y="113215"/>
                  </a:cubicBezTo>
                  <a:cubicBezTo>
                    <a:pt x="400692" y="104335"/>
                    <a:pt x="390148" y="99896"/>
                    <a:pt x="375163" y="99896"/>
                  </a:cubicBezTo>
                  <a:cubicBezTo>
                    <a:pt x="360179" y="99896"/>
                    <a:pt x="349080" y="104335"/>
                    <a:pt x="341865" y="113770"/>
                  </a:cubicBezTo>
                  <a:cubicBezTo>
                    <a:pt x="334650" y="123205"/>
                    <a:pt x="331320" y="137634"/>
                    <a:pt x="331320" y="157058"/>
                  </a:cubicBezTo>
                  <a:lnTo>
                    <a:pt x="331320" y="324661"/>
                  </a:lnTo>
                  <a:lnTo>
                    <a:pt x="209226" y="324661"/>
                  </a:lnTo>
                  <a:lnTo>
                    <a:pt x="209226" y="159833"/>
                  </a:lnTo>
                  <a:cubicBezTo>
                    <a:pt x="209226" y="138189"/>
                    <a:pt x="205896" y="122650"/>
                    <a:pt x="199236" y="113215"/>
                  </a:cubicBezTo>
                  <a:cubicBezTo>
                    <a:pt x="192576" y="103780"/>
                    <a:pt x="181477" y="99341"/>
                    <a:pt x="165938" y="99341"/>
                  </a:cubicBezTo>
                  <a:cubicBezTo>
                    <a:pt x="152063" y="99341"/>
                    <a:pt x="141519" y="104335"/>
                    <a:pt x="134304" y="113770"/>
                  </a:cubicBezTo>
                  <a:cubicBezTo>
                    <a:pt x="127089" y="123205"/>
                    <a:pt x="123760" y="137079"/>
                    <a:pt x="123760" y="155393"/>
                  </a:cubicBezTo>
                  <a:lnTo>
                    <a:pt x="123760" y="325216"/>
                  </a:lnTo>
                  <a:lnTo>
                    <a:pt x="0" y="325216"/>
                  </a:lnTo>
                  <a:close/>
                </a:path>
              </a:pathLst>
            </a:custGeom>
            <a:solidFill>
              <a:srgbClr val="676767"/>
            </a:solidFill>
            <a:ln w="554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ihandform: Form 67">
              <a:extLst>
                <a:ext uri="{FF2B5EF4-FFF2-40B4-BE49-F238E27FC236}">
                  <a16:creationId xmlns:a16="http://schemas.microsoft.com/office/drawing/2014/main" id="{80D33C0B-A98E-4362-8A9B-F27F846CB301}"/>
                </a:ext>
              </a:extLst>
            </p:cNvPr>
            <p:cNvSpPr/>
            <p:nvPr/>
          </p:nvSpPr>
          <p:spPr>
            <a:xfrm>
              <a:off x="4395000" y="3297470"/>
              <a:ext cx="359624" cy="337425"/>
            </a:xfrm>
            <a:custGeom>
              <a:avLst/>
              <a:gdLst>
                <a:gd name="connsiteX0" fmla="*/ 349634 w 359624"/>
                <a:gd name="connsiteY0" fmla="*/ 233090 h 337425"/>
                <a:gd name="connsiteX1" fmla="*/ 175927 w 359624"/>
                <a:gd name="connsiteY1" fmla="*/ 337425 h 337425"/>
                <a:gd name="connsiteX2" fmla="*/ 0 w 359624"/>
                <a:gd name="connsiteY2" fmla="*/ 171487 h 337425"/>
                <a:gd name="connsiteX3" fmla="*/ 180922 w 359624"/>
                <a:gd name="connsiteY3" fmla="*/ 0 h 337425"/>
                <a:gd name="connsiteX4" fmla="*/ 359624 w 359624"/>
                <a:gd name="connsiteY4" fmla="*/ 188692 h 337425"/>
                <a:gd name="connsiteX5" fmla="*/ 359624 w 359624"/>
                <a:gd name="connsiteY5" fmla="*/ 196461 h 337425"/>
                <a:gd name="connsiteX6" fmla="*/ 124869 w 359624"/>
                <a:gd name="connsiteY6" fmla="*/ 196461 h 337425"/>
                <a:gd name="connsiteX7" fmla="*/ 183142 w 359624"/>
                <a:gd name="connsiteY7" fmla="*/ 259174 h 337425"/>
                <a:gd name="connsiteX8" fmla="*/ 229760 w 359624"/>
                <a:gd name="connsiteY8" fmla="*/ 233090 h 337425"/>
                <a:gd name="connsiteX9" fmla="*/ 349634 w 359624"/>
                <a:gd name="connsiteY9" fmla="*/ 233090 h 337425"/>
                <a:gd name="connsiteX10" fmla="*/ 236420 w 359624"/>
                <a:gd name="connsiteY10" fmla="*/ 133749 h 337425"/>
                <a:gd name="connsiteX11" fmla="*/ 179812 w 359624"/>
                <a:gd name="connsiteY11" fmla="*/ 74922 h 337425"/>
                <a:gd name="connsiteX12" fmla="*/ 125424 w 359624"/>
                <a:gd name="connsiteY12" fmla="*/ 133749 h 337425"/>
                <a:gd name="connsiteX13" fmla="*/ 236420 w 359624"/>
                <a:gd name="connsiteY13" fmla="*/ 133749 h 337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59624" h="337425">
                  <a:moveTo>
                    <a:pt x="349634" y="233090"/>
                  </a:moveTo>
                  <a:cubicBezTo>
                    <a:pt x="332430" y="301352"/>
                    <a:pt x="273048" y="337425"/>
                    <a:pt x="175927" y="337425"/>
                  </a:cubicBezTo>
                  <a:cubicBezTo>
                    <a:pt x="67152" y="337425"/>
                    <a:pt x="0" y="271938"/>
                    <a:pt x="0" y="171487"/>
                  </a:cubicBezTo>
                  <a:cubicBezTo>
                    <a:pt x="0" y="66042"/>
                    <a:pt x="68817" y="0"/>
                    <a:pt x="180922" y="0"/>
                  </a:cubicBezTo>
                  <a:cubicBezTo>
                    <a:pt x="292472" y="0"/>
                    <a:pt x="359624" y="69927"/>
                    <a:pt x="359624" y="188692"/>
                  </a:cubicBezTo>
                  <a:cubicBezTo>
                    <a:pt x="359624" y="190912"/>
                    <a:pt x="359624" y="194241"/>
                    <a:pt x="359624" y="196461"/>
                  </a:cubicBezTo>
                  <a:lnTo>
                    <a:pt x="124869" y="196461"/>
                  </a:lnTo>
                  <a:cubicBezTo>
                    <a:pt x="125979" y="236975"/>
                    <a:pt x="147068" y="259174"/>
                    <a:pt x="183142" y="259174"/>
                  </a:cubicBezTo>
                  <a:cubicBezTo>
                    <a:pt x="207561" y="259174"/>
                    <a:pt x="224210" y="249739"/>
                    <a:pt x="229760" y="233090"/>
                  </a:cubicBezTo>
                  <a:lnTo>
                    <a:pt x="349634" y="233090"/>
                  </a:lnTo>
                  <a:close/>
                  <a:moveTo>
                    <a:pt x="236420" y="133749"/>
                  </a:moveTo>
                  <a:cubicBezTo>
                    <a:pt x="234200" y="94901"/>
                    <a:pt x="215330" y="74922"/>
                    <a:pt x="179812" y="74922"/>
                  </a:cubicBezTo>
                  <a:cubicBezTo>
                    <a:pt x="147068" y="74922"/>
                    <a:pt x="127089" y="96011"/>
                    <a:pt x="125424" y="133749"/>
                  </a:cubicBezTo>
                  <a:lnTo>
                    <a:pt x="236420" y="133749"/>
                  </a:lnTo>
                  <a:close/>
                </a:path>
              </a:pathLst>
            </a:custGeom>
            <a:solidFill>
              <a:srgbClr val="676767"/>
            </a:solidFill>
            <a:ln w="554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ihandform: Form 68">
              <a:extLst>
                <a:ext uri="{FF2B5EF4-FFF2-40B4-BE49-F238E27FC236}">
                  <a16:creationId xmlns:a16="http://schemas.microsoft.com/office/drawing/2014/main" id="{9A37EBA1-AA84-4B2F-8AD1-4741F9164122}"/>
                </a:ext>
              </a:extLst>
            </p:cNvPr>
            <p:cNvSpPr/>
            <p:nvPr/>
          </p:nvSpPr>
          <p:spPr>
            <a:xfrm>
              <a:off x="5368981" y="3300800"/>
              <a:ext cx="350189" cy="448975"/>
            </a:xfrm>
            <a:custGeom>
              <a:avLst/>
              <a:gdLst>
                <a:gd name="connsiteX0" fmla="*/ 0 w 350189"/>
                <a:gd name="connsiteY0" fmla="*/ 8325 h 448975"/>
                <a:gd name="connsiteX1" fmla="*/ 110995 w 350189"/>
                <a:gd name="connsiteY1" fmla="*/ 8325 h 448975"/>
                <a:gd name="connsiteX2" fmla="*/ 110995 w 350189"/>
                <a:gd name="connsiteY2" fmla="*/ 48838 h 448975"/>
                <a:gd name="connsiteX3" fmla="*/ 213111 w 350189"/>
                <a:gd name="connsiteY3" fmla="*/ 0 h 448975"/>
                <a:gd name="connsiteX4" fmla="*/ 350190 w 350189"/>
                <a:gd name="connsiteY4" fmla="*/ 166493 h 448975"/>
                <a:gd name="connsiteX5" fmla="*/ 210891 w 350189"/>
                <a:gd name="connsiteY5" fmla="*/ 333540 h 448975"/>
                <a:gd name="connsiteX6" fmla="*/ 122095 w 350189"/>
                <a:gd name="connsiteY6" fmla="*/ 293027 h 448975"/>
                <a:gd name="connsiteX7" fmla="*/ 122095 w 350189"/>
                <a:gd name="connsiteY7" fmla="*/ 448975 h 448975"/>
                <a:gd name="connsiteX8" fmla="*/ 555 w 350189"/>
                <a:gd name="connsiteY8" fmla="*/ 448975 h 448975"/>
                <a:gd name="connsiteX9" fmla="*/ 555 w 350189"/>
                <a:gd name="connsiteY9" fmla="*/ 8325 h 448975"/>
                <a:gd name="connsiteX10" fmla="*/ 174262 w 350189"/>
                <a:gd name="connsiteY10" fmla="*/ 93791 h 448975"/>
                <a:gd name="connsiteX11" fmla="*/ 121540 w 350189"/>
                <a:gd name="connsiteY11" fmla="*/ 166493 h 448975"/>
                <a:gd name="connsiteX12" fmla="*/ 173152 w 350189"/>
                <a:gd name="connsiteY12" fmla="*/ 237529 h 448975"/>
                <a:gd name="connsiteX13" fmla="*/ 224765 w 350189"/>
                <a:gd name="connsiteY13" fmla="*/ 166493 h 448975"/>
                <a:gd name="connsiteX14" fmla="*/ 174262 w 350189"/>
                <a:gd name="connsiteY14" fmla="*/ 93791 h 448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0189" h="448975">
                  <a:moveTo>
                    <a:pt x="0" y="8325"/>
                  </a:moveTo>
                  <a:lnTo>
                    <a:pt x="110995" y="8325"/>
                  </a:lnTo>
                  <a:lnTo>
                    <a:pt x="110995" y="48838"/>
                  </a:lnTo>
                  <a:cubicBezTo>
                    <a:pt x="135969" y="14984"/>
                    <a:pt x="167603" y="0"/>
                    <a:pt x="213111" y="0"/>
                  </a:cubicBezTo>
                  <a:cubicBezTo>
                    <a:pt x="293027" y="0"/>
                    <a:pt x="350190" y="64932"/>
                    <a:pt x="350190" y="166493"/>
                  </a:cubicBezTo>
                  <a:cubicBezTo>
                    <a:pt x="350190" y="269163"/>
                    <a:pt x="295247" y="333540"/>
                    <a:pt x="210891" y="333540"/>
                  </a:cubicBezTo>
                  <a:cubicBezTo>
                    <a:pt x="172597" y="333540"/>
                    <a:pt x="143739" y="321331"/>
                    <a:pt x="122095" y="293027"/>
                  </a:cubicBezTo>
                  <a:lnTo>
                    <a:pt x="122095" y="448975"/>
                  </a:lnTo>
                  <a:lnTo>
                    <a:pt x="555" y="448975"/>
                  </a:lnTo>
                  <a:lnTo>
                    <a:pt x="555" y="8325"/>
                  </a:lnTo>
                  <a:close/>
                  <a:moveTo>
                    <a:pt x="174262" y="93791"/>
                  </a:moveTo>
                  <a:cubicBezTo>
                    <a:pt x="137079" y="93791"/>
                    <a:pt x="121540" y="117100"/>
                    <a:pt x="121540" y="166493"/>
                  </a:cubicBezTo>
                  <a:cubicBezTo>
                    <a:pt x="121540" y="213666"/>
                    <a:pt x="138744" y="237529"/>
                    <a:pt x="173152" y="237529"/>
                  </a:cubicBezTo>
                  <a:cubicBezTo>
                    <a:pt x="207006" y="237529"/>
                    <a:pt x="224765" y="213666"/>
                    <a:pt x="224765" y="166493"/>
                  </a:cubicBezTo>
                  <a:cubicBezTo>
                    <a:pt x="224210" y="117100"/>
                    <a:pt x="208116" y="93791"/>
                    <a:pt x="174262" y="93791"/>
                  </a:cubicBezTo>
                  <a:close/>
                </a:path>
              </a:pathLst>
            </a:custGeom>
            <a:solidFill>
              <a:srgbClr val="676767"/>
            </a:solidFill>
            <a:ln w="554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ihandform: Form 69">
              <a:extLst>
                <a:ext uri="{FF2B5EF4-FFF2-40B4-BE49-F238E27FC236}">
                  <a16:creationId xmlns:a16="http://schemas.microsoft.com/office/drawing/2014/main" id="{02163009-6CDC-4E72-8A0C-B6146F043E4D}"/>
                </a:ext>
              </a:extLst>
            </p:cNvPr>
            <p:cNvSpPr/>
            <p:nvPr/>
          </p:nvSpPr>
          <p:spPr>
            <a:xfrm>
              <a:off x="5735820" y="3298025"/>
              <a:ext cx="355184" cy="336870"/>
            </a:xfrm>
            <a:custGeom>
              <a:avLst/>
              <a:gdLst>
                <a:gd name="connsiteX0" fmla="*/ 177592 w 355184"/>
                <a:gd name="connsiteY0" fmla="*/ 0 h 336870"/>
                <a:gd name="connsiteX1" fmla="*/ 355184 w 355184"/>
                <a:gd name="connsiteY1" fmla="*/ 168158 h 336870"/>
                <a:gd name="connsiteX2" fmla="*/ 177592 w 355184"/>
                <a:gd name="connsiteY2" fmla="*/ 336870 h 336870"/>
                <a:gd name="connsiteX3" fmla="*/ 0 w 355184"/>
                <a:gd name="connsiteY3" fmla="*/ 168158 h 336870"/>
                <a:gd name="connsiteX4" fmla="*/ 177592 w 355184"/>
                <a:gd name="connsiteY4" fmla="*/ 0 h 336870"/>
                <a:gd name="connsiteX5" fmla="*/ 177592 w 355184"/>
                <a:gd name="connsiteY5" fmla="*/ 249739 h 336870"/>
                <a:gd name="connsiteX6" fmla="*/ 229760 w 355184"/>
                <a:gd name="connsiteY6" fmla="*/ 168158 h 336870"/>
                <a:gd name="connsiteX7" fmla="*/ 177592 w 355184"/>
                <a:gd name="connsiteY7" fmla="*/ 87131 h 336870"/>
                <a:gd name="connsiteX8" fmla="*/ 125979 w 355184"/>
                <a:gd name="connsiteY8" fmla="*/ 168158 h 336870"/>
                <a:gd name="connsiteX9" fmla="*/ 177592 w 355184"/>
                <a:gd name="connsiteY9" fmla="*/ 249739 h 336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184" h="336870">
                  <a:moveTo>
                    <a:pt x="177592" y="0"/>
                  </a:moveTo>
                  <a:cubicBezTo>
                    <a:pt x="288587" y="0"/>
                    <a:pt x="355184" y="63822"/>
                    <a:pt x="355184" y="168158"/>
                  </a:cubicBezTo>
                  <a:cubicBezTo>
                    <a:pt x="355184" y="272493"/>
                    <a:pt x="288032" y="336870"/>
                    <a:pt x="177592" y="336870"/>
                  </a:cubicBezTo>
                  <a:cubicBezTo>
                    <a:pt x="66597" y="336870"/>
                    <a:pt x="0" y="272493"/>
                    <a:pt x="0" y="168158"/>
                  </a:cubicBezTo>
                  <a:cubicBezTo>
                    <a:pt x="0" y="63822"/>
                    <a:pt x="67152" y="0"/>
                    <a:pt x="177592" y="0"/>
                  </a:cubicBezTo>
                  <a:close/>
                  <a:moveTo>
                    <a:pt x="177592" y="249739"/>
                  </a:moveTo>
                  <a:cubicBezTo>
                    <a:pt x="215330" y="249739"/>
                    <a:pt x="229760" y="223655"/>
                    <a:pt x="229760" y="168158"/>
                  </a:cubicBezTo>
                  <a:cubicBezTo>
                    <a:pt x="229760" y="112660"/>
                    <a:pt x="215330" y="87131"/>
                    <a:pt x="177592" y="87131"/>
                  </a:cubicBezTo>
                  <a:cubicBezTo>
                    <a:pt x="139854" y="87131"/>
                    <a:pt x="125979" y="112660"/>
                    <a:pt x="125979" y="168158"/>
                  </a:cubicBezTo>
                  <a:cubicBezTo>
                    <a:pt x="126534" y="223655"/>
                    <a:pt x="139854" y="249739"/>
                    <a:pt x="177592" y="249739"/>
                  </a:cubicBezTo>
                  <a:close/>
                </a:path>
              </a:pathLst>
            </a:custGeom>
            <a:solidFill>
              <a:srgbClr val="676767"/>
            </a:solidFill>
            <a:ln w="554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ihandform: Form 70">
              <a:extLst>
                <a:ext uri="{FF2B5EF4-FFF2-40B4-BE49-F238E27FC236}">
                  <a16:creationId xmlns:a16="http://schemas.microsoft.com/office/drawing/2014/main" id="{DD8703C0-45DC-42B6-913F-C43E9E7D8F09}"/>
                </a:ext>
              </a:extLst>
            </p:cNvPr>
            <p:cNvSpPr/>
            <p:nvPr/>
          </p:nvSpPr>
          <p:spPr>
            <a:xfrm>
              <a:off x="6084899" y="3309124"/>
              <a:ext cx="539436" cy="314671"/>
            </a:xfrm>
            <a:custGeom>
              <a:avLst/>
              <a:gdLst>
                <a:gd name="connsiteX0" fmla="*/ 0 w 539436"/>
                <a:gd name="connsiteY0" fmla="*/ 0 h 314671"/>
                <a:gd name="connsiteX1" fmla="*/ 123759 w 539436"/>
                <a:gd name="connsiteY1" fmla="*/ 0 h 314671"/>
                <a:gd name="connsiteX2" fmla="*/ 170378 w 539436"/>
                <a:gd name="connsiteY2" fmla="*/ 192022 h 314671"/>
                <a:gd name="connsiteX3" fmla="*/ 219215 w 539436"/>
                <a:gd name="connsiteY3" fmla="*/ 0 h 314671"/>
                <a:gd name="connsiteX4" fmla="*/ 324661 w 539436"/>
                <a:gd name="connsiteY4" fmla="*/ 0 h 314671"/>
                <a:gd name="connsiteX5" fmla="*/ 373498 w 539436"/>
                <a:gd name="connsiteY5" fmla="*/ 192022 h 314671"/>
                <a:gd name="connsiteX6" fmla="*/ 420116 w 539436"/>
                <a:gd name="connsiteY6" fmla="*/ 0 h 314671"/>
                <a:gd name="connsiteX7" fmla="*/ 539436 w 539436"/>
                <a:gd name="connsiteY7" fmla="*/ 0 h 314671"/>
                <a:gd name="connsiteX8" fmla="*/ 440650 w 539436"/>
                <a:gd name="connsiteY8" fmla="*/ 314671 h 314671"/>
                <a:gd name="connsiteX9" fmla="*/ 318001 w 539436"/>
                <a:gd name="connsiteY9" fmla="*/ 314671 h 314671"/>
                <a:gd name="connsiteX10" fmla="*/ 272493 w 539436"/>
                <a:gd name="connsiteY10" fmla="*/ 132639 h 314671"/>
                <a:gd name="connsiteX11" fmla="*/ 226985 w 539436"/>
                <a:gd name="connsiteY11" fmla="*/ 314671 h 314671"/>
                <a:gd name="connsiteX12" fmla="*/ 104335 w 539436"/>
                <a:gd name="connsiteY12" fmla="*/ 314671 h 314671"/>
                <a:gd name="connsiteX13" fmla="*/ 0 w 539436"/>
                <a:gd name="connsiteY13" fmla="*/ 0 h 314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39436" h="314671">
                  <a:moveTo>
                    <a:pt x="0" y="0"/>
                  </a:moveTo>
                  <a:lnTo>
                    <a:pt x="123759" y="0"/>
                  </a:lnTo>
                  <a:lnTo>
                    <a:pt x="170378" y="192022"/>
                  </a:lnTo>
                  <a:lnTo>
                    <a:pt x="219215" y="0"/>
                  </a:lnTo>
                  <a:lnTo>
                    <a:pt x="324661" y="0"/>
                  </a:lnTo>
                  <a:lnTo>
                    <a:pt x="373498" y="192022"/>
                  </a:lnTo>
                  <a:lnTo>
                    <a:pt x="420116" y="0"/>
                  </a:lnTo>
                  <a:lnTo>
                    <a:pt x="539436" y="0"/>
                  </a:lnTo>
                  <a:lnTo>
                    <a:pt x="440650" y="314671"/>
                  </a:lnTo>
                  <a:lnTo>
                    <a:pt x="318001" y="314671"/>
                  </a:lnTo>
                  <a:lnTo>
                    <a:pt x="272493" y="132639"/>
                  </a:lnTo>
                  <a:lnTo>
                    <a:pt x="226985" y="314671"/>
                  </a:lnTo>
                  <a:lnTo>
                    <a:pt x="104335" y="31467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76767"/>
            </a:solidFill>
            <a:ln w="554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ihandform: Form 71">
              <a:extLst>
                <a:ext uri="{FF2B5EF4-FFF2-40B4-BE49-F238E27FC236}">
                  <a16:creationId xmlns:a16="http://schemas.microsoft.com/office/drawing/2014/main" id="{9733F160-0095-4B3F-BC03-55433D6287BA}"/>
                </a:ext>
              </a:extLst>
            </p:cNvPr>
            <p:cNvSpPr/>
            <p:nvPr/>
          </p:nvSpPr>
          <p:spPr>
            <a:xfrm>
              <a:off x="6618786" y="3297470"/>
              <a:ext cx="359623" cy="337425"/>
            </a:xfrm>
            <a:custGeom>
              <a:avLst/>
              <a:gdLst>
                <a:gd name="connsiteX0" fmla="*/ 349634 w 359623"/>
                <a:gd name="connsiteY0" fmla="*/ 233090 h 337425"/>
                <a:gd name="connsiteX1" fmla="*/ 175927 w 359623"/>
                <a:gd name="connsiteY1" fmla="*/ 337425 h 337425"/>
                <a:gd name="connsiteX2" fmla="*/ 0 w 359623"/>
                <a:gd name="connsiteY2" fmla="*/ 171487 h 337425"/>
                <a:gd name="connsiteX3" fmla="*/ 180922 w 359623"/>
                <a:gd name="connsiteY3" fmla="*/ 0 h 337425"/>
                <a:gd name="connsiteX4" fmla="*/ 359624 w 359623"/>
                <a:gd name="connsiteY4" fmla="*/ 188692 h 337425"/>
                <a:gd name="connsiteX5" fmla="*/ 359624 w 359623"/>
                <a:gd name="connsiteY5" fmla="*/ 196461 h 337425"/>
                <a:gd name="connsiteX6" fmla="*/ 124869 w 359623"/>
                <a:gd name="connsiteY6" fmla="*/ 196461 h 337425"/>
                <a:gd name="connsiteX7" fmla="*/ 183142 w 359623"/>
                <a:gd name="connsiteY7" fmla="*/ 259174 h 337425"/>
                <a:gd name="connsiteX8" fmla="*/ 229760 w 359623"/>
                <a:gd name="connsiteY8" fmla="*/ 233090 h 337425"/>
                <a:gd name="connsiteX9" fmla="*/ 349634 w 359623"/>
                <a:gd name="connsiteY9" fmla="*/ 233090 h 337425"/>
                <a:gd name="connsiteX10" fmla="*/ 236419 w 359623"/>
                <a:gd name="connsiteY10" fmla="*/ 133749 h 337425"/>
                <a:gd name="connsiteX11" fmla="*/ 179812 w 359623"/>
                <a:gd name="connsiteY11" fmla="*/ 74922 h 337425"/>
                <a:gd name="connsiteX12" fmla="*/ 125424 w 359623"/>
                <a:gd name="connsiteY12" fmla="*/ 133749 h 337425"/>
                <a:gd name="connsiteX13" fmla="*/ 236419 w 359623"/>
                <a:gd name="connsiteY13" fmla="*/ 133749 h 337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59623" h="337425">
                  <a:moveTo>
                    <a:pt x="349634" y="233090"/>
                  </a:moveTo>
                  <a:cubicBezTo>
                    <a:pt x="332430" y="301352"/>
                    <a:pt x="273048" y="337425"/>
                    <a:pt x="175927" y="337425"/>
                  </a:cubicBezTo>
                  <a:cubicBezTo>
                    <a:pt x="67152" y="337425"/>
                    <a:pt x="0" y="271938"/>
                    <a:pt x="0" y="171487"/>
                  </a:cubicBezTo>
                  <a:cubicBezTo>
                    <a:pt x="0" y="66042"/>
                    <a:pt x="68817" y="0"/>
                    <a:pt x="180922" y="0"/>
                  </a:cubicBezTo>
                  <a:cubicBezTo>
                    <a:pt x="292472" y="0"/>
                    <a:pt x="359624" y="69927"/>
                    <a:pt x="359624" y="188692"/>
                  </a:cubicBezTo>
                  <a:cubicBezTo>
                    <a:pt x="359624" y="190912"/>
                    <a:pt x="359624" y="194241"/>
                    <a:pt x="359624" y="196461"/>
                  </a:cubicBezTo>
                  <a:lnTo>
                    <a:pt x="124869" y="196461"/>
                  </a:lnTo>
                  <a:cubicBezTo>
                    <a:pt x="125979" y="236975"/>
                    <a:pt x="146513" y="259174"/>
                    <a:pt x="183142" y="259174"/>
                  </a:cubicBezTo>
                  <a:cubicBezTo>
                    <a:pt x="207561" y="259174"/>
                    <a:pt x="224210" y="249739"/>
                    <a:pt x="229760" y="233090"/>
                  </a:cubicBezTo>
                  <a:lnTo>
                    <a:pt x="349634" y="233090"/>
                  </a:lnTo>
                  <a:close/>
                  <a:moveTo>
                    <a:pt x="236419" y="133749"/>
                  </a:moveTo>
                  <a:cubicBezTo>
                    <a:pt x="234200" y="94901"/>
                    <a:pt x="215330" y="74922"/>
                    <a:pt x="179812" y="74922"/>
                  </a:cubicBezTo>
                  <a:cubicBezTo>
                    <a:pt x="147068" y="74922"/>
                    <a:pt x="127089" y="96011"/>
                    <a:pt x="125424" y="133749"/>
                  </a:cubicBezTo>
                  <a:lnTo>
                    <a:pt x="236419" y="133749"/>
                  </a:lnTo>
                  <a:close/>
                </a:path>
              </a:pathLst>
            </a:custGeom>
            <a:solidFill>
              <a:srgbClr val="676767"/>
            </a:solidFill>
            <a:ln w="554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ihandform: Form 72">
              <a:extLst>
                <a:ext uri="{FF2B5EF4-FFF2-40B4-BE49-F238E27FC236}">
                  <a16:creationId xmlns:a16="http://schemas.microsoft.com/office/drawing/2014/main" id="{E70C7C95-CC18-4914-BB47-58D2615D02F3}"/>
                </a:ext>
              </a:extLst>
            </p:cNvPr>
            <p:cNvSpPr/>
            <p:nvPr/>
          </p:nvSpPr>
          <p:spPr>
            <a:xfrm>
              <a:off x="7011153" y="3300800"/>
              <a:ext cx="224210" cy="322995"/>
            </a:xfrm>
            <a:custGeom>
              <a:avLst/>
              <a:gdLst>
                <a:gd name="connsiteX0" fmla="*/ 0 w 224210"/>
                <a:gd name="connsiteY0" fmla="*/ 8325 h 322995"/>
                <a:gd name="connsiteX1" fmla="*/ 115435 w 224210"/>
                <a:gd name="connsiteY1" fmla="*/ 8325 h 322995"/>
                <a:gd name="connsiteX2" fmla="*/ 115435 w 224210"/>
                <a:gd name="connsiteY2" fmla="*/ 66042 h 322995"/>
                <a:gd name="connsiteX3" fmla="*/ 213111 w 224210"/>
                <a:gd name="connsiteY3" fmla="*/ 0 h 322995"/>
                <a:gd name="connsiteX4" fmla="*/ 224210 w 224210"/>
                <a:gd name="connsiteY4" fmla="*/ 0 h 322995"/>
                <a:gd name="connsiteX5" fmla="*/ 224210 w 224210"/>
                <a:gd name="connsiteY5" fmla="*/ 124869 h 322995"/>
                <a:gd name="connsiteX6" fmla="*/ 198681 w 224210"/>
                <a:gd name="connsiteY6" fmla="*/ 123205 h 322995"/>
                <a:gd name="connsiteX7" fmla="*/ 125424 w 224210"/>
                <a:gd name="connsiteY7" fmla="*/ 193686 h 322995"/>
                <a:gd name="connsiteX8" fmla="*/ 125424 w 224210"/>
                <a:gd name="connsiteY8" fmla="*/ 322996 h 322995"/>
                <a:gd name="connsiteX9" fmla="*/ 0 w 224210"/>
                <a:gd name="connsiteY9" fmla="*/ 322996 h 322995"/>
                <a:gd name="connsiteX10" fmla="*/ 0 w 224210"/>
                <a:gd name="connsiteY10" fmla="*/ 8325 h 322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4210" h="322995">
                  <a:moveTo>
                    <a:pt x="0" y="8325"/>
                  </a:moveTo>
                  <a:lnTo>
                    <a:pt x="115435" y="8325"/>
                  </a:lnTo>
                  <a:lnTo>
                    <a:pt x="115435" y="66042"/>
                  </a:lnTo>
                  <a:cubicBezTo>
                    <a:pt x="132084" y="19979"/>
                    <a:pt x="162053" y="0"/>
                    <a:pt x="213111" y="0"/>
                  </a:cubicBezTo>
                  <a:cubicBezTo>
                    <a:pt x="216440" y="0"/>
                    <a:pt x="220880" y="0"/>
                    <a:pt x="224210" y="0"/>
                  </a:cubicBezTo>
                  <a:lnTo>
                    <a:pt x="224210" y="124869"/>
                  </a:lnTo>
                  <a:cubicBezTo>
                    <a:pt x="214776" y="123760"/>
                    <a:pt x="206451" y="123205"/>
                    <a:pt x="198681" y="123205"/>
                  </a:cubicBezTo>
                  <a:cubicBezTo>
                    <a:pt x="148178" y="123205"/>
                    <a:pt x="125424" y="145404"/>
                    <a:pt x="125424" y="193686"/>
                  </a:cubicBezTo>
                  <a:lnTo>
                    <a:pt x="125424" y="322996"/>
                  </a:lnTo>
                  <a:lnTo>
                    <a:pt x="0" y="322996"/>
                  </a:lnTo>
                  <a:lnTo>
                    <a:pt x="0" y="8325"/>
                  </a:lnTo>
                  <a:close/>
                </a:path>
              </a:pathLst>
            </a:custGeom>
            <a:solidFill>
              <a:srgbClr val="676767"/>
            </a:solidFill>
            <a:ln w="554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4" name="MIO_AGENDA_LAST_SLIDE" hidden="1">
            <a:extLst>
              <a:ext uri="{FF2B5EF4-FFF2-40B4-BE49-F238E27FC236}">
                <a16:creationId xmlns:a16="http://schemas.microsoft.com/office/drawing/2014/main" id="{B202F153-78E6-4268-A965-70853F9B656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101600"/>
            <a:ext cx="12192000" cy="67564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159350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&#10;(white background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C6D96D0-601C-4EF4-89A1-957805A846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Datumsplatzhalter 5" hidden="1">
            <a:extLst>
              <a:ext uri="{FF2B5EF4-FFF2-40B4-BE49-F238E27FC236}">
                <a16:creationId xmlns:a16="http://schemas.microsoft.com/office/drawing/2014/main" id="{3DA70D42-2270-48BE-A769-DECBB451B0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ußzeilenplatzhalter 6" hidden="1">
            <a:extLst>
              <a:ext uri="{FF2B5EF4-FFF2-40B4-BE49-F238E27FC236}">
                <a16:creationId xmlns:a16="http://schemas.microsoft.com/office/drawing/2014/main" id="{4294E9C2-A90D-4F0C-9F1C-DEDC85BEB7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liennummernplatzhalter 7" hidden="1">
            <a:extLst>
              <a:ext uri="{FF2B5EF4-FFF2-40B4-BE49-F238E27FC236}">
                <a16:creationId xmlns:a16="http://schemas.microsoft.com/office/drawing/2014/main" id="{38C5FFCA-2161-4F74-8D09-AD7CE0DEF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5CC360-39D1-4D3A-B6C9-5AECCFD4809A}" type="slidenum">
              <a:rPr lang="en-US"/>
              <a:pPr/>
              <a:t>‹Nr.›</a:t>
            </a:fld>
            <a:endParaRPr lang="en-US"/>
          </a:p>
        </p:txBody>
      </p:sp>
      <p:sp>
        <p:nvSpPr>
          <p:cNvPr id="10" name="Layoutschutz" hidden="1">
            <a:extLst>
              <a:ext uri="{FF2B5EF4-FFF2-40B4-BE49-F238E27FC236}">
                <a16:creationId xmlns:a16="http://schemas.microsoft.com/office/drawing/2014/main" id="{9552A3A9-3B5B-49D3-B1ED-2F567F133A53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254000" y="1295400"/>
            <a:ext cx="11760200" cy="55626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63952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orient="horz" pos="201">
          <p15:clr>
            <a:srgbClr val="547EBF"/>
          </p15:clr>
        </p15:guide>
        <p15:guide id="2" orient="horz" pos="568">
          <p15:clr>
            <a:srgbClr val="547EBF"/>
          </p15:clr>
        </p15:guide>
        <p15:guide id="3" orient="horz" pos="874">
          <p15:clr>
            <a:srgbClr val="547EBF"/>
          </p15:clr>
        </p15:guide>
        <p15:guide id="4" orient="horz" pos="4058">
          <p15:clr>
            <a:srgbClr val="547EBF"/>
          </p15:clr>
        </p15:guide>
        <p15:guide id="5" pos="289">
          <p15:clr>
            <a:srgbClr val="547EBF"/>
          </p15:clr>
        </p15:guide>
        <p15:guide id="6" pos="7391">
          <p15:clr>
            <a:srgbClr val="547EBF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CDCADD61-C74B-40A1-96F4-049AD481F3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400" y="4110038"/>
            <a:ext cx="9720000" cy="971550"/>
          </a:xfrm>
        </p:spPr>
        <p:txBody>
          <a:bodyPr lIns="0" tIns="0" rIns="97200" bIns="9720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5400" b="0" i="0" kern="1200" spc="-10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Section number">
            <a:extLst>
              <a:ext uri="{FF2B5EF4-FFF2-40B4-BE49-F238E27FC236}">
                <a16:creationId xmlns:a16="http://schemas.microsoft.com/office/drawing/2014/main" id="{6B06C54C-29C7-412C-B0CE-94706D7D219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8400" y="2359800"/>
            <a:ext cx="1749813" cy="1555750"/>
          </a:xfrm>
          <a:prstGeom prst="rect">
            <a:avLst/>
          </a:prstGeom>
          <a:noFill/>
        </p:spPr>
        <p:txBody>
          <a:bodyPr lIns="0" anchor="b">
            <a:noAutofit/>
          </a:bodyPr>
          <a:lstStyle>
            <a:lvl1pPr marL="0" indent="0">
              <a:buNone/>
              <a:defRPr sz="9600" b="1" i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077C2D8-6511-40C2-9881-B168E1472F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765D08-26B1-4DE8-BBEA-0EAC4020FA96}" type="datetimeFigureOut">
              <a:rPr lang="en-US"/>
              <a:t>7/14/2024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EC75488-7C9A-436F-8D24-4644ED82C6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6465382-E7B6-43BE-AE10-6F1A156EDF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4D68C-E810-46A5-A28F-0667A3B6FF14}" type="slidenum">
              <a:rPr lang="en-US"/>
              <a:t>‹Nr.›</a:t>
            </a:fld>
            <a:endParaRPr lang="en-US"/>
          </a:p>
        </p:txBody>
      </p:sp>
      <p:sp>
        <p:nvSpPr>
          <p:cNvPr id="7" name="Layoutschutz" hidden="1">
            <a:extLst>
              <a:ext uri="{FF2B5EF4-FFF2-40B4-BE49-F238E27FC236}">
                <a16:creationId xmlns:a16="http://schemas.microsoft.com/office/drawing/2014/main" id="{063C1AA5-C6ED-4218-9760-EBB45BB7C91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101600"/>
            <a:ext cx="12192000" cy="67564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03266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486">
          <p15:clr>
            <a:srgbClr val="547EBF"/>
          </p15:clr>
        </p15:guide>
        <p15:guide id="2" orient="horz" pos="2466">
          <p15:clr>
            <a:srgbClr val="547EBF"/>
          </p15:clr>
        </p15:guide>
        <p15:guide id="3" orient="horz" pos="2589">
          <p15:clr>
            <a:srgbClr val="547EBF"/>
          </p15:clr>
        </p15:guide>
        <p15:guide id="4" orient="horz" pos="3201">
          <p15:clr>
            <a:srgbClr val="547EBF"/>
          </p15:clr>
        </p15:guide>
        <p15:guide id="5" pos="1391">
          <p15:clr>
            <a:srgbClr val="547EB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&#10;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9216FF1A-DC4D-4193-B093-8415568FD18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97201"/>
            <a:ext cx="12192000" cy="6760799"/>
          </a:xfrm>
          <a:solidFill>
            <a:schemeClr val="bg1"/>
          </a:solidFill>
        </p:spPr>
        <p:txBody>
          <a:bodyPr bIns="972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53E13F2-393C-4C28-8FBF-51B6747563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4110038"/>
            <a:ext cx="10178400" cy="971550"/>
          </a:xfrm>
          <a:solidFill>
            <a:srgbClr val="FFFFFF">
              <a:alpha val="80000"/>
            </a:srgbClr>
          </a:solidFill>
        </p:spPr>
        <p:txBody>
          <a:bodyPr lIns="457200" rIns="97200" bIns="97200" anchor="t"/>
          <a:lstStyle>
            <a:lvl1pPr>
              <a:defRPr sz="5400" baseline="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Section number">
            <a:extLst>
              <a:ext uri="{FF2B5EF4-FFF2-40B4-BE49-F238E27FC236}">
                <a16:creationId xmlns:a16="http://schemas.microsoft.com/office/drawing/2014/main" id="{B1BD64D5-D9CB-4EEC-8DC6-67BB452D5B2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-1" y="2359800"/>
            <a:ext cx="2208001" cy="1555750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lIns="457200" anchor="b">
            <a:noAutofit/>
          </a:bodyPr>
          <a:lstStyle>
            <a:lvl1pPr marL="0" indent="0">
              <a:buNone/>
              <a:defRPr sz="9600" b="1" i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9" name="Datumsplatzhalter 8" hidden="1">
            <a:extLst>
              <a:ext uri="{FF2B5EF4-FFF2-40B4-BE49-F238E27FC236}">
                <a16:creationId xmlns:a16="http://schemas.microsoft.com/office/drawing/2014/main" id="{E3160AFB-A001-46E5-812A-AED9FE26522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765D08-26B1-4DE8-BBEA-0EAC4020FA96}" type="datetimeFigureOut">
              <a:rPr lang="en-US"/>
              <a:t>7/14/2024</a:t>
            </a:fld>
            <a:endParaRPr lang="en-US"/>
          </a:p>
        </p:txBody>
      </p:sp>
      <p:sp>
        <p:nvSpPr>
          <p:cNvPr id="10" name="Fußzeilenplatzhalter 9" hidden="1">
            <a:extLst>
              <a:ext uri="{FF2B5EF4-FFF2-40B4-BE49-F238E27FC236}">
                <a16:creationId xmlns:a16="http://schemas.microsoft.com/office/drawing/2014/main" id="{F4E9AD7E-F42A-4B85-B84D-209EDD40E6B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Foliennummernplatzhalter 10" hidden="1">
            <a:extLst>
              <a:ext uri="{FF2B5EF4-FFF2-40B4-BE49-F238E27FC236}">
                <a16:creationId xmlns:a16="http://schemas.microsoft.com/office/drawing/2014/main" id="{AD2A8790-FA62-42F7-8E09-1C93064AB9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4B4D68C-E810-46A5-A28F-0667A3B6FF14}" type="slidenum">
              <a:rPr lang="en-US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96224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01">
          <p15:clr>
            <a:srgbClr val="547EBF"/>
          </p15:clr>
        </p15:guide>
        <p15:guide id="2" orient="horz" pos="2589">
          <p15:clr>
            <a:srgbClr val="547EBF"/>
          </p15:clr>
        </p15:guide>
        <p15:guide id="3" orient="horz" pos="2466">
          <p15:clr>
            <a:srgbClr val="547EBF"/>
          </p15:clr>
        </p15:guide>
        <p15:guide id="4" orient="horz" pos="1486">
          <p15:clr>
            <a:srgbClr val="547EBF"/>
          </p15:clr>
        </p15:guide>
        <p15:guide id="5" pos="1391">
          <p15:clr>
            <a:srgbClr val="547EB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E6991E5-2D39-4172-9766-E0FBFDACF9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FCD3063-2A1B-4BD3-B585-A5FD3FBA07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765D08-26B1-4DE8-BBEA-0EAC4020FA96}" type="datetimeFigureOut">
              <a:rPr lang="en-US"/>
              <a:t>7/14/2024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53BF631-DAEC-4BB9-8BEF-14CB7AB150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2EFD81A-B481-458B-ABBB-5BB4EB1E64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4D68C-E810-46A5-A28F-0667A3B6FF14}" type="slidenum">
              <a:rPr lang="en-US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65288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9">
          <p15:clr>
            <a:srgbClr val="547EBF"/>
          </p15:clr>
        </p15:guide>
        <p15:guide id="2" pos="7401">
          <p15:clr>
            <a:srgbClr val="547EBF"/>
          </p15:clr>
        </p15:guide>
        <p15:guide id="3" orient="horz" pos="890">
          <p15:clr>
            <a:srgbClr val="547EBF"/>
          </p15:clr>
        </p15:guide>
        <p15:guide id="5" orient="horz" pos="4065">
          <p15:clr>
            <a:srgbClr val="547EB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&#10;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71FD0A70-20FA-4139-8554-C480AEC816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400" y="318600"/>
            <a:ext cx="11275200" cy="583199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E7B4F71A-6BC6-4707-B709-3B671E3736A4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8" name="Datumsplatzhalter 7" hidden="1">
            <a:extLst>
              <a:ext uri="{FF2B5EF4-FFF2-40B4-BE49-F238E27FC236}">
                <a16:creationId xmlns:a16="http://schemas.microsoft.com/office/drawing/2014/main" id="{45995338-C075-443E-BCD9-57AC0BD302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765D08-26B1-4DE8-BBEA-0EAC4020FA96}" type="datetimeFigureOut">
              <a:rPr lang="en-US"/>
              <a:t>7/14/2024</a:t>
            </a:fld>
            <a:endParaRPr lang="en-US"/>
          </a:p>
        </p:txBody>
      </p:sp>
      <p:sp>
        <p:nvSpPr>
          <p:cNvPr id="9" name="Fußzeilenplatzhalter 8" hidden="1">
            <a:extLst>
              <a:ext uri="{FF2B5EF4-FFF2-40B4-BE49-F238E27FC236}">
                <a16:creationId xmlns:a16="http://schemas.microsoft.com/office/drawing/2014/main" id="{EDB92EB2-2891-4690-BC8E-12A9259668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liennummernplatzhalter 9" hidden="1">
            <a:extLst>
              <a:ext uri="{FF2B5EF4-FFF2-40B4-BE49-F238E27FC236}">
                <a16:creationId xmlns:a16="http://schemas.microsoft.com/office/drawing/2014/main" id="{9E8525FA-DBC8-4755-8063-C0756A0EF3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4D68C-E810-46A5-A28F-0667A3B6FF14}" type="slidenum">
              <a:rPr lang="en-US"/>
              <a:t>‹Nr.›</a:t>
            </a:fld>
            <a:endParaRPr lang="en-US"/>
          </a:p>
        </p:txBody>
      </p:sp>
      <p:sp>
        <p:nvSpPr>
          <p:cNvPr id="11" name="Layoutschutz" hidden="1">
            <a:extLst>
              <a:ext uri="{FF2B5EF4-FFF2-40B4-BE49-F238E27FC236}">
                <a16:creationId xmlns:a16="http://schemas.microsoft.com/office/drawing/2014/main" id="{22926BE3-FAA0-4E52-AF29-7B5EED276C3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54000" y="1295400"/>
            <a:ext cx="11760200" cy="55626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81075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9">
          <p15:clr>
            <a:srgbClr val="547EBF"/>
          </p15:clr>
        </p15:guide>
        <p15:guide id="2" orient="horz" pos="568">
          <p15:clr>
            <a:srgbClr val="547EBF"/>
          </p15:clr>
        </p15:guide>
        <p15:guide id="3" orient="horz" pos="201">
          <p15:clr>
            <a:srgbClr val="547EBF"/>
          </p15:clr>
        </p15:guide>
        <p15:guide id="4" orient="horz" pos="890">
          <p15:clr>
            <a:srgbClr val="547EBF"/>
          </p15:clr>
        </p15:guide>
        <p15:guide id="5" orient="horz" pos="4065">
          <p15:clr>
            <a:srgbClr val="547EBF"/>
          </p15:clr>
        </p15:guide>
        <p15:guide id="6" pos="7391">
          <p15:clr>
            <a:srgbClr val="547EB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&#10;two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">
            <a:extLst>
              <a:ext uri="{FF2B5EF4-FFF2-40B4-BE49-F238E27FC236}">
                <a16:creationId xmlns:a16="http://schemas.microsoft.com/office/drawing/2014/main" id="{4639AF86-5357-4C89-B939-8652EEA149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Headline left">
            <a:extLst>
              <a:ext uri="{FF2B5EF4-FFF2-40B4-BE49-F238E27FC236}">
                <a16:creationId xmlns:a16="http://schemas.microsoft.com/office/drawing/2014/main" id="{3E42108B-CCF6-4E5E-B72B-211E4C5B1D2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8401" y="1387801"/>
            <a:ext cx="5443200" cy="5832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Headline right">
            <a:extLst>
              <a:ext uri="{FF2B5EF4-FFF2-40B4-BE49-F238E27FC236}">
                <a16:creationId xmlns:a16="http://schemas.microsoft.com/office/drawing/2014/main" id="{DBFC60C6-E96F-4262-9F25-D8D3332367D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90400" y="1387801"/>
            <a:ext cx="5443200" cy="5832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left">
            <a:extLst>
              <a:ext uri="{FF2B5EF4-FFF2-40B4-BE49-F238E27FC236}">
                <a16:creationId xmlns:a16="http://schemas.microsoft.com/office/drawing/2014/main" id="{1C94A9F3-77E7-4052-ADF3-47B5617F9CAF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58401" y="1971000"/>
            <a:ext cx="5443200" cy="4471200"/>
          </a:xfrm>
          <a:prstGeom prst="rect">
            <a:avLst/>
          </a:prstGeo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Content placeholder right">
            <a:extLst>
              <a:ext uri="{FF2B5EF4-FFF2-40B4-BE49-F238E27FC236}">
                <a16:creationId xmlns:a16="http://schemas.microsoft.com/office/drawing/2014/main" id="{3F80F379-FCC2-4D63-BD67-E81435B9D782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290400" y="1971000"/>
            <a:ext cx="5443200" cy="4471200"/>
          </a:xfrm>
          <a:prstGeom prst="rect">
            <a:avLst/>
          </a:prstGeo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4" name="Datumsplatzhalter 13" hidden="1">
            <a:extLst>
              <a:ext uri="{FF2B5EF4-FFF2-40B4-BE49-F238E27FC236}">
                <a16:creationId xmlns:a16="http://schemas.microsoft.com/office/drawing/2014/main" id="{60AFF17C-B3DD-45F6-AED7-89DE2B67F6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765D08-26B1-4DE8-BBEA-0EAC4020FA96}" type="datetimeFigureOut">
              <a:rPr lang="en-US"/>
              <a:t>7/14/2024</a:t>
            </a:fld>
            <a:endParaRPr lang="en-US"/>
          </a:p>
        </p:txBody>
      </p:sp>
      <p:sp>
        <p:nvSpPr>
          <p:cNvPr id="15" name="Fußzeilenplatzhalter 14" hidden="1">
            <a:extLst>
              <a:ext uri="{FF2B5EF4-FFF2-40B4-BE49-F238E27FC236}">
                <a16:creationId xmlns:a16="http://schemas.microsoft.com/office/drawing/2014/main" id="{17F53DD0-788A-4520-A290-1E20981D3B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Foliennummernplatzhalter 15" hidden="1">
            <a:extLst>
              <a:ext uri="{FF2B5EF4-FFF2-40B4-BE49-F238E27FC236}">
                <a16:creationId xmlns:a16="http://schemas.microsoft.com/office/drawing/2014/main" id="{517AB4B9-E4B2-4336-AE32-034908CCB4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4D68C-E810-46A5-A28F-0667A3B6FF14}" type="slidenum">
              <a:rPr lang="en-US"/>
              <a:t>‹Nr.›</a:t>
            </a:fld>
            <a:endParaRPr lang="en-US"/>
          </a:p>
        </p:txBody>
      </p:sp>
      <p:sp>
        <p:nvSpPr>
          <p:cNvPr id="12" name="Layoutschutz" hidden="1">
            <a:extLst>
              <a:ext uri="{FF2B5EF4-FFF2-40B4-BE49-F238E27FC236}">
                <a16:creationId xmlns:a16="http://schemas.microsoft.com/office/drawing/2014/main" id="{8A35D446-FE94-41E5-AD7A-C82E9941EA6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54000" y="1295400"/>
            <a:ext cx="11760200" cy="55626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47072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9">
          <p15:clr>
            <a:srgbClr val="547EBF"/>
          </p15:clr>
        </p15:guide>
        <p15:guide id="2" orient="horz" pos="201">
          <p15:clr>
            <a:srgbClr val="547EBF"/>
          </p15:clr>
        </p15:guide>
        <p15:guide id="3" pos="3718">
          <p15:clr>
            <a:srgbClr val="547EBF"/>
          </p15:clr>
        </p15:guide>
        <p15:guide id="4" pos="7391">
          <p15:clr>
            <a:srgbClr val="547EBF"/>
          </p15:clr>
        </p15:guide>
        <p15:guide id="5" pos="3962">
          <p15:clr>
            <a:srgbClr val="547EBF"/>
          </p15:clr>
        </p15:guide>
        <p15:guide id="6" orient="horz" pos="568">
          <p15:clr>
            <a:srgbClr val="547EBF"/>
          </p15:clr>
        </p15:guide>
        <p15:guide id="7" orient="horz" pos="874">
          <p15:clr>
            <a:srgbClr val="547EBF"/>
          </p15:clr>
        </p15:guide>
        <p15:guide id="8" orient="horz" pos="1242">
          <p15:clr>
            <a:srgbClr val="547EBF"/>
          </p15:clr>
        </p15:guide>
        <p15:guide id="9" orient="horz" pos="4058">
          <p15:clr>
            <a:srgbClr val="547EB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&#10;three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">
            <a:extLst>
              <a:ext uri="{FF2B5EF4-FFF2-40B4-BE49-F238E27FC236}">
                <a16:creationId xmlns:a16="http://schemas.microsoft.com/office/drawing/2014/main" id="{4639AF86-5357-4C89-B939-8652EEA149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Headline left">
            <a:extLst>
              <a:ext uri="{FF2B5EF4-FFF2-40B4-BE49-F238E27FC236}">
                <a16:creationId xmlns:a16="http://schemas.microsoft.com/office/drawing/2014/main" id="{3E42108B-CCF6-4E5E-B72B-211E4C5B1D2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8400" y="2943000"/>
            <a:ext cx="3499200" cy="3888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Headline center">
            <a:extLst>
              <a:ext uri="{FF2B5EF4-FFF2-40B4-BE49-F238E27FC236}">
                <a16:creationId xmlns:a16="http://schemas.microsoft.com/office/drawing/2014/main" id="{DBFC60C6-E96F-4262-9F25-D8D3332367D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346400" y="2943000"/>
            <a:ext cx="3499200" cy="3888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Headline right">
            <a:extLst>
              <a:ext uri="{FF2B5EF4-FFF2-40B4-BE49-F238E27FC236}">
                <a16:creationId xmlns:a16="http://schemas.microsoft.com/office/drawing/2014/main" id="{E7920CA0-579D-47FA-9A0A-7A5B020DE4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34400" y="2943000"/>
            <a:ext cx="3499200" cy="3888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left">
            <a:extLst>
              <a:ext uri="{FF2B5EF4-FFF2-40B4-BE49-F238E27FC236}">
                <a16:creationId xmlns:a16="http://schemas.microsoft.com/office/drawing/2014/main" id="{1C94A9F3-77E7-4052-ADF3-47B5617F9CA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58400" y="3623400"/>
            <a:ext cx="3498850" cy="281880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Content placeholder center">
            <a:extLst>
              <a:ext uri="{FF2B5EF4-FFF2-40B4-BE49-F238E27FC236}">
                <a16:creationId xmlns:a16="http://schemas.microsoft.com/office/drawing/2014/main" id="{3F80F379-FCC2-4D63-BD67-E81435B9D78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346400" y="3623400"/>
            <a:ext cx="3498850" cy="281880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Content placeholder right">
            <a:extLst>
              <a:ext uri="{FF2B5EF4-FFF2-40B4-BE49-F238E27FC236}">
                <a16:creationId xmlns:a16="http://schemas.microsoft.com/office/drawing/2014/main" id="{F9AF96E0-53C6-482E-95AD-957DBCFA5CE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234400" y="3623400"/>
            <a:ext cx="3498850" cy="281880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4" name="Datumsplatzhalter 13" hidden="1">
            <a:extLst>
              <a:ext uri="{FF2B5EF4-FFF2-40B4-BE49-F238E27FC236}">
                <a16:creationId xmlns:a16="http://schemas.microsoft.com/office/drawing/2014/main" id="{60AFF17C-B3DD-45F6-AED7-89DE2B67F6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765D08-26B1-4DE8-BBEA-0EAC4020FA96}" type="datetimeFigureOut">
              <a:rPr lang="en-US"/>
              <a:t>7/14/2024</a:t>
            </a:fld>
            <a:endParaRPr lang="en-US"/>
          </a:p>
        </p:txBody>
      </p:sp>
      <p:sp>
        <p:nvSpPr>
          <p:cNvPr id="15" name="Fußzeilenplatzhalter 14" hidden="1">
            <a:extLst>
              <a:ext uri="{FF2B5EF4-FFF2-40B4-BE49-F238E27FC236}">
                <a16:creationId xmlns:a16="http://schemas.microsoft.com/office/drawing/2014/main" id="{17F53DD0-788A-4520-A290-1E20981D3B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Foliennummernplatzhalter 15" hidden="1">
            <a:extLst>
              <a:ext uri="{FF2B5EF4-FFF2-40B4-BE49-F238E27FC236}">
                <a16:creationId xmlns:a16="http://schemas.microsoft.com/office/drawing/2014/main" id="{517AB4B9-E4B2-4336-AE32-034908CCB4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4D68C-E810-46A5-A28F-0667A3B6FF14}" type="slidenum">
              <a:rPr lang="en-US"/>
              <a:t>‹Nr.›</a:t>
            </a:fld>
            <a:endParaRPr lang="en-US"/>
          </a:p>
        </p:txBody>
      </p:sp>
      <p:sp>
        <p:nvSpPr>
          <p:cNvPr id="17" name="Layoutschutz" hidden="1">
            <a:extLst>
              <a:ext uri="{FF2B5EF4-FFF2-40B4-BE49-F238E27FC236}">
                <a16:creationId xmlns:a16="http://schemas.microsoft.com/office/drawing/2014/main" id="{BECC4F1C-3610-4748-946F-1288169304C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54000" y="1295400"/>
            <a:ext cx="11760200" cy="55626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3170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93">
          <p15:clr>
            <a:srgbClr val="547EBF"/>
          </p15:clr>
        </p15:guide>
        <p15:guide id="2" orient="horz" pos="1854">
          <p15:clr>
            <a:srgbClr val="547EBF"/>
          </p15:clr>
        </p15:guide>
        <p15:guide id="3" orient="horz" pos="2099">
          <p15:clr>
            <a:srgbClr val="547EBF"/>
          </p15:clr>
        </p15:guide>
        <p15:guide id="5" pos="2738">
          <p15:clr>
            <a:srgbClr val="547EBF"/>
          </p15:clr>
        </p15:guide>
        <p15:guide id="6" pos="289">
          <p15:clr>
            <a:srgbClr val="547EBF"/>
          </p15:clr>
        </p15:guide>
        <p15:guide id="7" pos="4942">
          <p15:clr>
            <a:srgbClr val="547EBF"/>
          </p15:clr>
        </p15:guide>
        <p15:guide id="8" pos="5187">
          <p15:clr>
            <a:srgbClr val="547EBF"/>
          </p15:clr>
        </p15:guide>
        <p15:guide id="9" pos="7391">
          <p15:clr>
            <a:srgbClr val="547EBF"/>
          </p15:clr>
        </p15:guide>
        <p15:guide id="10" orient="horz" pos="2282">
          <p15:clr>
            <a:srgbClr val="547EBF"/>
          </p15:clr>
        </p15:guide>
        <p15:guide id="11" orient="horz" pos="1364">
          <p15:clr>
            <a:srgbClr val="A4A3A4"/>
          </p15:clr>
        </p15:guide>
        <p15:guide id="12" pos="1391">
          <p15:clr>
            <a:srgbClr val="A4A3A4"/>
          </p15:clr>
        </p15:guide>
        <p15:guide id="13" pos="3840">
          <p15:clr>
            <a:srgbClr val="A4A3A4"/>
          </p15:clr>
        </p15:guide>
        <p15:guide id="14" pos="6289">
          <p15:clr>
            <a:srgbClr val="A4A3A4"/>
          </p15:clr>
        </p15:guide>
        <p15:guide id="15" orient="horz" pos="874">
          <p15:clr>
            <a:srgbClr val="547EBF"/>
          </p15:clr>
        </p15:guide>
        <p15:guide id="16" orient="horz" pos="4058">
          <p15:clr>
            <a:srgbClr val="547EB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Content with&#10;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7D4DF720-FC23-45C2-8016-3D431C0FE2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400" y="318601"/>
            <a:ext cx="5443200" cy="5832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Content placeholder">
            <a:extLst>
              <a:ext uri="{FF2B5EF4-FFF2-40B4-BE49-F238E27FC236}">
                <a16:creationId xmlns:a16="http://schemas.microsoft.com/office/drawing/2014/main" id="{EF6A0E3D-0F3F-48A4-8CB4-3ED3260C86C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58788" y="1387475"/>
            <a:ext cx="5443537" cy="5054600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D8C158F4-8406-4C77-8504-FFCC13CA1F8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90400" y="97201"/>
            <a:ext cx="5901600" cy="6760799"/>
          </a:xfrm>
          <a:solidFill>
            <a:schemeClr val="bg1"/>
          </a:solidFill>
        </p:spPr>
        <p:txBody>
          <a:bodyPr vert="horz" wrap="square" lIns="0" tIns="0" rIns="0" bIns="756000" rtlCol="0" anchor="ctr">
            <a:noAutofit/>
          </a:bodyPr>
          <a:lstStyle>
            <a:lvl1pPr algn="ctr">
              <a:defRPr lang="en-US"/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17BD5A3-FD1B-4133-B010-6FFA76FD43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765D08-26B1-4DE8-BBEA-0EAC4020FA96}" type="datetimeFigureOut">
              <a:rPr lang="en-US"/>
              <a:t>7/14/2024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7822A3E-E60C-4747-89A1-27BFCBA559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190479B-AEF2-40F1-BB30-D531AD0F30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4D68C-E810-46A5-A28F-0667A3B6FF14}" type="slidenum">
              <a:rPr lang="en-US"/>
              <a:t>‹Nr.›</a:t>
            </a:fld>
            <a:endParaRPr lang="en-US"/>
          </a:p>
        </p:txBody>
      </p:sp>
      <p:sp>
        <p:nvSpPr>
          <p:cNvPr id="10" name="Layoutschutz" hidden="1">
            <a:extLst>
              <a:ext uri="{FF2B5EF4-FFF2-40B4-BE49-F238E27FC236}">
                <a16:creationId xmlns:a16="http://schemas.microsoft.com/office/drawing/2014/main" id="{3C2F97AD-E828-40AE-B54D-6B404A76B16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54000" y="1295400"/>
            <a:ext cx="11760200" cy="55626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28782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9">
          <p15:clr>
            <a:srgbClr val="547EBF"/>
          </p15:clr>
        </p15:guide>
        <p15:guide id="2" pos="3718">
          <p15:clr>
            <a:srgbClr val="547EBF"/>
          </p15:clr>
        </p15:guide>
        <p15:guide id="3" pos="3962">
          <p15:clr>
            <a:srgbClr val="547EBF"/>
          </p15:clr>
        </p15:guide>
        <p15:guide id="4" orient="horz" pos="201">
          <p15:clr>
            <a:srgbClr val="547EBF"/>
          </p15:clr>
        </p15:guide>
        <p15:guide id="5" orient="horz" pos="4058">
          <p15:clr>
            <a:srgbClr val="547EBF"/>
          </p15:clr>
        </p15:guide>
        <p15:guide id="6" orient="horz" pos="874">
          <p15:clr>
            <a:srgbClr val="547EB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Content with&#10;2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7D4DF720-FC23-45C2-8016-3D431C0FE2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400" y="318601"/>
            <a:ext cx="7387200" cy="5832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Content placeholder">
            <a:extLst>
              <a:ext uri="{FF2B5EF4-FFF2-40B4-BE49-F238E27FC236}">
                <a16:creationId xmlns:a16="http://schemas.microsoft.com/office/drawing/2014/main" id="{EF6A0E3D-0F3F-48A4-8CB4-3ED3260C86C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58788" y="1387475"/>
            <a:ext cx="7386812" cy="5054600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D8C158F4-8406-4C77-8504-FFCC13CA1F8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234400" y="97199"/>
            <a:ext cx="3957600" cy="6760801"/>
          </a:xfrm>
          <a:solidFill>
            <a:schemeClr val="bg1"/>
          </a:solidFill>
        </p:spPr>
        <p:txBody>
          <a:bodyPr vert="horz" wrap="square" lIns="0" tIns="0" rIns="0" bIns="756000" rtlCol="0" anchor="ctr">
            <a:noAutofit/>
          </a:bodyPr>
          <a:lstStyle>
            <a:lvl1pPr>
              <a:defRPr lang="en-US"/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17BD5A3-FD1B-4133-B010-6FFA76FD43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765D08-26B1-4DE8-BBEA-0EAC4020FA96}" type="datetimeFigureOut">
              <a:rPr lang="en-US"/>
              <a:t>7/14/2024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7822A3E-E60C-4747-89A1-27BFCBA559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190479B-AEF2-40F1-BB30-D531AD0F30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4D68C-E810-46A5-A28F-0667A3B6FF14}" type="slidenum">
              <a:rPr lang="en-US"/>
              <a:t>‹Nr.›</a:t>
            </a:fld>
            <a:endParaRPr lang="en-US"/>
          </a:p>
        </p:txBody>
      </p:sp>
      <p:sp>
        <p:nvSpPr>
          <p:cNvPr id="10" name="Layoutschutz" hidden="1">
            <a:extLst>
              <a:ext uri="{FF2B5EF4-FFF2-40B4-BE49-F238E27FC236}">
                <a16:creationId xmlns:a16="http://schemas.microsoft.com/office/drawing/2014/main" id="{2C74372E-B21D-4B8A-81C0-EC3BD137CFA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54000" y="1295400"/>
            <a:ext cx="11760200" cy="55626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91222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87">
          <p15:clr>
            <a:srgbClr val="547EBF"/>
          </p15:clr>
        </p15:guide>
        <p15:guide id="2" pos="4942">
          <p15:clr>
            <a:srgbClr val="547EBF"/>
          </p15:clr>
        </p15:guide>
        <p15:guide id="3" pos="289">
          <p15:clr>
            <a:srgbClr val="547EBF"/>
          </p15:clr>
        </p15:guide>
        <p15:guide id="4" orient="horz" pos="201">
          <p15:clr>
            <a:srgbClr val="547EBF"/>
          </p15:clr>
        </p15:guide>
        <p15:guide id="6" orient="horz" pos="874">
          <p15:clr>
            <a:srgbClr val="547EBF"/>
          </p15:clr>
        </p15:guide>
        <p15:guide id="7" orient="horz" pos="4058">
          <p15:clr>
            <a:srgbClr val="547EB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7.xml"/><Relationship Id="rId21" Type="http://schemas.openxmlformats.org/officeDocument/2006/relationships/tags" Target="../tags/tag2.xml"/><Relationship Id="rId34" Type="http://schemas.openxmlformats.org/officeDocument/2006/relationships/tags" Target="../tags/tag1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33" Type="http://schemas.openxmlformats.org/officeDocument/2006/relationships/tags" Target="../tags/tag14.xml"/><Relationship Id="rId38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29" Type="http://schemas.openxmlformats.org/officeDocument/2006/relationships/tags" Target="../tags/tag1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32" Type="http://schemas.openxmlformats.org/officeDocument/2006/relationships/tags" Target="../tags/tag13.xml"/><Relationship Id="rId37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tags" Target="../tags/tag9.xml"/><Relationship Id="rId36" Type="http://schemas.openxmlformats.org/officeDocument/2006/relationships/tags" Target="../tags/tag17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1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tags" Target="../tags/tag8.xml"/><Relationship Id="rId30" Type="http://schemas.openxmlformats.org/officeDocument/2006/relationships/tags" Target="../tags/tag11.xml"/><Relationship Id="rId35" Type="http://schemas.openxmlformats.org/officeDocument/2006/relationships/tags" Target="../tags/tag16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2" name="Master field_Confidentiality EN" hidden="1">
            <a:extLst>
              <a:ext uri="{FF2B5EF4-FFF2-40B4-BE49-F238E27FC236}">
                <a16:creationId xmlns:a16="http://schemas.microsoft.com/office/drawing/2014/main" id="{E6F180B5-9536-4681-A47C-FA354CB7ADA2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>
          <a:xfrm>
            <a:off x="4346400" y="6636601"/>
            <a:ext cx="3499200" cy="194415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457200" lvl="1" indent="-457200" algn="ctr">
              <a:buFont typeface="+mj-lt"/>
              <a:buNone/>
            </a:pPr>
            <a:endParaRPr lang="de-DE" sz="900" b="1"/>
          </a:p>
        </p:txBody>
      </p:sp>
      <p:sp>
        <p:nvSpPr>
          <p:cNvPr id="374" name="Masterfeld_Vertraulichkeit DE" hidden="1">
            <a:extLst>
              <a:ext uri="{FF2B5EF4-FFF2-40B4-BE49-F238E27FC236}">
                <a16:creationId xmlns:a16="http://schemas.microsoft.com/office/drawing/2014/main" id="{91E76263-1413-4E56-A73E-0F3B59D1DB49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>
          <a:xfrm>
            <a:off x="4346400" y="6636601"/>
            <a:ext cx="3499200" cy="194415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457200" lvl="1" indent="-457200" algn="ctr">
              <a:buFont typeface="+mj-lt"/>
              <a:buNone/>
            </a:pPr>
            <a:endParaRPr lang="de-DE" sz="900"/>
          </a:p>
        </p:txBody>
      </p:sp>
      <p:sp>
        <p:nvSpPr>
          <p:cNvPr id="361" name="Master field_Watermark EN" hidden="1">
            <a:extLst>
              <a:ext uri="{FF2B5EF4-FFF2-40B4-BE49-F238E27FC236}">
                <a16:creationId xmlns:a16="http://schemas.microsoft.com/office/drawing/2014/main" id="{2490A5E6-D530-4963-9279-3817B7E6B5CA}"/>
              </a:ext>
            </a:extLst>
          </p:cNvPr>
          <p:cNvSpPr txBox="1"/>
          <p:nvPr>
            <p:custDataLst>
              <p:tags r:id="rId23"/>
            </p:custDataLst>
          </p:nvPr>
        </p:nvSpPr>
        <p:spPr>
          <a:xfrm rot="20069185">
            <a:off x="-193555" y="2412413"/>
            <a:ext cx="12551509" cy="2071096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noAutofit/>
          </a:bodyPr>
          <a:lstStyle/>
          <a:p>
            <a:pPr lvl="0"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4400" b="0" i="0" u="none" baseline="0">
              <a:solidFill>
                <a:schemeClr val="bg1">
                  <a:lumMod val="95000"/>
                </a:schemeClr>
              </a:solidFill>
              <a:latin typeface="+mj-lt"/>
              <a:cs typeface="Segoe UI Light" panose="020B0502040204020203" pitchFamily="34" charset="0"/>
            </a:endParaRPr>
          </a:p>
        </p:txBody>
      </p:sp>
      <p:sp>
        <p:nvSpPr>
          <p:cNvPr id="353" name="Masterfeld_Wasserzeichen DE" hidden="1">
            <a:extLst>
              <a:ext uri="{FF2B5EF4-FFF2-40B4-BE49-F238E27FC236}">
                <a16:creationId xmlns:a16="http://schemas.microsoft.com/office/drawing/2014/main" id="{0BC60646-8464-4B5A-8398-EAD11080928A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>
          <a:xfrm rot="20069185">
            <a:off x="-193556" y="2412413"/>
            <a:ext cx="12551509" cy="2071096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noAutofit/>
          </a:bodyPr>
          <a:lstStyle/>
          <a:p>
            <a:pPr lvl="0"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4400" b="0" i="0" u="none" baseline="0">
              <a:solidFill>
                <a:schemeClr val="bg1">
                  <a:lumMod val="95000"/>
                </a:schemeClr>
              </a:solidFill>
              <a:latin typeface="+mj-lt"/>
              <a:cs typeface="Segoe UI Light" panose="020B0502040204020203" pitchFamily="34" charset="0"/>
            </a:endParaRPr>
          </a:p>
        </p:txBody>
      </p:sp>
      <p:sp>
        <p:nvSpPr>
          <p:cNvPr id="355" name="Masterfeld_Label ALL" hidden="1">
            <a:extLst>
              <a:ext uri="{FF2B5EF4-FFF2-40B4-BE49-F238E27FC236}">
                <a16:creationId xmlns:a16="http://schemas.microsoft.com/office/drawing/2014/main" id="{8A504E50-55BB-435A-AC4B-D802930701BB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0" y="999000"/>
            <a:ext cx="12192000" cy="291600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1"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600" b="0" i="0" u="none" baseline="0">
              <a:solidFill>
                <a:schemeClr val="bg1"/>
              </a:solidFill>
              <a:latin typeface="+mj-lt"/>
              <a:cs typeface="Segoe UI Light" panose="020B0502040204020203" pitchFamily="34" charset="0"/>
            </a:endParaRPr>
          </a:p>
        </p:txBody>
      </p:sp>
      <p:sp>
        <p:nvSpPr>
          <p:cNvPr id="362" name="Slide number decoration" hidden="1">
            <a:extLst>
              <a:ext uri="{FF2B5EF4-FFF2-40B4-BE49-F238E27FC236}">
                <a16:creationId xmlns:a16="http://schemas.microsoft.com/office/drawing/2014/main" id="{CB9D710C-4428-490E-8149-BCAF590EBEE6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>
          <a:xfrm>
            <a:off x="11947200" y="6613200"/>
            <a:ext cx="244800" cy="2448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600" b="0" i="0" u="none" baseline="0">
              <a:solidFill>
                <a:srgbClr val="000000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64" name="Slide number" hidden="1">
            <a:extLst>
              <a:ext uri="{FF2B5EF4-FFF2-40B4-BE49-F238E27FC236}">
                <a16:creationId xmlns:a16="http://schemas.microsoft.com/office/drawing/2014/main" id="{A41E70FE-9BE9-42DD-8EFC-6528AD602D8D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black">
          <a:xfrm>
            <a:off x="11947200" y="6613200"/>
            <a:ext cx="244800" cy="244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0" tIns="0" rIns="0" bIns="0" rtlCol="0" anchor="ctr">
            <a:noAutofit/>
          </a:bodyPr>
          <a:lstStyle/>
          <a:p>
            <a:pPr marL="0" indent="0" algn="ctr">
              <a:buFont typeface="+mj-lt"/>
              <a:buNone/>
            </a:pPr>
            <a:fld id="{9D23E012-94D2-42CD-81AD-260BE659DD86}" type="slidenum">
              <a:rPr lang="de-DE" sz="900" b="1" i="0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pPr marL="0" indent="0" algn="ctr">
                <a:buFont typeface="+mj-lt"/>
                <a:buNone/>
              </a:pPr>
              <a:t>‹Nr.›</a:t>
            </a:fld>
            <a:endParaRPr lang="de-DE" sz="900" b="1" i="0">
              <a:solidFill>
                <a:schemeClr val="bg1"/>
              </a:solidFill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339" name="Seitenzahl Dekoration" hidden="1">
            <a:extLst>
              <a:ext uri="{FF2B5EF4-FFF2-40B4-BE49-F238E27FC236}">
                <a16:creationId xmlns:a16="http://schemas.microsoft.com/office/drawing/2014/main" id="{74E615F6-F1BB-4564-B86C-D0367C24F988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11947200" y="6613200"/>
            <a:ext cx="244800" cy="2448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600" b="0" i="0" u="none" baseline="0">
              <a:solidFill>
                <a:srgbClr val="000000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40" name="Seitenzahl" hidden="1">
            <a:extLst>
              <a:ext uri="{FF2B5EF4-FFF2-40B4-BE49-F238E27FC236}">
                <a16:creationId xmlns:a16="http://schemas.microsoft.com/office/drawing/2014/main" id="{8EEB9423-3E67-4A2D-8E4E-DD5FE7C77AB8}"/>
              </a:ext>
            </a:extLst>
          </p:cNvPr>
          <p:cNvSpPr txBox="1"/>
          <p:nvPr>
            <p:custDataLst>
              <p:tags r:id="rId29"/>
            </p:custDataLst>
          </p:nvPr>
        </p:nvSpPr>
        <p:spPr bwMode="black">
          <a:xfrm>
            <a:off x="11947200" y="6637338"/>
            <a:ext cx="244800" cy="1936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0" tIns="0" rIns="0" bIns="0" rtlCol="0" anchor="ctr">
            <a:noAutofit/>
          </a:bodyPr>
          <a:lstStyle/>
          <a:p>
            <a:pPr marL="0" indent="0" algn="ctr">
              <a:buFont typeface="+mj-lt"/>
              <a:buNone/>
            </a:pPr>
            <a:fld id="{64A3D42F-8054-4016-A926-D2A0D6A99DC0}" type="slidenum">
              <a:rPr lang="de-DE" sz="900" b="1" i="0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‹Nr.›</a:t>
            </a:fld>
            <a:endParaRPr lang="de-DE" sz="900" b="1" i="0">
              <a:solidFill>
                <a:schemeClr val="bg1"/>
              </a:solidFill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grpSp>
        <p:nvGrpSpPr>
          <p:cNvPr id="397" name="Master field_Guide lines EN" hidden="1">
            <a:extLst>
              <a:ext uri="{FF2B5EF4-FFF2-40B4-BE49-F238E27FC236}">
                <a16:creationId xmlns:a16="http://schemas.microsoft.com/office/drawing/2014/main" id="{52D2F486-2EA3-4D68-B7F3-E1E8CD207CCE}"/>
              </a:ext>
            </a:extLst>
          </p:cNvPr>
          <p:cNvGrpSpPr/>
          <p:nvPr>
            <p:custDataLst>
              <p:tags r:id="rId30"/>
            </p:custDataLst>
          </p:nvPr>
        </p:nvGrpSpPr>
        <p:grpSpPr>
          <a:xfrm>
            <a:off x="69600" y="124200"/>
            <a:ext cx="12052800" cy="6636600"/>
            <a:chOff x="69600" y="124200"/>
            <a:chExt cx="12052800" cy="6636600"/>
          </a:xfrm>
        </p:grpSpPr>
        <p:cxnSp>
          <p:nvCxnSpPr>
            <p:cNvPr id="377" name="Gerader Verbinder 376" hidden="1">
              <a:extLst>
                <a:ext uri="{FF2B5EF4-FFF2-40B4-BE49-F238E27FC236}">
                  <a16:creationId xmlns:a16="http://schemas.microsoft.com/office/drawing/2014/main" id="{35A22685-D8FE-422D-8991-85986095451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58400" y="124200"/>
              <a:ext cx="0" cy="663660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8" name="Gerader Verbinder 377" hidden="1">
              <a:extLst>
                <a:ext uri="{FF2B5EF4-FFF2-40B4-BE49-F238E27FC236}">
                  <a16:creationId xmlns:a16="http://schemas.microsoft.com/office/drawing/2014/main" id="{2D619187-5999-4534-B10D-46AF9B32121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402400" y="124200"/>
              <a:ext cx="0" cy="663660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9" name="Gerader Verbinder 378" hidden="1">
              <a:extLst>
                <a:ext uri="{FF2B5EF4-FFF2-40B4-BE49-F238E27FC236}">
                  <a16:creationId xmlns:a16="http://schemas.microsoft.com/office/drawing/2014/main" id="{FDAB62DC-411F-463A-A53D-2A54C77A79F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46400" y="124200"/>
              <a:ext cx="0" cy="663660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0" name="Gerader Verbinder 379" hidden="1">
              <a:extLst>
                <a:ext uri="{FF2B5EF4-FFF2-40B4-BE49-F238E27FC236}">
                  <a16:creationId xmlns:a16="http://schemas.microsoft.com/office/drawing/2014/main" id="{630DC423-D7D4-435A-9388-74C4F3EC672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290400" y="124200"/>
              <a:ext cx="0" cy="663660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1" name="Gerader Verbinder 380" hidden="1">
              <a:extLst>
                <a:ext uri="{FF2B5EF4-FFF2-40B4-BE49-F238E27FC236}">
                  <a16:creationId xmlns:a16="http://schemas.microsoft.com/office/drawing/2014/main" id="{C84AB79D-AA3D-498B-B640-F4A82B7ABD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234400" y="124200"/>
              <a:ext cx="0" cy="663660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2" name="Gerader Verbinder 381" hidden="1">
              <a:extLst>
                <a:ext uri="{FF2B5EF4-FFF2-40B4-BE49-F238E27FC236}">
                  <a16:creationId xmlns:a16="http://schemas.microsoft.com/office/drawing/2014/main" id="{12DE93C4-4D31-4B06-8754-A6601AEC23B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178400" y="124200"/>
              <a:ext cx="0" cy="663660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3" name="Gerader Verbinder 382" hidden="1">
              <a:extLst>
                <a:ext uri="{FF2B5EF4-FFF2-40B4-BE49-F238E27FC236}">
                  <a16:creationId xmlns:a16="http://schemas.microsoft.com/office/drawing/2014/main" id="{C4E78B12-A65D-4964-BA5D-B02BA842A97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733600" y="124200"/>
              <a:ext cx="0" cy="663660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4" name="Gerader Verbinder 383" hidden="1">
              <a:extLst>
                <a:ext uri="{FF2B5EF4-FFF2-40B4-BE49-F238E27FC236}">
                  <a16:creationId xmlns:a16="http://schemas.microsoft.com/office/drawing/2014/main" id="{4EEE0AA0-FBFF-4933-A1A8-CF13CDAFD3A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789600" y="124200"/>
              <a:ext cx="0" cy="663660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5" name="Gerader Verbinder 384" hidden="1">
              <a:extLst>
                <a:ext uri="{FF2B5EF4-FFF2-40B4-BE49-F238E27FC236}">
                  <a16:creationId xmlns:a16="http://schemas.microsoft.com/office/drawing/2014/main" id="{90E5B946-CACA-4D52-AA16-9154F10886B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845600" y="124200"/>
              <a:ext cx="0" cy="663660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6" name="Gerader Verbinder 385" hidden="1">
              <a:extLst>
                <a:ext uri="{FF2B5EF4-FFF2-40B4-BE49-F238E27FC236}">
                  <a16:creationId xmlns:a16="http://schemas.microsoft.com/office/drawing/2014/main" id="{EB0688EC-171C-4783-9303-D253FB8007C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901600" y="124200"/>
              <a:ext cx="0" cy="663660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7" name="Gerader Verbinder 386" hidden="1">
              <a:extLst>
                <a:ext uri="{FF2B5EF4-FFF2-40B4-BE49-F238E27FC236}">
                  <a16:creationId xmlns:a16="http://schemas.microsoft.com/office/drawing/2014/main" id="{80327993-6097-4CC3-8E6E-8B24FA674F0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957600" y="124200"/>
              <a:ext cx="0" cy="663660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8" name="Gerader Verbinder 387" hidden="1">
              <a:extLst>
                <a:ext uri="{FF2B5EF4-FFF2-40B4-BE49-F238E27FC236}">
                  <a16:creationId xmlns:a16="http://schemas.microsoft.com/office/drawing/2014/main" id="{BAB3CC89-54EF-4350-B782-54E20137BA4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013600" y="124200"/>
              <a:ext cx="0" cy="663660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9" name="Gerader Verbinder 388" hidden="1">
              <a:extLst>
                <a:ext uri="{FF2B5EF4-FFF2-40B4-BE49-F238E27FC236}">
                  <a16:creationId xmlns:a16="http://schemas.microsoft.com/office/drawing/2014/main" id="{FEB299E7-65FE-4AD2-B145-AA3E9677D80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9600" y="318600"/>
              <a:ext cx="12052800" cy="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0" name="Gerader Verbinder 389" hidden="1">
              <a:extLst>
                <a:ext uri="{FF2B5EF4-FFF2-40B4-BE49-F238E27FC236}">
                  <a16:creationId xmlns:a16="http://schemas.microsoft.com/office/drawing/2014/main" id="{BFB5671E-653B-4B1E-AEED-3B44B2FCFEE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9600" y="901800"/>
              <a:ext cx="12052800" cy="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1" name="Gerader Verbinder 390" hidden="1">
              <a:extLst>
                <a:ext uri="{FF2B5EF4-FFF2-40B4-BE49-F238E27FC236}">
                  <a16:creationId xmlns:a16="http://schemas.microsoft.com/office/drawing/2014/main" id="{1AA6AD2C-C78D-4EF0-A510-5F2BE28F66B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2" name="Gerader Verbinder 391" hidden="1">
              <a:extLst>
                <a:ext uri="{FF2B5EF4-FFF2-40B4-BE49-F238E27FC236}">
                  <a16:creationId xmlns:a16="http://schemas.microsoft.com/office/drawing/2014/main" id="{8ED978A9-5654-488E-9F5E-E05D0CB448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9600" y="2943000"/>
              <a:ext cx="12052800" cy="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3" name="Gerader Verbinder 392" hidden="1">
              <a:extLst>
                <a:ext uri="{FF2B5EF4-FFF2-40B4-BE49-F238E27FC236}">
                  <a16:creationId xmlns:a16="http://schemas.microsoft.com/office/drawing/2014/main" id="{92A8A752-8B23-4825-91BF-AD28B79C57B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4" name="Gerader Verbinder 393" hidden="1">
              <a:extLst>
                <a:ext uri="{FF2B5EF4-FFF2-40B4-BE49-F238E27FC236}">
                  <a16:creationId xmlns:a16="http://schemas.microsoft.com/office/drawing/2014/main" id="{D1A33259-C96B-4348-9AEE-20F0F36BB2D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9600" y="6442200"/>
              <a:ext cx="12052800" cy="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5" name="Gerader Verbinder 394" hidden="1">
              <a:extLst>
                <a:ext uri="{FF2B5EF4-FFF2-40B4-BE49-F238E27FC236}">
                  <a16:creationId xmlns:a16="http://schemas.microsoft.com/office/drawing/2014/main" id="{982499CD-773F-4943-AAE2-31A25208920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6" name="Gerader Verbinder 395" hidden="1">
              <a:extLst>
                <a:ext uri="{FF2B5EF4-FFF2-40B4-BE49-F238E27FC236}">
                  <a16:creationId xmlns:a16="http://schemas.microsoft.com/office/drawing/2014/main" id="{99EE1CED-0A7D-417D-B4CB-7F500CC845A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9600" y="4887000"/>
              <a:ext cx="12052800" cy="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4" name="Master field_Support grid EN" hidden="1">
            <a:extLst>
              <a:ext uri="{FF2B5EF4-FFF2-40B4-BE49-F238E27FC236}">
                <a16:creationId xmlns:a16="http://schemas.microsoft.com/office/drawing/2014/main" id="{E9D01B52-8D4C-463B-B858-E5C09B32BDAC}"/>
              </a:ext>
            </a:extLst>
          </p:cNvPr>
          <p:cNvGrpSpPr/>
          <p:nvPr>
            <p:custDataLst>
              <p:tags r:id="rId31"/>
            </p:custDataLst>
          </p:nvPr>
        </p:nvGrpSpPr>
        <p:grpSpPr>
          <a:xfrm>
            <a:off x="-513599" y="-264599"/>
            <a:ext cx="12927599" cy="7387200"/>
            <a:chOff x="-513599" y="-264599"/>
            <a:chExt cx="12927599" cy="7387200"/>
          </a:xfrm>
        </p:grpSpPr>
        <p:cxnSp>
          <p:nvCxnSpPr>
            <p:cNvPr id="324" name="Gerader Verbinder 323" hidden="1">
              <a:extLst>
                <a:ext uri="{FF2B5EF4-FFF2-40B4-BE49-F238E27FC236}">
                  <a16:creationId xmlns:a16="http://schemas.microsoft.com/office/drawing/2014/main" id="{8B613D61-32FE-456F-87D0-95BD67C6F977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16800" y="17766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5" name="Gerader Verbinder 324" hidden="1">
              <a:extLst>
                <a:ext uri="{FF2B5EF4-FFF2-40B4-BE49-F238E27FC236}">
                  <a16:creationId xmlns:a16="http://schemas.microsoft.com/office/drawing/2014/main" id="{E414009B-951F-4758-98BA-98EB5568C69A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16800" y="23598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6" name="Gerader Verbinder 325" hidden="1">
              <a:extLst>
                <a:ext uri="{FF2B5EF4-FFF2-40B4-BE49-F238E27FC236}">
                  <a16:creationId xmlns:a16="http://schemas.microsoft.com/office/drawing/2014/main" id="{68CCF0B9-652A-4FDA-AE73-6C0BD497335A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16800" y="29430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7" name="Gerader Verbinder 326" hidden="1">
              <a:extLst>
                <a:ext uri="{FF2B5EF4-FFF2-40B4-BE49-F238E27FC236}">
                  <a16:creationId xmlns:a16="http://schemas.microsoft.com/office/drawing/2014/main" id="{0C0AC19C-5E09-40F3-9CC7-41D95CE020BB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16800" y="35262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8" name="Gerader Verbinder 327" hidden="1">
              <a:extLst>
                <a:ext uri="{FF2B5EF4-FFF2-40B4-BE49-F238E27FC236}">
                  <a16:creationId xmlns:a16="http://schemas.microsoft.com/office/drawing/2014/main" id="{79319A40-DE1D-477A-9B64-E3185C89E2FF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16800" y="41094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9" name="Gerader Verbinder 328" hidden="1">
              <a:extLst>
                <a:ext uri="{FF2B5EF4-FFF2-40B4-BE49-F238E27FC236}">
                  <a16:creationId xmlns:a16="http://schemas.microsoft.com/office/drawing/2014/main" id="{4C98D0C5-3B4F-4EEC-9E56-E193E56FAF35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16800" y="46926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0" name="Gerader Verbinder 329" hidden="1">
              <a:extLst>
                <a:ext uri="{FF2B5EF4-FFF2-40B4-BE49-F238E27FC236}">
                  <a16:creationId xmlns:a16="http://schemas.microsoft.com/office/drawing/2014/main" id="{D9908D51-2AAF-4EE9-9EF4-864B40B950D7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16800" y="52758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1" name="Gerader Verbinder 330" hidden="1">
              <a:extLst>
                <a:ext uri="{FF2B5EF4-FFF2-40B4-BE49-F238E27FC236}">
                  <a16:creationId xmlns:a16="http://schemas.microsoft.com/office/drawing/2014/main" id="{A0289920-BB74-44FF-BC6A-947EB5AF9A7B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16800" y="58590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2" name="Gerader Verbinder 331" hidden="1">
              <a:extLst>
                <a:ext uri="{FF2B5EF4-FFF2-40B4-BE49-F238E27FC236}">
                  <a16:creationId xmlns:a16="http://schemas.microsoft.com/office/drawing/2014/main" id="{7A26C63B-14A8-44B9-9C41-73D521E690F3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16800" y="64422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Gerader Verbinder 161" hidden="1">
              <a:extLst>
                <a:ext uri="{FF2B5EF4-FFF2-40B4-BE49-F238E27FC236}">
                  <a16:creationId xmlns:a16="http://schemas.microsoft.com/office/drawing/2014/main" id="{12A01527-EC36-43A4-8168-EA5ACACD659C}"/>
                </a:ext>
              </a:extLst>
            </p:cNvPr>
            <p:cNvCxnSpPr/>
            <p:nvPr userDrawn="1"/>
          </p:nvCxnSpPr>
          <p:spPr>
            <a:xfrm>
              <a:off x="458401" y="-264599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Gerader Verbinder 162" hidden="1">
              <a:extLst>
                <a:ext uri="{FF2B5EF4-FFF2-40B4-BE49-F238E27FC236}">
                  <a16:creationId xmlns:a16="http://schemas.microsoft.com/office/drawing/2014/main" id="{AFF8F76F-07BB-4636-83BB-3E7F688EB6B8}"/>
                </a:ext>
              </a:extLst>
            </p:cNvPr>
            <p:cNvCxnSpPr/>
            <p:nvPr userDrawn="1"/>
          </p:nvCxnSpPr>
          <p:spPr>
            <a:xfrm>
              <a:off x="1041601" y="-221399"/>
              <a:ext cx="0" cy="540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Gerader Verbinder 163" hidden="1">
              <a:extLst>
                <a:ext uri="{FF2B5EF4-FFF2-40B4-BE49-F238E27FC236}">
                  <a16:creationId xmlns:a16="http://schemas.microsoft.com/office/drawing/2014/main" id="{5E3FEA2E-C9BE-48A1-B977-5DEA20160A56}"/>
                </a:ext>
              </a:extLst>
            </p:cNvPr>
            <p:cNvCxnSpPr/>
            <p:nvPr userDrawn="1"/>
          </p:nvCxnSpPr>
          <p:spPr>
            <a:xfrm>
              <a:off x="2013601" y="-264599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Gerader Verbinder 164" hidden="1">
              <a:extLst>
                <a:ext uri="{FF2B5EF4-FFF2-40B4-BE49-F238E27FC236}">
                  <a16:creationId xmlns:a16="http://schemas.microsoft.com/office/drawing/2014/main" id="{81AE7047-AFB9-41E6-9784-F1B1BB35D8EE}"/>
                </a:ext>
              </a:extLst>
            </p:cNvPr>
            <p:cNvCxnSpPr/>
            <p:nvPr userDrawn="1"/>
          </p:nvCxnSpPr>
          <p:spPr>
            <a:xfrm>
              <a:off x="1430401" y="-221399"/>
              <a:ext cx="0" cy="540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Gerader Verbinder 165" hidden="1">
              <a:extLst>
                <a:ext uri="{FF2B5EF4-FFF2-40B4-BE49-F238E27FC236}">
                  <a16:creationId xmlns:a16="http://schemas.microsoft.com/office/drawing/2014/main" id="{A58DF263-DEC0-4E83-AADC-EC75EA4E7CA4}"/>
                </a:ext>
              </a:extLst>
            </p:cNvPr>
            <p:cNvCxnSpPr/>
            <p:nvPr userDrawn="1"/>
          </p:nvCxnSpPr>
          <p:spPr>
            <a:xfrm>
              <a:off x="2013601" y="-264599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7" name="Gerader Verbinder 166" hidden="1">
              <a:extLst>
                <a:ext uri="{FF2B5EF4-FFF2-40B4-BE49-F238E27FC236}">
                  <a16:creationId xmlns:a16="http://schemas.microsoft.com/office/drawing/2014/main" id="{7E5897DD-9E4D-43E6-A151-C859D7D995C1}"/>
                </a:ext>
              </a:extLst>
            </p:cNvPr>
            <p:cNvCxnSpPr/>
            <p:nvPr userDrawn="1"/>
          </p:nvCxnSpPr>
          <p:spPr>
            <a:xfrm>
              <a:off x="2013601" y="-264599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8" name="Gerader Verbinder 167" hidden="1">
              <a:extLst>
                <a:ext uri="{FF2B5EF4-FFF2-40B4-BE49-F238E27FC236}">
                  <a16:creationId xmlns:a16="http://schemas.microsoft.com/office/drawing/2014/main" id="{3E5BCDC3-814B-42BE-B4E1-583EB9EC9551}"/>
                </a:ext>
              </a:extLst>
            </p:cNvPr>
            <p:cNvCxnSpPr/>
            <p:nvPr userDrawn="1"/>
          </p:nvCxnSpPr>
          <p:spPr>
            <a:xfrm>
              <a:off x="2402401" y="-264599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Gerader Verbinder 168" hidden="1">
              <a:extLst>
                <a:ext uri="{FF2B5EF4-FFF2-40B4-BE49-F238E27FC236}">
                  <a16:creationId xmlns:a16="http://schemas.microsoft.com/office/drawing/2014/main" id="{79073897-8DEA-4A99-AAFF-D9E0068EF9CF}"/>
                </a:ext>
              </a:extLst>
            </p:cNvPr>
            <p:cNvCxnSpPr/>
            <p:nvPr userDrawn="1"/>
          </p:nvCxnSpPr>
          <p:spPr>
            <a:xfrm>
              <a:off x="2985601" y="-221399"/>
              <a:ext cx="0" cy="540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Gerader Verbinder 169" hidden="1">
              <a:extLst>
                <a:ext uri="{FF2B5EF4-FFF2-40B4-BE49-F238E27FC236}">
                  <a16:creationId xmlns:a16="http://schemas.microsoft.com/office/drawing/2014/main" id="{BFACF030-DE9E-4641-820A-75CF34D4E0C5}"/>
                </a:ext>
              </a:extLst>
            </p:cNvPr>
            <p:cNvCxnSpPr/>
            <p:nvPr userDrawn="1"/>
          </p:nvCxnSpPr>
          <p:spPr>
            <a:xfrm>
              <a:off x="3957601" y="-264599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Gerader Verbinder 170" hidden="1">
              <a:extLst>
                <a:ext uri="{FF2B5EF4-FFF2-40B4-BE49-F238E27FC236}">
                  <a16:creationId xmlns:a16="http://schemas.microsoft.com/office/drawing/2014/main" id="{DFA3D003-C979-45E4-9EDE-7D92C1F54814}"/>
                </a:ext>
              </a:extLst>
            </p:cNvPr>
            <p:cNvCxnSpPr/>
            <p:nvPr userDrawn="1"/>
          </p:nvCxnSpPr>
          <p:spPr>
            <a:xfrm>
              <a:off x="3374401" y="-221399"/>
              <a:ext cx="0" cy="540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Gerader Verbinder 171" hidden="1">
              <a:extLst>
                <a:ext uri="{FF2B5EF4-FFF2-40B4-BE49-F238E27FC236}">
                  <a16:creationId xmlns:a16="http://schemas.microsoft.com/office/drawing/2014/main" id="{138B96AB-ED97-46EF-B58D-B36173E85FF9}"/>
                </a:ext>
              </a:extLst>
            </p:cNvPr>
            <p:cNvCxnSpPr/>
            <p:nvPr userDrawn="1"/>
          </p:nvCxnSpPr>
          <p:spPr>
            <a:xfrm>
              <a:off x="3957601" y="-264599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Gerader Verbinder 172" hidden="1">
              <a:extLst>
                <a:ext uri="{FF2B5EF4-FFF2-40B4-BE49-F238E27FC236}">
                  <a16:creationId xmlns:a16="http://schemas.microsoft.com/office/drawing/2014/main" id="{30591B41-29E8-442C-80CA-7E2FCA47B29A}"/>
                </a:ext>
              </a:extLst>
            </p:cNvPr>
            <p:cNvCxnSpPr/>
            <p:nvPr userDrawn="1"/>
          </p:nvCxnSpPr>
          <p:spPr>
            <a:xfrm>
              <a:off x="3957601" y="-264599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Gerader Verbinder 173" hidden="1">
              <a:extLst>
                <a:ext uri="{FF2B5EF4-FFF2-40B4-BE49-F238E27FC236}">
                  <a16:creationId xmlns:a16="http://schemas.microsoft.com/office/drawing/2014/main" id="{75C3D05E-9562-4640-9378-4203E30C6405}"/>
                </a:ext>
              </a:extLst>
            </p:cNvPr>
            <p:cNvCxnSpPr/>
            <p:nvPr userDrawn="1"/>
          </p:nvCxnSpPr>
          <p:spPr>
            <a:xfrm>
              <a:off x="4346401" y="-264599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Gerader Verbinder 174" hidden="1">
              <a:extLst>
                <a:ext uri="{FF2B5EF4-FFF2-40B4-BE49-F238E27FC236}">
                  <a16:creationId xmlns:a16="http://schemas.microsoft.com/office/drawing/2014/main" id="{B5F7FE3F-AE90-439C-B05E-AB7EB6B2735D}"/>
                </a:ext>
              </a:extLst>
            </p:cNvPr>
            <p:cNvCxnSpPr/>
            <p:nvPr userDrawn="1"/>
          </p:nvCxnSpPr>
          <p:spPr>
            <a:xfrm>
              <a:off x="4929601" y="-221399"/>
              <a:ext cx="0" cy="540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Gerader Verbinder 175" hidden="1">
              <a:extLst>
                <a:ext uri="{FF2B5EF4-FFF2-40B4-BE49-F238E27FC236}">
                  <a16:creationId xmlns:a16="http://schemas.microsoft.com/office/drawing/2014/main" id="{5548312C-FF09-4B93-B32E-3FE399BC7233}"/>
                </a:ext>
              </a:extLst>
            </p:cNvPr>
            <p:cNvCxnSpPr/>
            <p:nvPr userDrawn="1"/>
          </p:nvCxnSpPr>
          <p:spPr>
            <a:xfrm>
              <a:off x="5901600" y="-264599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Gerader Verbinder 176" hidden="1">
              <a:extLst>
                <a:ext uri="{FF2B5EF4-FFF2-40B4-BE49-F238E27FC236}">
                  <a16:creationId xmlns:a16="http://schemas.microsoft.com/office/drawing/2014/main" id="{B111A49D-5115-44B3-8D86-28B349B8B6D0}"/>
                </a:ext>
              </a:extLst>
            </p:cNvPr>
            <p:cNvCxnSpPr/>
            <p:nvPr userDrawn="1"/>
          </p:nvCxnSpPr>
          <p:spPr>
            <a:xfrm>
              <a:off x="5318401" y="-221399"/>
              <a:ext cx="0" cy="540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Gerader Verbinder 177" hidden="1">
              <a:extLst>
                <a:ext uri="{FF2B5EF4-FFF2-40B4-BE49-F238E27FC236}">
                  <a16:creationId xmlns:a16="http://schemas.microsoft.com/office/drawing/2014/main" id="{B618976C-AB49-4258-90C6-EC0DE84146EB}"/>
                </a:ext>
              </a:extLst>
            </p:cNvPr>
            <p:cNvCxnSpPr/>
            <p:nvPr userDrawn="1"/>
          </p:nvCxnSpPr>
          <p:spPr>
            <a:xfrm>
              <a:off x="5901600" y="-264599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Gerader Verbinder 178" hidden="1">
              <a:extLst>
                <a:ext uri="{FF2B5EF4-FFF2-40B4-BE49-F238E27FC236}">
                  <a16:creationId xmlns:a16="http://schemas.microsoft.com/office/drawing/2014/main" id="{5187CA9E-2E80-4CF2-A164-13C7250B6536}"/>
                </a:ext>
              </a:extLst>
            </p:cNvPr>
            <p:cNvCxnSpPr/>
            <p:nvPr userDrawn="1"/>
          </p:nvCxnSpPr>
          <p:spPr>
            <a:xfrm>
              <a:off x="5901600" y="-264599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Gerader Verbinder 179" hidden="1">
              <a:extLst>
                <a:ext uri="{FF2B5EF4-FFF2-40B4-BE49-F238E27FC236}">
                  <a16:creationId xmlns:a16="http://schemas.microsoft.com/office/drawing/2014/main" id="{DE8CCB6F-FF4E-4B7D-AB5D-D01C08011551}"/>
                </a:ext>
              </a:extLst>
            </p:cNvPr>
            <p:cNvCxnSpPr/>
            <p:nvPr userDrawn="1"/>
          </p:nvCxnSpPr>
          <p:spPr>
            <a:xfrm>
              <a:off x="6290400" y="-264599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1" name="Gerader Verbinder 180" hidden="1">
              <a:extLst>
                <a:ext uri="{FF2B5EF4-FFF2-40B4-BE49-F238E27FC236}">
                  <a16:creationId xmlns:a16="http://schemas.microsoft.com/office/drawing/2014/main" id="{1B5F3707-82A2-43DC-87EB-0C10D9856DAE}"/>
                </a:ext>
              </a:extLst>
            </p:cNvPr>
            <p:cNvCxnSpPr/>
            <p:nvPr userDrawn="1"/>
          </p:nvCxnSpPr>
          <p:spPr>
            <a:xfrm>
              <a:off x="6873600" y="-221399"/>
              <a:ext cx="0" cy="540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2" name="Gerader Verbinder 181" hidden="1">
              <a:extLst>
                <a:ext uri="{FF2B5EF4-FFF2-40B4-BE49-F238E27FC236}">
                  <a16:creationId xmlns:a16="http://schemas.microsoft.com/office/drawing/2014/main" id="{D362C5CA-4586-48B4-9B7F-ED51BAA12B2D}"/>
                </a:ext>
              </a:extLst>
            </p:cNvPr>
            <p:cNvCxnSpPr/>
            <p:nvPr userDrawn="1"/>
          </p:nvCxnSpPr>
          <p:spPr>
            <a:xfrm>
              <a:off x="7845600" y="-264599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3" name="Gerader Verbinder 182" hidden="1">
              <a:extLst>
                <a:ext uri="{FF2B5EF4-FFF2-40B4-BE49-F238E27FC236}">
                  <a16:creationId xmlns:a16="http://schemas.microsoft.com/office/drawing/2014/main" id="{499EF95A-CEBE-4114-AFC7-2C1C51B27680}"/>
                </a:ext>
              </a:extLst>
            </p:cNvPr>
            <p:cNvCxnSpPr/>
            <p:nvPr userDrawn="1"/>
          </p:nvCxnSpPr>
          <p:spPr>
            <a:xfrm>
              <a:off x="7262400" y="-221399"/>
              <a:ext cx="0" cy="540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Gerader Verbinder 183" hidden="1">
              <a:extLst>
                <a:ext uri="{FF2B5EF4-FFF2-40B4-BE49-F238E27FC236}">
                  <a16:creationId xmlns:a16="http://schemas.microsoft.com/office/drawing/2014/main" id="{F7284DE7-CBFA-4980-8F47-4A6CA9BDA2D7}"/>
                </a:ext>
              </a:extLst>
            </p:cNvPr>
            <p:cNvCxnSpPr/>
            <p:nvPr userDrawn="1"/>
          </p:nvCxnSpPr>
          <p:spPr>
            <a:xfrm>
              <a:off x="7845600" y="-264599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Gerader Verbinder 184" hidden="1">
              <a:extLst>
                <a:ext uri="{FF2B5EF4-FFF2-40B4-BE49-F238E27FC236}">
                  <a16:creationId xmlns:a16="http://schemas.microsoft.com/office/drawing/2014/main" id="{1D9528E0-0FB8-47FE-95F0-C7276AED0E2C}"/>
                </a:ext>
              </a:extLst>
            </p:cNvPr>
            <p:cNvCxnSpPr/>
            <p:nvPr userDrawn="1"/>
          </p:nvCxnSpPr>
          <p:spPr>
            <a:xfrm>
              <a:off x="7845600" y="-264599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Gerader Verbinder 185" hidden="1">
              <a:extLst>
                <a:ext uri="{FF2B5EF4-FFF2-40B4-BE49-F238E27FC236}">
                  <a16:creationId xmlns:a16="http://schemas.microsoft.com/office/drawing/2014/main" id="{90C0D9A5-E032-46C2-AB82-7519F3B5AE53}"/>
                </a:ext>
              </a:extLst>
            </p:cNvPr>
            <p:cNvCxnSpPr/>
            <p:nvPr userDrawn="1"/>
          </p:nvCxnSpPr>
          <p:spPr>
            <a:xfrm>
              <a:off x="8234400" y="-264599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7" name="Gerader Verbinder 186" hidden="1">
              <a:extLst>
                <a:ext uri="{FF2B5EF4-FFF2-40B4-BE49-F238E27FC236}">
                  <a16:creationId xmlns:a16="http://schemas.microsoft.com/office/drawing/2014/main" id="{1D04C5D2-4EF4-4CCE-B0BB-6E66D6C1B300}"/>
                </a:ext>
              </a:extLst>
            </p:cNvPr>
            <p:cNvCxnSpPr/>
            <p:nvPr userDrawn="1"/>
          </p:nvCxnSpPr>
          <p:spPr>
            <a:xfrm>
              <a:off x="8817600" y="-221399"/>
              <a:ext cx="0" cy="540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8" name="Gerader Verbinder 187" hidden="1">
              <a:extLst>
                <a:ext uri="{FF2B5EF4-FFF2-40B4-BE49-F238E27FC236}">
                  <a16:creationId xmlns:a16="http://schemas.microsoft.com/office/drawing/2014/main" id="{98457F24-3621-47D0-A69B-A682B29423BF}"/>
                </a:ext>
              </a:extLst>
            </p:cNvPr>
            <p:cNvCxnSpPr/>
            <p:nvPr userDrawn="1"/>
          </p:nvCxnSpPr>
          <p:spPr>
            <a:xfrm>
              <a:off x="9789600" y="-264599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9" name="Gerader Verbinder 188" hidden="1">
              <a:extLst>
                <a:ext uri="{FF2B5EF4-FFF2-40B4-BE49-F238E27FC236}">
                  <a16:creationId xmlns:a16="http://schemas.microsoft.com/office/drawing/2014/main" id="{C00D2193-F4E5-4C8F-9AE8-E6AD4CC85ECE}"/>
                </a:ext>
              </a:extLst>
            </p:cNvPr>
            <p:cNvCxnSpPr/>
            <p:nvPr userDrawn="1"/>
          </p:nvCxnSpPr>
          <p:spPr>
            <a:xfrm>
              <a:off x="9206400" y="-221399"/>
              <a:ext cx="0" cy="540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0" name="Gerader Verbinder 189" hidden="1">
              <a:extLst>
                <a:ext uri="{FF2B5EF4-FFF2-40B4-BE49-F238E27FC236}">
                  <a16:creationId xmlns:a16="http://schemas.microsoft.com/office/drawing/2014/main" id="{5FFB0FAB-D14D-4AD2-B032-3E709344D13C}"/>
                </a:ext>
              </a:extLst>
            </p:cNvPr>
            <p:cNvCxnSpPr/>
            <p:nvPr userDrawn="1"/>
          </p:nvCxnSpPr>
          <p:spPr>
            <a:xfrm>
              <a:off x="9789600" y="-264599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1" name="Gerader Verbinder 190" hidden="1">
              <a:extLst>
                <a:ext uri="{FF2B5EF4-FFF2-40B4-BE49-F238E27FC236}">
                  <a16:creationId xmlns:a16="http://schemas.microsoft.com/office/drawing/2014/main" id="{FE89AC90-A430-43C3-BB56-DD93EB13C62E}"/>
                </a:ext>
              </a:extLst>
            </p:cNvPr>
            <p:cNvCxnSpPr/>
            <p:nvPr userDrawn="1"/>
          </p:nvCxnSpPr>
          <p:spPr>
            <a:xfrm>
              <a:off x="9789600" y="-264599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2" name="Gerader Verbinder 191" hidden="1">
              <a:extLst>
                <a:ext uri="{FF2B5EF4-FFF2-40B4-BE49-F238E27FC236}">
                  <a16:creationId xmlns:a16="http://schemas.microsoft.com/office/drawing/2014/main" id="{B48E20DE-32AA-4705-A4EB-0BBB75A20FEE}"/>
                </a:ext>
              </a:extLst>
            </p:cNvPr>
            <p:cNvCxnSpPr/>
            <p:nvPr userDrawn="1"/>
          </p:nvCxnSpPr>
          <p:spPr>
            <a:xfrm>
              <a:off x="10178400" y="-264599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Gerader Verbinder 192" hidden="1">
              <a:extLst>
                <a:ext uri="{FF2B5EF4-FFF2-40B4-BE49-F238E27FC236}">
                  <a16:creationId xmlns:a16="http://schemas.microsoft.com/office/drawing/2014/main" id="{6713BEE0-FB92-4EA1-9C2E-EE88FE407772}"/>
                </a:ext>
              </a:extLst>
            </p:cNvPr>
            <p:cNvCxnSpPr/>
            <p:nvPr userDrawn="1"/>
          </p:nvCxnSpPr>
          <p:spPr>
            <a:xfrm>
              <a:off x="10761600" y="-221399"/>
              <a:ext cx="0" cy="540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4" name="Gerader Verbinder 193" hidden="1">
              <a:extLst>
                <a:ext uri="{FF2B5EF4-FFF2-40B4-BE49-F238E27FC236}">
                  <a16:creationId xmlns:a16="http://schemas.microsoft.com/office/drawing/2014/main" id="{FCA209B8-D4D2-4475-9078-8742A39A8F9D}"/>
                </a:ext>
              </a:extLst>
            </p:cNvPr>
            <p:cNvCxnSpPr/>
            <p:nvPr userDrawn="1"/>
          </p:nvCxnSpPr>
          <p:spPr>
            <a:xfrm>
              <a:off x="11733600" y="-264599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Gerader Verbinder 194" hidden="1">
              <a:extLst>
                <a:ext uri="{FF2B5EF4-FFF2-40B4-BE49-F238E27FC236}">
                  <a16:creationId xmlns:a16="http://schemas.microsoft.com/office/drawing/2014/main" id="{3199AB2C-8244-46B3-A8B2-0511685143AC}"/>
                </a:ext>
              </a:extLst>
            </p:cNvPr>
            <p:cNvCxnSpPr/>
            <p:nvPr userDrawn="1"/>
          </p:nvCxnSpPr>
          <p:spPr>
            <a:xfrm>
              <a:off x="11150400" y="-221399"/>
              <a:ext cx="0" cy="540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6" name="Gerader Verbinder 195" hidden="1">
              <a:extLst>
                <a:ext uri="{FF2B5EF4-FFF2-40B4-BE49-F238E27FC236}">
                  <a16:creationId xmlns:a16="http://schemas.microsoft.com/office/drawing/2014/main" id="{CADE5581-9D53-44DD-9DD4-1C6C6734FA5A}"/>
                </a:ext>
              </a:extLst>
            </p:cNvPr>
            <p:cNvCxnSpPr/>
            <p:nvPr userDrawn="1"/>
          </p:nvCxnSpPr>
          <p:spPr>
            <a:xfrm>
              <a:off x="11733600" y="-264599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7" name="Gerader Verbinder 196" hidden="1">
              <a:extLst>
                <a:ext uri="{FF2B5EF4-FFF2-40B4-BE49-F238E27FC236}">
                  <a16:creationId xmlns:a16="http://schemas.microsoft.com/office/drawing/2014/main" id="{D54AE410-45D2-4DBC-AD51-05B36DA31CB4}"/>
                </a:ext>
              </a:extLst>
            </p:cNvPr>
            <p:cNvCxnSpPr/>
            <p:nvPr userDrawn="1"/>
          </p:nvCxnSpPr>
          <p:spPr>
            <a:xfrm>
              <a:off x="11733600" y="-264599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Gerader Verbinder 197" hidden="1">
              <a:extLst>
                <a:ext uri="{FF2B5EF4-FFF2-40B4-BE49-F238E27FC236}">
                  <a16:creationId xmlns:a16="http://schemas.microsoft.com/office/drawing/2014/main" id="{2D994C4A-13EF-4F97-AC98-A7BAE847A2C7}"/>
                </a:ext>
              </a:extLst>
            </p:cNvPr>
            <p:cNvCxnSpPr/>
            <p:nvPr userDrawn="1"/>
          </p:nvCxnSpPr>
          <p:spPr>
            <a:xfrm>
              <a:off x="1236001" y="-192599"/>
              <a:ext cx="0" cy="25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Gerader Verbinder 198" hidden="1">
              <a:extLst>
                <a:ext uri="{FF2B5EF4-FFF2-40B4-BE49-F238E27FC236}">
                  <a16:creationId xmlns:a16="http://schemas.microsoft.com/office/drawing/2014/main" id="{20348D31-8C8C-4339-845E-14A05F97B186}"/>
                </a:ext>
              </a:extLst>
            </p:cNvPr>
            <p:cNvCxnSpPr/>
            <p:nvPr userDrawn="1"/>
          </p:nvCxnSpPr>
          <p:spPr>
            <a:xfrm>
              <a:off x="3180001" y="-192599"/>
              <a:ext cx="0" cy="25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Gerader Verbinder 199" hidden="1">
              <a:extLst>
                <a:ext uri="{FF2B5EF4-FFF2-40B4-BE49-F238E27FC236}">
                  <a16:creationId xmlns:a16="http://schemas.microsoft.com/office/drawing/2014/main" id="{0B61F66C-390E-42C3-A174-AC617C867C5D}"/>
                </a:ext>
              </a:extLst>
            </p:cNvPr>
            <p:cNvCxnSpPr/>
            <p:nvPr userDrawn="1"/>
          </p:nvCxnSpPr>
          <p:spPr>
            <a:xfrm>
              <a:off x="5124001" y="-192599"/>
              <a:ext cx="0" cy="25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" name="Gerader Verbinder 200" hidden="1">
              <a:extLst>
                <a:ext uri="{FF2B5EF4-FFF2-40B4-BE49-F238E27FC236}">
                  <a16:creationId xmlns:a16="http://schemas.microsoft.com/office/drawing/2014/main" id="{E8624E6D-34F1-4B94-BD90-370C4BCEE387}"/>
                </a:ext>
              </a:extLst>
            </p:cNvPr>
            <p:cNvCxnSpPr/>
            <p:nvPr userDrawn="1"/>
          </p:nvCxnSpPr>
          <p:spPr>
            <a:xfrm>
              <a:off x="7068000" y="-192599"/>
              <a:ext cx="0" cy="25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2" name="Gerader Verbinder 201" hidden="1">
              <a:extLst>
                <a:ext uri="{FF2B5EF4-FFF2-40B4-BE49-F238E27FC236}">
                  <a16:creationId xmlns:a16="http://schemas.microsoft.com/office/drawing/2014/main" id="{FC137449-AC46-4A13-A65D-8626AEA2DB8C}"/>
                </a:ext>
              </a:extLst>
            </p:cNvPr>
            <p:cNvCxnSpPr/>
            <p:nvPr userDrawn="1"/>
          </p:nvCxnSpPr>
          <p:spPr>
            <a:xfrm>
              <a:off x="9012000" y="-192599"/>
              <a:ext cx="0" cy="25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3" name="Gerader Verbinder 202" hidden="1">
              <a:extLst>
                <a:ext uri="{FF2B5EF4-FFF2-40B4-BE49-F238E27FC236}">
                  <a16:creationId xmlns:a16="http://schemas.microsoft.com/office/drawing/2014/main" id="{F073F532-5D93-4966-A279-E3EE83DD8E43}"/>
                </a:ext>
              </a:extLst>
            </p:cNvPr>
            <p:cNvCxnSpPr/>
            <p:nvPr userDrawn="1"/>
          </p:nvCxnSpPr>
          <p:spPr>
            <a:xfrm>
              <a:off x="10956000" y="-192599"/>
              <a:ext cx="0" cy="25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4" name="Gerader Verbinder 203" hidden="1">
              <a:extLst>
                <a:ext uri="{FF2B5EF4-FFF2-40B4-BE49-F238E27FC236}">
                  <a16:creationId xmlns:a16="http://schemas.microsoft.com/office/drawing/2014/main" id="{0370F5B8-950E-47DD-866D-FEB2E4D7CE39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319199" y="318601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5" name="Gerader Verbinder 204" hidden="1">
              <a:extLst>
                <a:ext uri="{FF2B5EF4-FFF2-40B4-BE49-F238E27FC236}">
                  <a16:creationId xmlns:a16="http://schemas.microsoft.com/office/drawing/2014/main" id="{CA2326D1-1B6E-47EF-97D8-E7EBE846498E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319199" y="901801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6" name="Gerader Verbinder 205" hidden="1">
              <a:extLst>
                <a:ext uri="{FF2B5EF4-FFF2-40B4-BE49-F238E27FC236}">
                  <a16:creationId xmlns:a16="http://schemas.microsoft.com/office/drawing/2014/main" id="{A02A5536-5811-4268-9DC2-CCD8B3C28DC6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319199" y="1387801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Gerader Verbinder 206" hidden="1">
              <a:extLst>
                <a:ext uri="{FF2B5EF4-FFF2-40B4-BE49-F238E27FC236}">
                  <a16:creationId xmlns:a16="http://schemas.microsoft.com/office/drawing/2014/main" id="{609E10FA-8C9B-47C8-8DE8-DB3B7050525F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513599" y="1387801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Gerader Verbinder 207" hidden="1">
              <a:extLst>
                <a:ext uri="{FF2B5EF4-FFF2-40B4-BE49-F238E27FC236}">
                  <a16:creationId xmlns:a16="http://schemas.microsoft.com/office/drawing/2014/main" id="{091C513C-BED4-4E7D-BFC3-9EEF1DCF093C}"/>
                </a:ext>
              </a:extLst>
            </p:cNvPr>
            <p:cNvCxnSpPr/>
            <p:nvPr userDrawn="1"/>
          </p:nvCxnSpPr>
          <p:spPr>
            <a:xfrm>
              <a:off x="-275999" y="1971001"/>
              <a:ext cx="540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Gerader Verbinder 208" hidden="1">
              <a:extLst>
                <a:ext uri="{FF2B5EF4-FFF2-40B4-BE49-F238E27FC236}">
                  <a16:creationId xmlns:a16="http://schemas.microsoft.com/office/drawing/2014/main" id="{718DD067-6D4D-4F12-9B96-59EA3A3B8583}"/>
                </a:ext>
              </a:extLst>
            </p:cNvPr>
            <p:cNvCxnSpPr/>
            <p:nvPr userDrawn="1"/>
          </p:nvCxnSpPr>
          <p:spPr>
            <a:xfrm>
              <a:off x="-275999" y="2359801"/>
              <a:ext cx="540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Gerader Verbinder 209" hidden="1">
              <a:extLst>
                <a:ext uri="{FF2B5EF4-FFF2-40B4-BE49-F238E27FC236}">
                  <a16:creationId xmlns:a16="http://schemas.microsoft.com/office/drawing/2014/main" id="{7EBF0016-2888-4D47-A0F7-0CA6CB724B77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319199" y="2943001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Gerader Verbinder 210" hidden="1">
              <a:extLst>
                <a:ext uri="{FF2B5EF4-FFF2-40B4-BE49-F238E27FC236}">
                  <a16:creationId xmlns:a16="http://schemas.microsoft.com/office/drawing/2014/main" id="{A62A6540-DE9B-4577-8388-38EB85E43AA0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319199" y="3331801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Gerader Verbinder 211" hidden="1">
              <a:extLst>
                <a:ext uri="{FF2B5EF4-FFF2-40B4-BE49-F238E27FC236}">
                  <a16:creationId xmlns:a16="http://schemas.microsoft.com/office/drawing/2014/main" id="{E789BE1A-34B3-4B25-898D-39C58778FBE5}"/>
                </a:ext>
              </a:extLst>
            </p:cNvPr>
            <p:cNvCxnSpPr/>
            <p:nvPr userDrawn="1"/>
          </p:nvCxnSpPr>
          <p:spPr>
            <a:xfrm>
              <a:off x="-275999" y="3915001"/>
              <a:ext cx="540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Gerader Verbinder 212" hidden="1">
              <a:extLst>
                <a:ext uri="{FF2B5EF4-FFF2-40B4-BE49-F238E27FC236}">
                  <a16:creationId xmlns:a16="http://schemas.microsoft.com/office/drawing/2014/main" id="{D5390D5A-AC4B-4690-BFA5-71DF6BF85C1E}"/>
                </a:ext>
              </a:extLst>
            </p:cNvPr>
            <p:cNvCxnSpPr/>
            <p:nvPr userDrawn="1"/>
          </p:nvCxnSpPr>
          <p:spPr>
            <a:xfrm>
              <a:off x="-275999" y="4303801"/>
              <a:ext cx="540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Gerader Verbinder 213" hidden="1">
              <a:extLst>
                <a:ext uri="{FF2B5EF4-FFF2-40B4-BE49-F238E27FC236}">
                  <a16:creationId xmlns:a16="http://schemas.microsoft.com/office/drawing/2014/main" id="{3ABD3FE9-6838-4B04-8915-86A6E9EECBFE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319199" y="4887001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5" name="Gerader Verbinder 214" hidden="1">
              <a:extLst>
                <a:ext uri="{FF2B5EF4-FFF2-40B4-BE49-F238E27FC236}">
                  <a16:creationId xmlns:a16="http://schemas.microsoft.com/office/drawing/2014/main" id="{22A32F67-D0B1-430C-8587-0283C50CAFA0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319199" y="5275801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Gerader Verbinder 215" hidden="1">
              <a:extLst>
                <a:ext uri="{FF2B5EF4-FFF2-40B4-BE49-F238E27FC236}">
                  <a16:creationId xmlns:a16="http://schemas.microsoft.com/office/drawing/2014/main" id="{8F351BDF-12EA-41DB-8379-6C36D42DEF91}"/>
                </a:ext>
              </a:extLst>
            </p:cNvPr>
            <p:cNvCxnSpPr/>
            <p:nvPr userDrawn="1"/>
          </p:nvCxnSpPr>
          <p:spPr>
            <a:xfrm>
              <a:off x="-275999" y="5859001"/>
              <a:ext cx="540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Gerader Verbinder 216" hidden="1">
              <a:extLst>
                <a:ext uri="{FF2B5EF4-FFF2-40B4-BE49-F238E27FC236}">
                  <a16:creationId xmlns:a16="http://schemas.microsoft.com/office/drawing/2014/main" id="{2CCBA1D8-4C7D-430C-810B-F9DAC99F3BCF}"/>
                </a:ext>
              </a:extLst>
            </p:cNvPr>
            <p:cNvCxnSpPr/>
            <p:nvPr userDrawn="1"/>
          </p:nvCxnSpPr>
          <p:spPr>
            <a:xfrm>
              <a:off x="-275999" y="6247801"/>
              <a:ext cx="540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Gerader Verbinder 217" hidden="1">
              <a:extLst>
                <a:ext uri="{FF2B5EF4-FFF2-40B4-BE49-F238E27FC236}">
                  <a16:creationId xmlns:a16="http://schemas.microsoft.com/office/drawing/2014/main" id="{641EA8D2-6953-48C6-B258-649D3B3FCC5A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319199" y="6831001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9" name="Gerader Verbinder 218" hidden="1">
              <a:extLst>
                <a:ext uri="{FF2B5EF4-FFF2-40B4-BE49-F238E27FC236}">
                  <a16:creationId xmlns:a16="http://schemas.microsoft.com/office/drawing/2014/main" id="{FE51091D-0978-45A2-8B29-7B11D4602BA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247199" y="2165401"/>
              <a:ext cx="25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0" name="Gerader Verbinder 219" hidden="1">
              <a:extLst>
                <a:ext uri="{FF2B5EF4-FFF2-40B4-BE49-F238E27FC236}">
                  <a16:creationId xmlns:a16="http://schemas.microsoft.com/office/drawing/2014/main" id="{2B5D0251-B516-4431-8F31-40FA93A333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247199" y="4109401"/>
              <a:ext cx="25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1" name="Gerader Verbinder 220" hidden="1">
              <a:extLst>
                <a:ext uri="{FF2B5EF4-FFF2-40B4-BE49-F238E27FC236}">
                  <a16:creationId xmlns:a16="http://schemas.microsoft.com/office/drawing/2014/main" id="{10F68145-40EF-4477-A9B8-BCFBB69822A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247199" y="6053401"/>
              <a:ext cx="25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2" name="Gerader Verbinder 221" hidden="1">
              <a:extLst>
                <a:ext uri="{FF2B5EF4-FFF2-40B4-BE49-F238E27FC236}">
                  <a16:creationId xmlns:a16="http://schemas.microsoft.com/office/drawing/2014/main" id="{6A119157-78A0-4DD2-BA5D-466645F72E7C}"/>
                </a:ext>
              </a:extLst>
            </p:cNvPr>
            <p:cNvCxnSpPr/>
            <p:nvPr userDrawn="1"/>
          </p:nvCxnSpPr>
          <p:spPr>
            <a:xfrm>
              <a:off x="-275999" y="6442200"/>
              <a:ext cx="540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3" name="Gerader Verbinder 222" hidden="1">
              <a:extLst>
                <a:ext uri="{FF2B5EF4-FFF2-40B4-BE49-F238E27FC236}">
                  <a16:creationId xmlns:a16="http://schemas.microsoft.com/office/drawing/2014/main" id="{5DA00372-A728-4F01-AA19-0C7297019D30}"/>
                </a:ext>
              </a:extLst>
            </p:cNvPr>
            <p:cNvCxnSpPr/>
            <p:nvPr userDrawn="1"/>
          </p:nvCxnSpPr>
          <p:spPr>
            <a:xfrm>
              <a:off x="-247199" y="6733801"/>
              <a:ext cx="25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4" name="Gerader Verbinder 223" hidden="1">
              <a:extLst>
                <a:ext uri="{FF2B5EF4-FFF2-40B4-BE49-F238E27FC236}">
                  <a16:creationId xmlns:a16="http://schemas.microsoft.com/office/drawing/2014/main" id="{206ABB9D-4CE1-4EEC-B494-D61BF722DFE8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513599" y="4109401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5" name="Gerader Verbinder 224" hidden="1">
              <a:extLst>
                <a:ext uri="{FF2B5EF4-FFF2-40B4-BE49-F238E27FC236}">
                  <a16:creationId xmlns:a16="http://schemas.microsoft.com/office/drawing/2014/main" id="{098F197A-A85D-4155-B390-D93D2DDC433C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513599" y="6831001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6" name="Gerader Verbinder 225" hidden="1">
              <a:extLst>
                <a:ext uri="{FF2B5EF4-FFF2-40B4-BE49-F238E27FC236}">
                  <a16:creationId xmlns:a16="http://schemas.microsoft.com/office/drawing/2014/main" id="{1A34EC06-B4FC-4057-88E6-61FC9FC5F688}"/>
                </a:ext>
              </a:extLst>
            </p:cNvPr>
            <p:cNvCxnSpPr/>
            <p:nvPr userDrawn="1"/>
          </p:nvCxnSpPr>
          <p:spPr>
            <a:xfrm>
              <a:off x="458401" y="7025401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7" name="Gerader Verbinder 226" hidden="1">
              <a:extLst>
                <a:ext uri="{FF2B5EF4-FFF2-40B4-BE49-F238E27FC236}">
                  <a16:creationId xmlns:a16="http://schemas.microsoft.com/office/drawing/2014/main" id="{57A91372-B8CF-4DF7-AF20-4E4128C83A9D}"/>
                </a:ext>
              </a:extLst>
            </p:cNvPr>
            <p:cNvCxnSpPr/>
            <p:nvPr userDrawn="1"/>
          </p:nvCxnSpPr>
          <p:spPr>
            <a:xfrm>
              <a:off x="2791201" y="7025401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8" name="Gerader Verbinder 227" hidden="1">
              <a:extLst>
                <a:ext uri="{FF2B5EF4-FFF2-40B4-BE49-F238E27FC236}">
                  <a16:creationId xmlns:a16="http://schemas.microsoft.com/office/drawing/2014/main" id="{079730F2-B7CD-4706-ADBB-54CA70A4DC64}"/>
                </a:ext>
              </a:extLst>
            </p:cNvPr>
            <p:cNvCxnSpPr/>
            <p:nvPr userDrawn="1"/>
          </p:nvCxnSpPr>
          <p:spPr>
            <a:xfrm>
              <a:off x="5124001" y="7025401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9" name="Gerader Verbinder 228" hidden="1">
              <a:extLst>
                <a:ext uri="{FF2B5EF4-FFF2-40B4-BE49-F238E27FC236}">
                  <a16:creationId xmlns:a16="http://schemas.microsoft.com/office/drawing/2014/main" id="{13D76BF3-998F-4051-A925-4240DEE803D0}"/>
                </a:ext>
              </a:extLst>
            </p:cNvPr>
            <p:cNvCxnSpPr/>
            <p:nvPr userDrawn="1"/>
          </p:nvCxnSpPr>
          <p:spPr>
            <a:xfrm>
              <a:off x="7456800" y="7025401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Gerader Verbinder 229" hidden="1">
              <a:extLst>
                <a:ext uri="{FF2B5EF4-FFF2-40B4-BE49-F238E27FC236}">
                  <a16:creationId xmlns:a16="http://schemas.microsoft.com/office/drawing/2014/main" id="{CE1C37E8-8A1D-4910-92F3-1D6987E8E689}"/>
                </a:ext>
              </a:extLst>
            </p:cNvPr>
            <p:cNvCxnSpPr/>
            <p:nvPr userDrawn="1"/>
          </p:nvCxnSpPr>
          <p:spPr>
            <a:xfrm>
              <a:off x="9789600" y="7025401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1" name="Gerader Verbinder 230" hidden="1">
              <a:extLst>
                <a:ext uri="{FF2B5EF4-FFF2-40B4-BE49-F238E27FC236}">
                  <a16:creationId xmlns:a16="http://schemas.microsoft.com/office/drawing/2014/main" id="{4FE32AA2-1987-49A5-A92D-A07051D43982}"/>
                </a:ext>
              </a:extLst>
            </p:cNvPr>
            <p:cNvCxnSpPr/>
            <p:nvPr userDrawn="1"/>
          </p:nvCxnSpPr>
          <p:spPr>
            <a:xfrm>
              <a:off x="11733600" y="7025401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2" name="Gerader Verbinder 231" hidden="1">
              <a:extLst>
                <a:ext uri="{FF2B5EF4-FFF2-40B4-BE49-F238E27FC236}">
                  <a16:creationId xmlns:a16="http://schemas.microsoft.com/office/drawing/2014/main" id="{F8D51324-936A-41A3-9E3B-410300CA29B0}"/>
                </a:ext>
              </a:extLst>
            </p:cNvPr>
            <p:cNvCxnSpPr/>
            <p:nvPr userDrawn="1"/>
          </p:nvCxnSpPr>
          <p:spPr>
            <a:xfrm>
              <a:off x="9400800" y="7025401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3" name="Gerader Verbinder 232" hidden="1">
              <a:extLst>
                <a:ext uri="{FF2B5EF4-FFF2-40B4-BE49-F238E27FC236}">
                  <a16:creationId xmlns:a16="http://schemas.microsoft.com/office/drawing/2014/main" id="{562D6437-0DCD-4B1F-A0BB-28C4C3A81076}"/>
                </a:ext>
              </a:extLst>
            </p:cNvPr>
            <p:cNvCxnSpPr/>
            <p:nvPr userDrawn="1"/>
          </p:nvCxnSpPr>
          <p:spPr>
            <a:xfrm>
              <a:off x="7068000" y="7025401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4" name="Gerader Verbinder 233" hidden="1">
              <a:extLst>
                <a:ext uri="{FF2B5EF4-FFF2-40B4-BE49-F238E27FC236}">
                  <a16:creationId xmlns:a16="http://schemas.microsoft.com/office/drawing/2014/main" id="{924C55E9-58FA-4729-B9BB-4A24BB2C1DD8}"/>
                </a:ext>
              </a:extLst>
            </p:cNvPr>
            <p:cNvCxnSpPr/>
            <p:nvPr userDrawn="1"/>
          </p:nvCxnSpPr>
          <p:spPr>
            <a:xfrm>
              <a:off x="4735201" y="7025401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5" name="Gerader Verbinder 234" hidden="1">
              <a:extLst>
                <a:ext uri="{FF2B5EF4-FFF2-40B4-BE49-F238E27FC236}">
                  <a16:creationId xmlns:a16="http://schemas.microsoft.com/office/drawing/2014/main" id="{A55BED26-F2F8-4A22-8BB7-DBE68DB55ED0}"/>
                </a:ext>
              </a:extLst>
            </p:cNvPr>
            <p:cNvCxnSpPr/>
            <p:nvPr userDrawn="1"/>
          </p:nvCxnSpPr>
          <p:spPr>
            <a:xfrm>
              <a:off x="2402401" y="7025401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6" name="Gerader Verbinder 235" hidden="1">
              <a:extLst>
                <a:ext uri="{FF2B5EF4-FFF2-40B4-BE49-F238E27FC236}">
                  <a16:creationId xmlns:a16="http://schemas.microsoft.com/office/drawing/2014/main" id="{39677643-CFFC-4C13-AFF4-5CDDB38A3C27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319199" y="6636601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9" name="Masterfeld_Hilfslinien DE" hidden="1">
            <a:extLst>
              <a:ext uri="{FF2B5EF4-FFF2-40B4-BE49-F238E27FC236}">
                <a16:creationId xmlns:a16="http://schemas.microsoft.com/office/drawing/2014/main" id="{307D8EA7-115C-4D1C-BBF7-B84BA8EC39E9}"/>
              </a:ext>
            </a:extLst>
          </p:cNvPr>
          <p:cNvGrpSpPr/>
          <p:nvPr>
            <p:custDataLst>
              <p:tags r:id="rId32"/>
            </p:custDataLst>
          </p:nvPr>
        </p:nvGrpSpPr>
        <p:grpSpPr>
          <a:xfrm>
            <a:off x="69600" y="124200"/>
            <a:ext cx="12052800" cy="6636600"/>
            <a:chOff x="69600" y="124200"/>
            <a:chExt cx="12052800" cy="6636600"/>
          </a:xfrm>
        </p:grpSpPr>
        <p:cxnSp>
          <p:nvCxnSpPr>
            <p:cNvPr id="239" name="Gerader Verbinder 238" hidden="1">
              <a:extLst>
                <a:ext uri="{FF2B5EF4-FFF2-40B4-BE49-F238E27FC236}">
                  <a16:creationId xmlns:a16="http://schemas.microsoft.com/office/drawing/2014/main" id="{46047118-8893-44A8-AC01-179E979A6D8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58400" y="124200"/>
              <a:ext cx="0" cy="663660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0" name="Gerader Verbinder 239" hidden="1">
              <a:extLst>
                <a:ext uri="{FF2B5EF4-FFF2-40B4-BE49-F238E27FC236}">
                  <a16:creationId xmlns:a16="http://schemas.microsoft.com/office/drawing/2014/main" id="{5992CC89-1A21-4D68-9793-A5E4D91D71C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402400" y="124200"/>
              <a:ext cx="0" cy="663660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1" name="Gerader Verbinder 240" hidden="1">
              <a:extLst>
                <a:ext uri="{FF2B5EF4-FFF2-40B4-BE49-F238E27FC236}">
                  <a16:creationId xmlns:a16="http://schemas.microsoft.com/office/drawing/2014/main" id="{B91F3492-52EC-4A51-A7A9-797498E0711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46400" y="124200"/>
              <a:ext cx="0" cy="663660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2" name="Gerader Verbinder 241" hidden="1">
              <a:extLst>
                <a:ext uri="{FF2B5EF4-FFF2-40B4-BE49-F238E27FC236}">
                  <a16:creationId xmlns:a16="http://schemas.microsoft.com/office/drawing/2014/main" id="{76182B68-AE2B-42AB-A692-62E7279AD08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290400" y="124200"/>
              <a:ext cx="0" cy="663660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3" name="Gerader Verbinder 242" hidden="1">
              <a:extLst>
                <a:ext uri="{FF2B5EF4-FFF2-40B4-BE49-F238E27FC236}">
                  <a16:creationId xmlns:a16="http://schemas.microsoft.com/office/drawing/2014/main" id="{8EB5A0F3-7B2F-4E49-88DE-73A2989CB31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234400" y="124200"/>
              <a:ext cx="0" cy="663660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4" name="Gerader Verbinder 243" hidden="1">
              <a:extLst>
                <a:ext uri="{FF2B5EF4-FFF2-40B4-BE49-F238E27FC236}">
                  <a16:creationId xmlns:a16="http://schemas.microsoft.com/office/drawing/2014/main" id="{A0180DC6-8D0A-4D5A-9264-F4436BFF7DD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178400" y="124200"/>
              <a:ext cx="0" cy="663660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5" name="Gerader Verbinder 244" hidden="1">
              <a:extLst>
                <a:ext uri="{FF2B5EF4-FFF2-40B4-BE49-F238E27FC236}">
                  <a16:creationId xmlns:a16="http://schemas.microsoft.com/office/drawing/2014/main" id="{5A55946F-31E6-4043-B827-C77B82DEEF1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733600" y="124200"/>
              <a:ext cx="0" cy="663660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6" name="Gerader Verbinder 245" hidden="1">
              <a:extLst>
                <a:ext uri="{FF2B5EF4-FFF2-40B4-BE49-F238E27FC236}">
                  <a16:creationId xmlns:a16="http://schemas.microsoft.com/office/drawing/2014/main" id="{AD621232-EFB4-4733-A60F-5934D2D7A5B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789600" y="124200"/>
              <a:ext cx="0" cy="663660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7" name="Gerader Verbinder 246" hidden="1">
              <a:extLst>
                <a:ext uri="{FF2B5EF4-FFF2-40B4-BE49-F238E27FC236}">
                  <a16:creationId xmlns:a16="http://schemas.microsoft.com/office/drawing/2014/main" id="{8C71F772-78C6-4417-B287-C2FCA591AD0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845600" y="124200"/>
              <a:ext cx="0" cy="663660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8" name="Gerader Verbinder 247" hidden="1">
              <a:extLst>
                <a:ext uri="{FF2B5EF4-FFF2-40B4-BE49-F238E27FC236}">
                  <a16:creationId xmlns:a16="http://schemas.microsoft.com/office/drawing/2014/main" id="{DDF8009F-7AD8-475F-9822-A452261735F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901600" y="124200"/>
              <a:ext cx="0" cy="663660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9" name="Gerader Verbinder 248" hidden="1">
              <a:extLst>
                <a:ext uri="{FF2B5EF4-FFF2-40B4-BE49-F238E27FC236}">
                  <a16:creationId xmlns:a16="http://schemas.microsoft.com/office/drawing/2014/main" id="{76E180EE-A04A-4C64-85DA-1CBE16A1790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957600" y="124200"/>
              <a:ext cx="0" cy="663660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0" name="Gerader Verbinder 249" hidden="1">
              <a:extLst>
                <a:ext uri="{FF2B5EF4-FFF2-40B4-BE49-F238E27FC236}">
                  <a16:creationId xmlns:a16="http://schemas.microsoft.com/office/drawing/2014/main" id="{9B7187F6-B2BE-4412-9BED-06CDDD5F532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013600" y="124200"/>
              <a:ext cx="0" cy="663660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1" name="Gerader Verbinder 250" hidden="1">
              <a:extLst>
                <a:ext uri="{FF2B5EF4-FFF2-40B4-BE49-F238E27FC236}">
                  <a16:creationId xmlns:a16="http://schemas.microsoft.com/office/drawing/2014/main" id="{FC6F24F3-59D5-4D99-82EA-0BC7EA93B78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9600" y="318600"/>
              <a:ext cx="12052800" cy="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2" name="Gerader Verbinder 251" hidden="1">
              <a:extLst>
                <a:ext uri="{FF2B5EF4-FFF2-40B4-BE49-F238E27FC236}">
                  <a16:creationId xmlns:a16="http://schemas.microsoft.com/office/drawing/2014/main" id="{528B5283-BD87-4265-93A8-513BAEB5DE1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9600" y="901800"/>
              <a:ext cx="12052800" cy="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3" name="Gerader Verbinder 252" hidden="1">
              <a:extLst>
                <a:ext uri="{FF2B5EF4-FFF2-40B4-BE49-F238E27FC236}">
                  <a16:creationId xmlns:a16="http://schemas.microsoft.com/office/drawing/2014/main" id="{3840FF58-1CB7-4B9F-9D37-66336039EA6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4" name="Gerader Verbinder 253" hidden="1">
              <a:extLst>
                <a:ext uri="{FF2B5EF4-FFF2-40B4-BE49-F238E27FC236}">
                  <a16:creationId xmlns:a16="http://schemas.microsoft.com/office/drawing/2014/main" id="{C8C44AF8-ADE8-480B-93F2-17A674BB3C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9600" y="2943000"/>
              <a:ext cx="12052800" cy="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7" name="Gerader Verbinder 256" hidden="1">
              <a:extLst>
                <a:ext uri="{FF2B5EF4-FFF2-40B4-BE49-F238E27FC236}">
                  <a16:creationId xmlns:a16="http://schemas.microsoft.com/office/drawing/2014/main" id="{9B1CE800-8D7A-483D-867E-7ABFD916E66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8" name="Gerader Verbinder 257" hidden="1">
              <a:extLst>
                <a:ext uri="{FF2B5EF4-FFF2-40B4-BE49-F238E27FC236}">
                  <a16:creationId xmlns:a16="http://schemas.microsoft.com/office/drawing/2014/main" id="{93D7C9FE-1F74-4C1E-B7A6-798ADA7BF63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9600" y="6442200"/>
              <a:ext cx="12052800" cy="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8" name="Gerader Verbinder 267" hidden="1">
              <a:extLst>
                <a:ext uri="{FF2B5EF4-FFF2-40B4-BE49-F238E27FC236}">
                  <a16:creationId xmlns:a16="http://schemas.microsoft.com/office/drawing/2014/main" id="{AAAE296B-FE46-4D02-869E-874E7052007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6" name="Gerader Verbinder 335" hidden="1">
              <a:extLst>
                <a:ext uri="{FF2B5EF4-FFF2-40B4-BE49-F238E27FC236}">
                  <a16:creationId xmlns:a16="http://schemas.microsoft.com/office/drawing/2014/main" id="{CED59C13-87D3-428A-A942-8D7FB41C9C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9600" y="4887000"/>
              <a:ext cx="12052800" cy="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3" name="Masterfeld_Hilfsmarkierungen DE" hidden="1">
            <a:extLst>
              <a:ext uri="{FF2B5EF4-FFF2-40B4-BE49-F238E27FC236}">
                <a16:creationId xmlns:a16="http://schemas.microsoft.com/office/drawing/2014/main" id="{846349B0-22AB-4F08-8B32-50C2B4967827}"/>
              </a:ext>
            </a:extLst>
          </p:cNvPr>
          <p:cNvGrpSpPr/>
          <p:nvPr>
            <p:custDataLst>
              <p:tags r:id="rId33"/>
            </p:custDataLst>
          </p:nvPr>
        </p:nvGrpSpPr>
        <p:grpSpPr>
          <a:xfrm>
            <a:off x="-513600" y="-264600"/>
            <a:ext cx="12927600" cy="7387200"/>
            <a:chOff x="-513600" y="-264600"/>
            <a:chExt cx="12927600" cy="7387200"/>
          </a:xfrm>
        </p:grpSpPr>
        <p:cxnSp>
          <p:nvCxnSpPr>
            <p:cNvPr id="8" name="Gerader Verbinder 7" hidden="1">
              <a:extLst>
                <a:ext uri="{FF2B5EF4-FFF2-40B4-BE49-F238E27FC236}">
                  <a16:creationId xmlns:a16="http://schemas.microsoft.com/office/drawing/2014/main" id="{FF16C5B0-8F30-46A0-AC8A-0AB89BE94BE7}"/>
                </a:ext>
              </a:extLst>
            </p:cNvPr>
            <p:cNvCxnSpPr/>
            <p:nvPr userDrawn="1"/>
          </p:nvCxnSpPr>
          <p:spPr>
            <a:xfrm>
              <a:off x="458400" y="-2646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 hidden="1">
              <a:extLst>
                <a:ext uri="{FF2B5EF4-FFF2-40B4-BE49-F238E27FC236}">
                  <a16:creationId xmlns:a16="http://schemas.microsoft.com/office/drawing/2014/main" id="{964B5DB0-C842-4F81-B4A8-4DA32E897533}"/>
                </a:ext>
              </a:extLst>
            </p:cNvPr>
            <p:cNvCxnSpPr/>
            <p:nvPr userDrawn="1"/>
          </p:nvCxnSpPr>
          <p:spPr>
            <a:xfrm>
              <a:off x="1041600" y="-221400"/>
              <a:ext cx="0" cy="540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 hidden="1">
              <a:extLst>
                <a:ext uri="{FF2B5EF4-FFF2-40B4-BE49-F238E27FC236}">
                  <a16:creationId xmlns:a16="http://schemas.microsoft.com/office/drawing/2014/main" id="{81994A61-C090-4E9B-9A8C-378E186001C7}"/>
                </a:ext>
              </a:extLst>
            </p:cNvPr>
            <p:cNvCxnSpPr/>
            <p:nvPr userDrawn="1"/>
          </p:nvCxnSpPr>
          <p:spPr>
            <a:xfrm>
              <a:off x="2013600" y="-2646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 hidden="1">
              <a:extLst>
                <a:ext uri="{FF2B5EF4-FFF2-40B4-BE49-F238E27FC236}">
                  <a16:creationId xmlns:a16="http://schemas.microsoft.com/office/drawing/2014/main" id="{B756CC88-AAB4-4122-86A3-F02D2F83A904}"/>
                </a:ext>
              </a:extLst>
            </p:cNvPr>
            <p:cNvCxnSpPr/>
            <p:nvPr userDrawn="1"/>
          </p:nvCxnSpPr>
          <p:spPr>
            <a:xfrm>
              <a:off x="1430400" y="-221400"/>
              <a:ext cx="0" cy="540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 hidden="1">
              <a:extLst>
                <a:ext uri="{FF2B5EF4-FFF2-40B4-BE49-F238E27FC236}">
                  <a16:creationId xmlns:a16="http://schemas.microsoft.com/office/drawing/2014/main" id="{CFC03B87-D802-4B36-AD8E-2CEE7AFD89FF}"/>
                </a:ext>
              </a:extLst>
            </p:cNvPr>
            <p:cNvCxnSpPr/>
            <p:nvPr userDrawn="1"/>
          </p:nvCxnSpPr>
          <p:spPr>
            <a:xfrm>
              <a:off x="2013600" y="-2646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 hidden="1">
              <a:extLst>
                <a:ext uri="{FF2B5EF4-FFF2-40B4-BE49-F238E27FC236}">
                  <a16:creationId xmlns:a16="http://schemas.microsoft.com/office/drawing/2014/main" id="{643F2B8E-2150-4279-B439-BC9E0C429291}"/>
                </a:ext>
              </a:extLst>
            </p:cNvPr>
            <p:cNvCxnSpPr/>
            <p:nvPr userDrawn="1"/>
          </p:nvCxnSpPr>
          <p:spPr>
            <a:xfrm>
              <a:off x="2013600" y="-2646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 hidden="1">
              <a:extLst>
                <a:ext uri="{FF2B5EF4-FFF2-40B4-BE49-F238E27FC236}">
                  <a16:creationId xmlns:a16="http://schemas.microsoft.com/office/drawing/2014/main" id="{3DEABF32-A180-49B9-8676-4260EC6D330E}"/>
                </a:ext>
              </a:extLst>
            </p:cNvPr>
            <p:cNvCxnSpPr/>
            <p:nvPr userDrawn="1"/>
          </p:nvCxnSpPr>
          <p:spPr>
            <a:xfrm>
              <a:off x="2402400" y="-2646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 hidden="1">
              <a:extLst>
                <a:ext uri="{FF2B5EF4-FFF2-40B4-BE49-F238E27FC236}">
                  <a16:creationId xmlns:a16="http://schemas.microsoft.com/office/drawing/2014/main" id="{C015A03A-EB96-49C8-AB63-A4B788B6E372}"/>
                </a:ext>
              </a:extLst>
            </p:cNvPr>
            <p:cNvCxnSpPr/>
            <p:nvPr userDrawn="1"/>
          </p:nvCxnSpPr>
          <p:spPr>
            <a:xfrm>
              <a:off x="2985600" y="-221400"/>
              <a:ext cx="0" cy="540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r Verbinder 15" hidden="1">
              <a:extLst>
                <a:ext uri="{FF2B5EF4-FFF2-40B4-BE49-F238E27FC236}">
                  <a16:creationId xmlns:a16="http://schemas.microsoft.com/office/drawing/2014/main" id="{E6287E54-B610-4100-B424-D0A93F1C8D0D}"/>
                </a:ext>
              </a:extLst>
            </p:cNvPr>
            <p:cNvCxnSpPr/>
            <p:nvPr userDrawn="1"/>
          </p:nvCxnSpPr>
          <p:spPr>
            <a:xfrm>
              <a:off x="3957600" y="-2646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 hidden="1">
              <a:extLst>
                <a:ext uri="{FF2B5EF4-FFF2-40B4-BE49-F238E27FC236}">
                  <a16:creationId xmlns:a16="http://schemas.microsoft.com/office/drawing/2014/main" id="{8044D0E6-CB15-4045-8C15-D3E3DFDF69DA}"/>
                </a:ext>
              </a:extLst>
            </p:cNvPr>
            <p:cNvCxnSpPr/>
            <p:nvPr userDrawn="1"/>
          </p:nvCxnSpPr>
          <p:spPr>
            <a:xfrm>
              <a:off x="3374400" y="-221400"/>
              <a:ext cx="0" cy="540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 hidden="1">
              <a:extLst>
                <a:ext uri="{FF2B5EF4-FFF2-40B4-BE49-F238E27FC236}">
                  <a16:creationId xmlns:a16="http://schemas.microsoft.com/office/drawing/2014/main" id="{AEA87CDF-63B6-4E34-AA42-DC3D954E44CE}"/>
                </a:ext>
              </a:extLst>
            </p:cNvPr>
            <p:cNvCxnSpPr/>
            <p:nvPr userDrawn="1"/>
          </p:nvCxnSpPr>
          <p:spPr>
            <a:xfrm>
              <a:off x="3957600" y="-2646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 hidden="1">
              <a:extLst>
                <a:ext uri="{FF2B5EF4-FFF2-40B4-BE49-F238E27FC236}">
                  <a16:creationId xmlns:a16="http://schemas.microsoft.com/office/drawing/2014/main" id="{1B80E3DE-93C5-4751-A551-68728725EFCF}"/>
                </a:ext>
              </a:extLst>
            </p:cNvPr>
            <p:cNvCxnSpPr/>
            <p:nvPr userDrawn="1"/>
          </p:nvCxnSpPr>
          <p:spPr>
            <a:xfrm>
              <a:off x="3957600" y="-2646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 hidden="1">
              <a:extLst>
                <a:ext uri="{FF2B5EF4-FFF2-40B4-BE49-F238E27FC236}">
                  <a16:creationId xmlns:a16="http://schemas.microsoft.com/office/drawing/2014/main" id="{E46B3950-0AA8-4116-AB00-A9F0FC645C2E}"/>
                </a:ext>
              </a:extLst>
            </p:cNvPr>
            <p:cNvCxnSpPr/>
            <p:nvPr userDrawn="1"/>
          </p:nvCxnSpPr>
          <p:spPr>
            <a:xfrm>
              <a:off x="4346400" y="-2646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 hidden="1">
              <a:extLst>
                <a:ext uri="{FF2B5EF4-FFF2-40B4-BE49-F238E27FC236}">
                  <a16:creationId xmlns:a16="http://schemas.microsoft.com/office/drawing/2014/main" id="{CE268F57-869B-423E-AC6D-C8883CEF9B21}"/>
                </a:ext>
              </a:extLst>
            </p:cNvPr>
            <p:cNvCxnSpPr/>
            <p:nvPr userDrawn="1"/>
          </p:nvCxnSpPr>
          <p:spPr>
            <a:xfrm>
              <a:off x="4929600" y="-221400"/>
              <a:ext cx="0" cy="540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 hidden="1">
              <a:extLst>
                <a:ext uri="{FF2B5EF4-FFF2-40B4-BE49-F238E27FC236}">
                  <a16:creationId xmlns:a16="http://schemas.microsoft.com/office/drawing/2014/main" id="{7055B86E-A17B-4893-9150-EB4E5CA3B24C}"/>
                </a:ext>
              </a:extLst>
            </p:cNvPr>
            <p:cNvCxnSpPr/>
            <p:nvPr userDrawn="1"/>
          </p:nvCxnSpPr>
          <p:spPr>
            <a:xfrm>
              <a:off x="5901600" y="-2646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 hidden="1">
              <a:extLst>
                <a:ext uri="{FF2B5EF4-FFF2-40B4-BE49-F238E27FC236}">
                  <a16:creationId xmlns:a16="http://schemas.microsoft.com/office/drawing/2014/main" id="{D1AE9672-3BA9-40BC-B7F5-AC6BE4C64FAD}"/>
                </a:ext>
              </a:extLst>
            </p:cNvPr>
            <p:cNvCxnSpPr/>
            <p:nvPr userDrawn="1"/>
          </p:nvCxnSpPr>
          <p:spPr>
            <a:xfrm>
              <a:off x="5318400" y="-221400"/>
              <a:ext cx="0" cy="540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 hidden="1">
              <a:extLst>
                <a:ext uri="{FF2B5EF4-FFF2-40B4-BE49-F238E27FC236}">
                  <a16:creationId xmlns:a16="http://schemas.microsoft.com/office/drawing/2014/main" id="{6E448D7B-CC07-4E47-9C86-1765DC261ADB}"/>
                </a:ext>
              </a:extLst>
            </p:cNvPr>
            <p:cNvCxnSpPr/>
            <p:nvPr userDrawn="1"/>
          </p:nvCxnSpPr>
          <p:spPr>
            <a:xfrm>
              <a:off x="5901600" y="-2646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 hidden="1">
              <a:extLst>
                <a:ext uri="{FF2B5EF4-FFF2-40B4-BE49-F238E27FC236}">
                  <a16:creationId xmlns:a16="http://schemas.microsoft.com/office/drawing/2014/main" id="{9C8A841E-F355-4E31-9A71-3D5FE2B3D5AF}"/>
                </a:ext>
              </a:extLst>
            </p:cNvPr>
            <p:cNvCxnSpPr/>
            <p:nvPr userDrawn="1"/>
          </p:nvCxnSpPr>
          <p:spPr>
            <a:xfrm>
              <a:off x="5901600" y="-2646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 hidden="1">
              <a:extLst>
                <a:ext uri="{FF2B5EF4-FFF2-40B4-BE49-F238E27FC236}">
                  <a16:creationId xmlns:a16="http://schemas.microsoft.com/office/drawing/2014/main" id="{69B4811C-1AA9-46B9-8524-E9522A17AFB7}"/>
                </a:ext>
              </a:extLst>
            </p:cNvPr>
            <p:cNvCxnSpPr/>
            <p:nvPr userDrawn="1"/>
          </p:nvCxnSpPr>
          <p:spPr>
            <a:xfrm>
              <a:off x="6290400" y="-2646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 hidden="1">
              <a:extLst>
                <a:ext uri="{FF2B5EF4-FFF2-40B4-BE49-F238E27FC236}">
                  <a16:creationId xmlns:a16="http://schemas.microsoft.com/office/drawing/2014/main" id="{9D6C41F4-6DE8-4633-B9F9-CAF2825FEF24}"/>
                </a:ext>
              </a:extLst>
            </p:cNvPr>
            <p:cNvCxnSpPr/>
            <p:nvPr userDrawn="1"/>
          </p:nvCxnSpPr>
          <p:spPr>
            <a:xfrm>
              <a:off x="6873600" y="-221400"/>
              <a:ext cx="0" cy="540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 hidden="1">
              <a:extLst>
                <a:ext uri="{FF2B5EF4-FFF2-40B4-BE49-F238E27FC236}">
                  <a16:creationId xmlns:a16="http://schemas.microsoft.com/office/drawing/2014/main" id="{E99E0EA2-4070-43BB-A753-10B05EF1BE4C}"/>
                </a:ext>
              </a:extLst>
            </p:cNvPr>
            <p:cNvCxnSpPr/>
            <p:nvPr userDrawn="1"/>
          </p:nvCxnSpPr>
          <p:spPr>
            <a:xfrm>
              <a:off x="7845600" y="-2646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 hidden="1">
              <a:extLst>
                <a:ext uri="{FF2B5EF4-FFF2-40B4-BE49-F238E27FC236}">
                  <a16:creationId xmlns:a16="http://schemas.microsoft.com/office/drawing/2014/main" id="{9B02E612-86D6-40E9-8C07-AA6609FF5011}"/>
                </a:ext>
              </a:extLst>
            </p:cNvPr>
            <p:cNvCxnSpPr/>
            <p:nvPr userDrawn="1"/>
          </p:nvCxnSpPr>
          <p:spPr>
            <a:xfrm>
              <a:off x="7262400" y="-221400"/>
              <a:ext cx="0" cy="540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 hidden="1">
              <a:extLst>
                <a:ext uri="{FF2B5EF4-FFF2-40B4-BE49-F238E27FC236}">
                  <a16:creationId xmlns:a16="http://schemas.microsoft.com/office/drawing/2014/main" id="{969B7019-55CC-44FD-8348-C155AC213653}"/>
                </a:ext>
              </a:extLst>
            </p:cNvPr>
            <p:cNvCxnSpPr/>
            <p:nvPr userDrawn="1"/>
          </p:nvCxnSpPr>
          <p:spPr>
            <a:xfrm>
              <a:off x="7845600" y="-2646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 hidden="1">
              <a:extLst>
                <a:ext uri="{FF2B5EF4-FFF2-40B4-BE49-F238E27FC236}">
                  <a16:creationId xmlns:a16="http://schemas.microsoft.com/office/drawing/2014/main" id="{5DC0CDCF-DD6C-4E4A-98A2-05479CD2B617}"/>
                </a:ext>
              </a:extLst>
            </p:cNvPr>
            <p:cNvCxnSpPr/>
            <p:nvPr userDrawn="1"/>
          </p:nvCxnSpPr>
          <p:spPr>
            <a:xfrm>
              <a:off x="7845600" y="-2646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 hidden="1">
              <a:extLst>
                <a:ext uri="{FF2B5EF4-FFF2-40B4-BE49-F238E27FC236}">
                  <a16:creationId xmlns:a16="http://schemas.microsoft.com/office/drawing/2014/main" id="{9955B781-BCF1-43E9-8966-9B6F3E5506B7}"/>
                </a:ext>
              </a:extLst>
            </p:cNvPr>
            <p:cNvCxnSpPr/>
            <p:nvPr userDrawn="1"/>
          </p:nvCxnSpPr>
          <p:spPr>
            <a:xfrm>
              <a:off x="8234400" y="-2646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 hidden="1">
              <a:extLst>
                <a:ext uri="{FF2B5EF4-FFF2-40B4-BE49-F238E27FC236}">
                  <a16:creationId xmlns:a16="http://schemas.microsoft.com/office/drawing/2014/main" id="{6E4EC9AE-C08B-466C-9977-F48CF68E072D}"/>
                </a:ext>
              </a:extLst>
            </p:cNvPr>
            <p:cNvCxnSpPr/>
            <p:nvPr userDrawn="1"/>
          </p:nvCxnSpPr>
          <p:spPr>
            <a:xfrm>
              <a:off x="8817600" y="-221400"/>
              <a:ext cx="0" cy="540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 hidden="1">
              <a:extLst>
                <a:ext uri="{FF2B5EF4-FFF2-40B4-BE49-F238E27FC236}">
                  <a16:creationId xmlns:a16="http://schemas.microsoft.com/office/drawing/2014/main" id="{D7221E1A-66A9-4B1C-ADE8-0CEC93DA0B0C}"/>
                </a:ext>
              </a:extLst>
            </p:cNvPr>
            <p:cNvCxnSpPr/>
            <p:nvPr userDrawn="1"/>
          </p:nvCxnSpPr>
          <p:spPr>
            <a:xfrm>
              <a:off x="9789600" y="-2646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 hidden="1">
              <a:extLst>
                <a:ext uri="{FF2B5EF4-FFF2-40B4-BE49-F238E27FC236}">
                  <a16:creationId xmlns:a16="http://schemas.microsoft.com/office/drawing/2014/main" id="{B6675E7C-A90C-4499-A858-AE4D5C6D75B3}"/>
                </a:ext>
              </a:extLst>
            </p:cNvPr>
            <p:cNvCxnSpPr/>
            <p:nvPr userDrawn="1"/>
          </p:nvCxnSpPr>
          <p:spPr>
            <a:xfrm>
              <a:off x="9206400" y="-221400"/>
              <a:ext cx="0" cy="540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 hidden="1">
              <a:extLst>
                <a:ext uri="{FF2B5EF4-FFF2-40B4-BE49-F238E27FC236}">
                  <a16:creationId xmlns:a16="http://schemas.microsoft.com/office/drawing/2014/main" id="{BF3C336C-B68B-4DE8-B752-6C94A660C57B}"/>
                </a:ext>
              </a:extLst>
            </p:cNvPr>
            <p:cNvCxnSpPr/>
            <p:nvPr userDrawn="1"/>
          </p:nvCxnSpPr>
          <p:spPr>
            <a:xfrm>
              <a:off x="9789600" y="-2646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 hidden="1">
              <a:extLst>
                <a:ext uri="{FF2B5EF4-FFF2-40B4-BE49-F238E27FC236}">
                  <a16:creationId xmlns:a16="http://schemas.microsoft.com/office/drawing/2014/main" id="{E0598B98-7E31-442A-A758-C4F2D6B8832D}"/>
                </a:ext>
              </a:extLst>
            </p:cNvPr>
            <p:cNvCxnSpPr/>
            <p:nvPr userDrawn="1"/>
          </p:nvCxnSpPr>
          <p:spPr>
            <a:xfrm>
              <a:off x="9789600" y="-2646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 hidden="1">
              <a:extLst>
                <a:ext uri="{FF2B5EF4-FFF2-40B4-BE49-F238E27FC236}">
                  <a16:creationId xmlns:a16="http://schemas.microsoft.com/office/drawing/2014/main" id="{29990A7E-7040-40A1-88B3-25EBC0BBFC65}"/>
                </a:ext>
              </a:extLst>
            </p:cNvPr>
            <p:cNvCxnSpPr/>
            <p:nvPr userDrawn="1"/>
          </p:nvCxnSpPr>
          <p:spPr>
            <a:xfrm>
              <a:off x="10178400" y="-2646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 hidden="1">
              <a:extLst>
                <a:ext uri="{FF2B5EF4-FFF2-40B4-BE49-F238E27FC236}">
                  <a16:creationId xmlns:a16="http://schemas.microsoft.com/office/drawing/2014/main" id="{1ED1A5A3-ABC1-45A3-9695-8E9D8269985A}"/>
                </a:ext>
              </a:extLst>
            </p:cNvPr>
            <p:cNvCxnSpPr/>
            <p:nvPr userDrawn="1"/>
          </p:nvCxnSpPr>
          <p:spPr>
            <a:xfrm>
              <a:off x="10761600" y="-221400"/>
              <a:ext cx="0" cy="540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 hidden="1">
              <a:extLst>
                <a:ext uri="{FF2B5EF4-FFF2-40B4-BE49-F238E27FC236}">
                  <a16:creationId xmlns:a16="http://schemas.microsoft.com/office/drawing/2014/main" id="{C91BB4FA-B186-4E21-9498-F0A123BC23CE}"/>
                </a:ext>
              </a:extLst>
            </p:cNvPr>
            <p:cNvCxnSpPr/>
            <p:nvPr userDrawn="1"/>
          </p:nvCxnSpPr>
          <p:spPr>
            <a:xfrm>
              <a:off x="11733600" y="-2646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 hidden="1">
              <a:extLst>
                <a:ext uri="{FF2B5EF4-FFF2-40B4-BE49-F238E27FC236}">
                  <a16:creationId xmlns:a16="http://schemas.microsoft.com/office/drawing/2014/main" id="{D36AF9AB-7A7D-4444-BCFA-B73ECB5BA3D9}"/>
                </a:ext>
              </a:extLst>
            </p:cNvPr>
            <p:cNvCxnSpPr/>
            <p:nvPr userDrawn="1"/>
          </p:nvCxnSpPr>
          <p:spPr>
            <a:xfrm>
              <a:off x="11150400" y="-221400"/>
              <a:ext cx="0" cy="540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 hidden="1">
              <a:extLst>
                <a:ext uri="{FF2B5EF4-FFF2-40B4-BE49-F238E27FC236}">
                  <a16:creationId xmlns:a16="http://schemas.microsoft.com/office/drawing/2014/main" id="{1E588DD7-1822-4359-896A-CCB5054F74A6}"/>
                </a:ext>
              </a:extLst>
            </p:cNvPr>
            <p:cNvCxnSpPr/>
            <p:nvPr userDrawn="1"/>
          </p:nvCxnSpPr>
          <p:spPr>
            <a:xfrm>
              <a:off x="11733600" y="-2646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 hidden="1">
              <a:extLst>
                <a:ext uri="{FF2B5EF4-FFF2-40B4-BE49-F238E27FC236}">
                  <a16:creationId xmlns:a16="http://schemas.microsoft.com/office/drawing/2014/main" id="{E41E115F-4D04-4F7E-A883-8F215D661368}"/>
                </a:ext>
              </a:extLst>
            </p:cNvPr>
            <p:cNvCxnSpPr/>
            <p:nvPr userDrawn="1"/>
          </p:nvCxnSpPr>
          <p:spPr>
            <a:xfrm>
              <a:off x="11733600" y="-2646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r Verbinder 43" hidden="1">
              <a:extLst>
                <a:ext uri="{FF2B5EF4-FFF2-40B4-BE49-F238E27FC236}">
                  <a16:creationId xmlns:a16="http://schemas.microsoft.com/office/drawing/2014/main" id="{D21FFCD8-D7EB-44DA-AA4A-69DEE2CD2A3C}"/>
                </a:ext>
              </a:extLst>
            </p:cNvPr>
            <p:cNvCxnSpPr/>
            <p:nvPr userDrawn="1"/>
          </p:nvCxnSpPr>
          <p:spPr>
            <a:xfrm>
              <a:off x="1236000" y="-192600"/>
              <a:ext cx="0" cy="25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r Verbinder 44" hidden="1">
              <a:extLst>
                <a:ext uri="{FF2B5EF4-FFF2-40B4-BE49-F238E27FC236}">
                  <a16:creationId xmlns:a16="http://schemas.microsoft.com/office/drawing/2014/main" id="{F05127D3-BED0-4B20-9545-BA76ECA0EF94}"/>
                </a:ext>
              </a:extLst>
            </p:cNvPr>
            <p:cNvCxnSpPr/>
            <p:nvPr userDrawn="1"/>
          </p:nvCxnSpPr>
          <p:spPr>
            <a:xfrm>
              <a:off x="3180000" y="-192600"/>
              <a:ext cx="0" cy="25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r Verbinder 45" hidden="1">
              <a:extLst>
                <a:ext uri="{FF2B5EF4-FFF2-40B4-BE49-F238E27FC236}">
                  <a16:creationId xmlns:a16="http://schemas.microsoft.com/office/drawing/2014/main" id="{DE57FE2B-166D-4CD7-875D-ECB00BD38B7E}"/>
                </a:ext>
              </a:extLst>
            </p:cNvPr>
            <p:cNvCxnSpPr/>
            <p:nvPr userDrawn="1"/>
          </p:nvCxnSpPr>
          <p:spPr>
            <a:xfrm>
              <a:off x="5124000" y="-192600"/>
              <a:ext cx="0" cy="25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r Verbinder 46" hidden="1">
              <a:extLst>
                <a:ext uri="{FF2B5EF4-FFF2-40B4-BE49-F238E27FC236}">
                  <a16:creationId xmlns:a16="http://schemas.microsoft.com/office/drawing/2014/main" id="{1D0E3B90-A08A-4F8D-B740-AB7B9DF3855E}"/>
                </a:ext>
              </a:extLst>
            </p:cNvPr>
            <p:cNvCxnSpPr/>
            <p:nvPr userDrawn="1"/>
          </p:nvCxnSpPr>
          <p:spPr>
            <a:xfrm>
              <a:off x="7068000" y="-192600"/>
              <a:ext cx="0" cy="25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r Verbinder 47" hidden="1">
              <a:extLst>
                <a:ext uri="{FF2B5EF4-FFF2-40B4-BE49-F238E27FC236}">
                  <a16:creationId xmlns:a16="http://schemas.microsoft.com/office/drawing/2014/main" id="{8D73528F-E385-4614-9CCD-532577EEB745}"/>
                </a:ext>
              </a:extLst>
            </p:cNvPr>
            <p:cNvCxnSpPr/>
            <p:nvPr userDrawn="1"/>
          </p:nvCxnSpPr>
          <p:spPr>
            <a:xfrm>
              <a:off x="9012000" y="-192600"/>
              <a:ext cx="0" cy="25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r Verbinder 48" hidden="1">
              <a:extLst>
                <a:ext uri="{FF2B5EF4-FFF2-40B4-BE49-F238E27FC236}">
                  <a16:creationId xmlns:a16="http://schemas.microsoft.com/office/drawing/2014/main" id="{6DA73E2C-6A6E-4BFE-9077-0B1349AB26F8}"/>
                </a:ext>
              </a:extLst>
            </p:cNvPr>
            <p:cNvCxnSpPr/>
            <p:nvPr userDrawn="1"/>
          </p:nvCxnSpPr>
          <p:spPr>
            <a:xfrm>
              <a:off x="10956000" y="-192600"/>
              <a:ext cx="0" cy="25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r Verbinder 49" hidden="1">
              <a:extLst>
                <a:ext uri="{FF2B5EF4-FFF2-40B4-BE49-F238E27FC236}">
                  <a16:creationId xmlns:a16="http://schemas.microsoft.com/office/drawing/2014/main" id="{CB66D52F-DF2F-4E99-A863-30DD9A2B0E65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319200" y="3186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r Verbinder 50" hidden="1">
              <a:extLst>
                <a:ext uri="{FF2B5EF4-FFF2-40B4-BE49-F238E27FC236}">
                  <a16:creationId xmlns:a16="http://schemas.microsoft.com/office/drawing/2014/main" id="{0D12DBFF-6DBE-4329-9927-1E4FB0D54936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319200" y="9018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r Verbinder 51" hidden="1">
              <a:extLst>
                <a:ext uri="{FF2B5EF4-FFF2-40B4-BE49-F238E27FC236}">
                  <a16:creationId xmlns:a16="http://schemas.microsoft.com/office/drawing/2014/main" id="{CC7C4472-EFA3-46D6-A6D0-B5F37A7E2D57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319200" y="13878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r Verbinder 52" hidden="1">
              <a:extLst>
                <a:ext uri="{FF2B5EF4-FFF2-40B4-BE49-F238E27FC236}">
                  <a16:creationId xmlns:a16="http://schemas.microsoft.com/office/drawing/2014/main" id="{3FDE7D94-E342-465D-909C-9845F8880CA1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513600" y="13878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r Verbinder 53" hidden="1">
              <a:extLst>
                <a:ext uri="{FF2B5EF4-FFF2-40B4-BE49-F238E27FC236}">
                  <a16:creationId xmlns:a16="http://schemas.microsoft.com/office/drawing/2014/main" id="{434B4DD3-3D38-4520-A913-09BDC88193D0}"/>
                </a:ext>
              </a:extLst>
            </p:cNvPr>
            <p:cNvCxnSpPr/>
            <p:nvPr userDrawn="1"/>
          </p:nvCxnSpPr>
          <p:spPr>
            <a:xfrm>
              <a:off x="-276000" y="1971000"/>
              <a:ext cx="540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r Verbinder 54" hidden="1">
              <a:extLst>
                <a:ext uri="{FF2B5EF4-FFF2-40B4-BE49-F238E27FC236}">
                  <a16:creationId xmlns:a16="http://schemas.microsoft.com/office/drawing/2014/main" id="{5CF4A037-9768-4455-9C7B-8783E6CAE297}"/>
                </a:ext>
              </a:extLst>
            </p:cNvPr>
            <p:cNvCxnSpPr/>
            <p:nvPr userDrawn="1"/>
          </p:nvCxnSpPr>
          <p:spPr>
            <a:xfrm>
              <a:off x="-276000" y="2359800"/>
              <a:ext cx="540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r Verbinder 55" hidden="1">
              <a:extLst>
                <a:ext uri="{FF2B5EF4-FFF2-40B4-BE49-F238E27FC236}">
                  <a16:creationId xmlns:a16="http://schemas.microsoft.com/office/drawing/2014/main" id="{A5AF0393-1377-4E39-9854-6D1D46EEBED8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319200" y="29430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r Verbinder 56" hidden="1">
              <a:extLst>
                <a:ext uri="{FF2B5EF4-FFF2-40B4-BE49-F238E27FC236}">
                  <a16:creationId xmlns:a16="http://schemas.microsoft.com/office/drawing/2014/main" id="{8F810320-D354-4B47-B096-C4F1C3A5D78A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319200" y="33318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r Verbinder 57" hidden="1">
              <a:extLst>
                <a:ext uri="{FF2B5EF4-FFF2-40B4-BE49-F238E27FC236}">
                  <a16:creationId xmlns:a16="http://schemas.microsoft.com/office/drawing/2014/main" id="{ABBE022B-DD24-4FCC-951A-A23ED34B2E9D}"/>
                </a:ext>
              </a:extLst>
            </p:cNvPr>
            <p:cNvCxnSpPr/>
            <p:nvPr userDrawn="1"/>
          </p:nvCxnSpPr>
          <p:spPr>
            <a:xfrm>
              <a:off x="-276000" y="3915000"/>
              <a:ext cx="540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r Verbinder 58" hidden="1">
              <a:extLst>
                <a:ext uri="{FF2B5EF4-FFF2-40B4-BE49-F238E27FC236}">
                  <a16:creationId xmlns:a16="http://schemas.microsoft.com/office/drawing/2014/main" id="{518AE403-E6BA-4298-8785-2938A20B055E}"/>
                </a:ext>
              </a:extLst>
            </p:cNvPr>
            <p:cNvCxnSpPr/>
            <p:nvPr userDrawn="1"/>
          </p:nvCxnSpPr>
          <p:spPr>
            <a:xfrm>
              <a:off x="-276000" y="4303800"/>
              <a:ext cx="540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r Verbinder 59" hidden="1">
              <a:extLst>
                <a:ext uri="{FF2B5EF4-FFF2-40B4-BE49-F238E27FC236}">
                  <a16:creationId xmlns:a16="http://schemas.microsoft.com/office/drawing/2014/main" id="{07BAA48B-6B20-4E6C-B2F8-10F0F52EEB32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319200" y="48870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r Verbinder 60" hidden="1">
              <a:extLst>
                <a:ext uri="{FF2B5EF4-FFF2-40B4-BE49-F238E27FC236}">
                  <a16:creationId xmlns:a16="http://schemas.microsoft.com/office/drawing/2014/main" id="{6B07DAA5-15EF-44B3-B23E-2ED808617325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319200" y="52758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r Verbinder 61" hidden="1">
              <a:extLst>
                <a:ext uri="{FF2B5EF4-FFF2-40B4-BE49-F238E27FC236}">
                  <a16:creationId xmlns:a16="http://schemas.microsoft.com/office/drawing/2014/main" id="{EC5EB6A1-8DB0-475F-98A9-EE652BAF40D3}"/>
                </a:ext>
              </a:extLst>
            </p:cNvPr>
            <p:cNvCxnSpPr/>
            <p:nvPr userDrawn="1"/>
          </p:nvCxnSpPr>
          <p:spPr>
            <a:xfrm>
              <a:off x="-276000" y="5859000"/>
              <a:ext cx="540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r Verbinder 62" hidden="1">
              <a:extLst>
                <a:ext uri="{FF2B5EF4-FFF2-40B4-BE49-F238E27FC236}">
                  <a16:creationId xmlns:a16="http://schemas.microsoft.com/office/drawing/2014/main" id="{1EFCE728-D858-4063-A7DF-BEE8925F5C29}"/>
                </a:ext>
              </a:extLst>
            </p:cNvPr>
            <p:cNvCxnSpPr/>
            <p:nvPr userDrawn="1"/>
          </p:nvCxnSpPr>
          <p:spPr>
            <a:xfrm>
              <a:off x="-276000" y="6247800"/>
              <a:ext cx="540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r Verbinder 63" hidden="1">
              <a:extLst>
                <a:ext uri="{FF2B5EF4-FFF2-40B4-BE49-F238E27FC236}">
                  <a16:creationId xmlns:a16="http://schemas.microsoft.com/office/drawing/2014/main" id="{A67257CA-B47E-4F50-A0AA-574DADADAEBD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319200" y="68310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r Verbinder 64" hidden="1">
              <a:extLst>
                <a:ext uri="{FF2B5EF4-FFF2-40B4-BE49-F238E27FC236}">
                  <a16:creationId xmlns:a16="http://schemas.microsoft.com/office/drawing/2014/main" id="{8E29FD86-A24C-4644-98D8-AF7A678DA06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247200" y="2165400"/>
              <a:ext cx="25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r Verbinder 65" hidden="1">
              <a:extLst>
                <a:ext uri="{FF2B5EF4-FFF2-40B4-BE49-F238E27FC236}">
                  <a16:creationId xmlns:a16="http://schemas.microsoft.com/office/drawing/2014/main" id="{08EC4055-3E49-4ACC-8776-2F3B1F7E186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247200" y="4109400"/>
              <a:ext cx="25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r Verbinder 66" hidden="1">
              <a:extLst>
                <a:ext uri="{FF2B5EF4-FFF2-40B4-BE49-F238E27FC236}">
                  <a16:creationId xmlns:a16="http://schemas.microsoft.com/office/drawing/2014/main" id="{C2319598-A10D-407B-B692-C1760D6902A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247200" y="6053400"/>
              <a:ext cx="25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r Verbinder 67" hidden="1">
              <a:extLst>
                <a:ext uri="{FF2B5EF4-FFF2-40B4-BE49-F238E27FC236}">
                  <a16:creationId xmlns:a16="http://schemas.microsoft.com/office/drawing/2014/main" id="{00696105-B72A-4737-89BF-579FF02F60E7}"/>
                </a:ext>
              </a:extLst>
            </p:cNvPr>
            <p:cNvCxnSpPr/>
            <p:nvPr userDrawn="1"/>
          </p:nvCxnSpPr>
          <p:spPr>
            <a:xfrm>
              <a:off x="-276000" y="6442200"/>
              <a:ext cx="540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r Verbinder 68" hidden="1">
              <a:extLst>
                <a:ext uri="{FF2B5EF4-FFF2-40B4-BE49-F238E27FC236}">
                  <a16:creationId xmlns:a16="http://schemas.microsoft.com/office/drawing/2014/main" id="{8E298FB2-A1BB-4F47-B6ED-6FD9395B4BE5}"/>
                </a:ext>
              </a:extLst>
            </p:cNvPr>
            <p:cNvCxnSpPr/>
            <p:nvPr userDrawn="1"/>
          </p:nvCxnSpPr>
          <p:spPr>
            <a:xfrm>
              <a:off x="-247200" y="6733800"/>
              <a:ext cx="25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r Verbinder 69" hidden="1">
              <a:extLst>
                <a:ext uri="{FF2B5EF4-FFF2-40B4-BE49-F238E27FC236}">
                  <a16:creationId xmlns:a16="http://schemas.microsoft.com/office/drawing/2014/main" id="{A669A67E-8078-4C3B-BA8E-B765C56225AE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513600" y="41094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r Verbinder 70" hidden="1">
              <a:extLst>
                <a:ext uri="{FF2B5EF4-FFF2-40B4-BE49-F238E27FC236}">
                  <a16:creationId xmlns:a16="http://schemas.microsoft.com/office/drawing/2014/main" id="{E9607184-55E9-4D45-91BB-0823713AA6A8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513600" y="68310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r Verbinder 71" hidden="1">
              <a:extLst>
                <a:ext uri="{FF2B5EF4-FFF2-40B4-BE49-F238E27FC236}">
                  <a16:creationId xmlns:a16="http://schemas.microsoft.com/office/drawing/2014/main" id="{8FC231F3-E093-4EBF-8D98-49D8828F9199}"/>
                </a:ext>
              </a:extLst>
            </p:cNvPr>
            <p:cNvCxnSpPr/>
            <p:nvPr userDrawn="1"/>
          </p:nvCxnSpPr>
          <p:spPr>
            <a:xfrm>
              <a:off x="458400" y="70254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r Verbinder 72" hidden="1">
              <a:extLst>
                <a:ext uri="{FF2B5EF4-FFF2-40B4-BE49-F238E27FC236}">
                  <a16:creationId xmlns:a16="http://schemas.microsoft.com/office/drawing/2014/main" id="{551DC6B6-82E2-4009-9157-124C78E8698B}"/>
                </a:ext>
              </a:extLst>
            </p:cNvPr>
            <p:cNvCxnSpPr/>
            <p:nvPr userDrawn="1"/>
          </p:nvCxnSpPr>
          <p:spPr>
            <a:xfrm>
              <a:off x="2791200" y="70254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r Verbinder 73" hidden="1">
              <a:extLst>
                <a:ext uri="{FF2B5EF4-FFF2-40B4-BE49-F238E27FC236}">
                  <a16:creationId xmlns:a16="http://schemas.microsoft.com/office/drawing/2014/main" id="{B49A3D3C-54B2-4D39-B77D-5DFD5292D70B}"/>
                </a:ext>
              </a:extLst>
            </p:cNvPr>
            <p:cNvCxnSpPr/>
            <p:nvPr userDrawn="1"/>
          </p:nvCxnSpPr>
          <p:spPr>
            <a:xfrm>
              <a:off x="5124000" y="70254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r Verbinder 74" hidden="1">
              <a:extLst>
                <a:ext uri="{FF2B5EF4-FFF2-40B4-BE49-F238E27FC236}">
                  <a16:creationId xmlns:a16="http://schemas.microsoft.com/office/drawing/2014/main" id="{D6C9BCF8-EC2F-418B-B972-4C9D9ACA18DF}"/>
                </a:ext>
              </a:extLst>
            </p:cNvPr>
            <p:cNvCxnSpPr/>
            <p:nvPr userDrawn="1"/>
          </p:nvCxnSpPr>
          <p:spPr>
            <a:xfrm>
              <a:off x="7456800" y="70254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r Verbinder 75" hidden="1">
              <a:extLst>
                <a:ext uri="{FF2B5EF4-FFF2-40B4-BE49-F238E27FC236}">
                  <a16:creationId xmlns:a16="http://schemas.microsoft.com/office/drawing/2014/main" id="{F49B1E23-A555-4510-B81F-89A1EADE1F52}"/>
                </a:ext>
              </a:extLst>
            </p:cNvPr>
            <p:cNvCxnSpPr/>
            <p:nvPr userDrawn="1"/>
          </p:nvCxnSpPr>
          <p:spPr>
            <a:xfrm>
              <a:off x="9789600" y="70254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r Verbinder 76" hidden="1">
              <a:extLst>
                <a:ext uri="{FF2B5EF4-FFF2-40B4-BE49-F238E27FC236}">
                  <a16:creationId xmlns:a16="http://schemas.microsoft.com/office/drawing/2014/main" id="{A03D0830-2039-42E7-AC32-3A2171B5B6B8}"/>
                </a:ext>
              </a:extLst>
            </p:cNvPr>
            <p:cNvCxnSpPr/>
            <p:nvPr userDrawn="1"/>
          </p:nvCxnSpPr>
          <p:spPr>
            <a:xfrm>
              <a:off x="11733600" y="70254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r Verbinder 77" hidden="1">
              <a:extLst>
                <a:ext uri="{FF2B5EF4-FFF2-40B4-BE49-F238E27FC236}">
                  <a16:creationId xmlns:a16="http://schemas.microsoft.com/office/drawing/2014/main" id="{725F9219-8822-4D18-9151-855D27670BBB}"/>
                </a:ext>
              </a:extLst>
            </p:cNvPr>
            <p:cNvCxnSpPr/>
            <p:nvPr userDrawn="1"/>
          </p:nvCxnSpPr>
          <p:spPr>
            <a:xfrm>
              <a:off x="9400800" y="70254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r Verbinder 78" hidden="1">
              <a:extLst>
                <a:ext uri="{FF2B5EF4-FFF2-40B4-BE49-F238E27FC236}">
                  <a16:creationId xmlns:a16="http://schemas.microsoft.com/office/drawing/2014/main" id="{09A8A872-C152-4027-A9DD-A774C5E5B827}"/>
                </a:ext>
              </a:extLst>
            </p:cNvPr>
            <p:cNvCxnSpPr/>
            <p:nvPr userDrawn="1"/>
          </p:nvCxnSpPr>
          <p:spPr>
            <a:xfrm>
              <a:off x="7068000" y="70254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r Verbinder 79" hidden="1">
              <a:extLst>
                <a:ext uri="{FF2B5EF4-FFF2-40B4-BE49-F238E27FC236}">
                  <a16:creationId xmlns:a16="http://schemas.microsoft.com/office/drawing/2014/main" id="{B175A82F-1E98-42A8-A9CE-47639CF466A3}"/>
                </a:ext>
              </a:extLst>
            </p:cNvPr>
            <p:cNvCxnSpPr/>
            <p:nvPr userDrawn="1"/>
          </p:nvCxnSpPr>
          <p:spPr>
            <a:xfrm>
              <a:off x="4735200" y="70254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r Verbinder 80" hidden="1">
              <a:extLst>
                <a:ext uri="{FF2B5EF4-FFF2-40B4-BE49-F238E27FC236}">
                  <a16:creationId xmlns:a16="http://schemas.microsoft.com/office/drawing/2014/main" id="{57638F6E-153C-4415-A426-AB963ABED384}"/>
                </a:ext>
              </a:extLst>
            </p:cNvPr>
            <p:cNvCxnSpPr/>
            <p:nvPr userDrawn="1"/>
          </p:nvCxnSpPr>
          <p:spPr>
            <a:xfrm>
              <a:off x="2402400" y="7025400"/>
              <a:ext cx="0" cy="9720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r Verbinder 81" hidden="1">
              <a:extLst>
                <a:ext uri="{FF2B5EF4-FFF2-40B4-BE49-F238E27FC236}">
                  <a16:creationId xmlns:a16="http://schemas.microsoft.com/office/drawing/2014/main" id="{1FB8283F-BF95-439D-8D3D-FC9CF0316028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319200" y="66366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3" name="Gerader Verbinder 292" hidden="1">
              <a:extLst>
                <a:ext uri="{FF2B5EF4-FFF2-40B4-BE49-F238E27FC236}">
                  <a16:creationId xmlns:a16="http://schemas.microsoft.com/office/drawing/2014/main" id="{75BFAE02-3B2C-4A39-9155-75D9A9FFE770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16800" y="17766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6" name="Gerader Verbinder 305" hidden="1">
              <a:extLst>
                <a:ext uri="{FF2B5EF4-FFF2-40B4-BE49-F238E27FC236}">
                  <a16:creationId xmlns:a16="http://schemas.microsoft.com/office/drawing/2014/main" id="{0289F721-02E5-4CF1-A64E-16C6831DADE4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16800" y="23598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7" name="Gerader Verbinder 306" hidden="1">
              <a:extLst>
                <a:ext uri="{FF2B5EF4-FFF2-40B4-BE49-F238E27FC236}">
                  <a16:creationId xmlns:a16="http://schemas.microsoft.com/office/drawing/2014/main" id="{736FBFC1-34C0-4556-A64E-7DF51C174069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16800" y="29430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8" name="Gerader Verbinder 307" hidden="1">
              <a:extLst>
                <a:ext uri="{FF2B5EF4-FFF2-40B4-BE49-F238E27FC236}">
                  <a16:creationId xmlns:a16="http://schemas.microsoft.com/office/drawing/2014/main" id="{1C325AB2-38AC-453D-9604-CB146C3C94EB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16800" y="35262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9" name="Gerader Verbinder 308" hidden="1">
              <a:extLst>
                <a:ext uri="{FF2B5EF4-FFF2-40B4-BE49-F238E27FC236}">
                  <a16:creationId xmlns:a16="http://schemas.microsoft.com/office/drawing/2014/main" id="{587F643B-B13E-475D-9FE5-8FE8E7C8EE85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16800" y="41094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0" name="Gerader Verbinder 309" hidden="1">
              <a:extLst>
                <a:ext uri="{FF2B5EF4-FFF2-40B4-BE49-F238E27FC236}">
                  <a16:creationId xmlns:a16="http://schemas.microsoft.com/office/drawing/2014/main" id="{9AE37838-5743-4653-95C0-DAD8239B1B4D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16800" y="46926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1" name="Gerader Verbinder 310" hidden="1">
              <a:extLst>
                <a:ext uri="{FF2B5EF4-FFF2-40B4-BE49-F238E27FC236}">
                  <a16:creationId xmlns:a16="http://schemas.microsoft.com/office/drawing/2014/main" id="{1CE536AB-0C1C-4B56-8D71-56FDB1B95E46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16800" y="52758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2" name="Gerader Verbinder 311" hidden="1">
              <a:extLst>
                <a:ext uri="{FF2B5EF4-FFF2-40B4-BE49-F238E27FC236}">
                  <a16:creationId xmlns:a16="http://schemas.microsoft.com/office/drawing/2014/main" id="{5D9691B6-E5DE-4C10-A8BE-3D4FB5259B62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16800" y="58590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3" name="Gerader Verbinder 312" hidden="1">
              <a:extLst>
                <a:ext uri="{FF2B5EF4-FFF2-40B4-BE49-F238E27FC236}">
                  <a16:creationId xmlns:a16="http://schemas.microsoft.com/office/drawing/2014/main" id="{9937DABA-6870-47B5-ACA2-6AE07F6B1174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2316800" y="6442200"/>
              <a:ext cx="97200" cy="0"/>
            </a:xfrm>
            <a:prstGeom prst="line">
              <a:avLst/>
            </a:prstGeom>
            <a:ln w="635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8" name="Deco line top">
            <a:extLst>
              <a:ext uri="{FF2B5EF4-FFF2-40B4-BE49-F238E27FC236}">
                <a16:creationId xmlns:a16="http://schemas.microsoft.com/office/drawing/2014/main" id="{D53D8F20-7699-4E47-A42E-13FD9B3AA4C4}"/>
              </a:ext>
            </a:extLst>
          </p:cNvPr>
          <p:cNvSpPr>
            <a:spLocks/>
          </p:cNvSpPr>
          <p:nvPr/>
        </p:nvSpPr>
        <p:spPr>
          <a:xfrm>
            <a:off x="0" y="0"/>
            <a:ext cx="12192002" cy="9720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600" b="0" i="0" u="none" baseline="0">
              <a:solidFill>
                <a:srgbClr val="000000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41" name="Datumsplatzhalter">
            <a:extLst>
              <a:ext uri="{FF2B5EF4-FFF2-40B4-BE49-F238E27FC236}">
                <a16:creationId xmlns:a16="http://schemas.microsoft.com/office/drawing/2014/main" id="{FAFDE583-8891-45F2-B45F-05272564F6E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>
                <a:ln>
                  <a:noFill/>
                </a:ln>
                <a:noFill/>
              </a:defRPr>
            </a:lvl1pPr>
          </a:lstStyle>
          <a:p>
            <a:fld id="{A0765D08-26B1-4DE8-BBEA-0EAC4020FA96}" type="datetimeFigureOut">
              <a:rPr lang="en-US"/>
              <a:t>7/14/2024</a:t>
            </a:fld>
            <a:endParaRPr lang="en-US"/>
          </a:p>
        </p:txBody>
      </p:sp>
      <p:sp>
        <p:nvSpPr>
          <p:cNvPr id="342" name="Fußzeilenplatzhalter">
            <a:extLst>
              <a:ext uri="{FF2B5EF4-FFF2-40B4-BE49-F238E27FC236}">
                <a16:creationId xmlns:a16="http://schemas.microsoft.com/office/drawing/2014/main" id="{7FE33B54-66C1-45ED-9643-62D6F31238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900">
                <a:ln>
                  <a:noFill/>
                </a:ln>
                <a:noFill/>
              </a:defRPr>
            </a:lvl1pPr>
          </a:lstStyle>
          <a:p>
            <a:endParaRPr lang="en-US"/>
          </a:p>
        </p:txBody>
      </p:sp>
      <p:sp>
        <p:nvSpPr>
          <p:cNvPr id="343" name="Foliennummernplatzhalter">
            <a:extLst>
              <a:ext uri="{FF2B5EF4-FFF2-40B4-BE49-F238E27FC236}">
                <a16:creationId xmlns:a16="http://schemas.microsoft.com/office/drawing/2014/main" id="{CF4DA6C9-B759-461A-BD5C-BF5ADB6504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 baseline="0">
                <a:ln>
                  <a:noFill/>
                </a:ln>
                <a:noFill/>
              </a:defRPr>
            </a:lvl1pPr>
          </a:lstStyle>
          <a:p>
            <a:fld id="{F4B4D68C-E810-46A5-A28F-0667A3B6FF14}" type="slidenum">
              <a:rPr lang="en-US"/>
              <a:t>‹Nr.›</a:t>
            </a:fld>
            <a:endParaRPr lang="en-US"/>
          </a:p>
        </p:txBody>
      </p:sp>
      <p:sp>
        <p:nvSpPr>
          <p:cNvPr id="2" name="Master title">
            <a:extLst>
              <a:ext uri="{FF2B5EF4-FFF2-40B4-BE49-F238E27FC236}">
                <a16:creationId xmlns:a16="http://schemas.microsoft.com/office/drawing/2014/main" id="{9DFAF140-256F-4C34-9FA7-1D6D01D8B7FA}"/>
              </a:ext>
            </a:extLst>
          </p:cNvPr>
          <p:cNvSpPr>
            <a:spLocks noGrp="1"/>
          </p:cNvSpPr>
          <p:nvPr>
            <p:ph type="title"/>
            <p:custDataLst>
              <p:tags r:id="rId34"/>
            </p:custDataLst>
          </p:nvPr>
        </p:nvSpPr>
        <p:spPr>
          <a:xfrm>
            <a:off x="458400" y="318601"/>
            <a:ext cx="11275200" cy="58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 defTabSz="972000"/>
            <a:endParaRPr lang="de-DE"/>
          </a:p>
        </p:txBody>
      </p:sp>
      <p:sp>
        <p:nvSpPr>
          <p:cNvPr id="400" name="Textplaceholder">
            <a:extLst>
              <a:ext uri="{FF2B5EF4-FFF2-40B4-BE49-F238E27FC236}">
                <a16:creationId xmlns:a16="http://schemas.microsoft.com/office/drawing/2014/main" id="{0C2F4944-B85E-4531-92A5-10D669A4E88B}"/>
              </a:ext>
            </a:extLst>
          </p:cNvPr>
          <p:cNvSpPr>
            <a:spLocks noGrp="1"/>
          </p:cNvSpPr>
          <p:nvPr>
            <p:ph type="body" idx="1"/>
            <p:custDataLst>
              <p:tags r:id="rId35"/>
            </p:custDataLst>
          </p:nvPr>
        </p:nvSpPr>
        <p:spPr>
          <a:xfrm>
            <a:off x="458400" y="1387800"/>
            <a:ext cx="11275200" cy="5054400"/>
          </a:xfrm>
          <a:prstGeom prst="rect">
            <a:avLst/>
          </a:prstGeom>
        </p:spPr>
        <p:txBody>
          <a:bodyPr vert="horz" lIns="0" tIns="97200" rIns="0" bIns="9720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Text 6</a:t>
            </a:r>
          </a:p>
          <a:p>
            <a:pPr lvl="6"/>
            <a:r>
              <a:rPr lang="de-DE"/>
              <a:t>Text 7</a:t>
            </a:r>
          </a:p>
          <a:p>
            <a:pPr lvl="7"/>
            <a:r>
              <a:rPr lang="de-DE"/>
              <a:t>Text 8</a:t>
            </a:r>
          </a:p>
          <a:p>
            <a:pPr lvl="8"/>
            <a:r>
              <a:rPr lang="de-DE"/>
              <a:t>Text 9</a:t>
            </a:r>
          </a:p>
        </p:txBody>
      </p:sp>
      <p:sp>
        <p:nvSpPr>
          <p:cNvPr id="3" name="empower - DO NOT DELETE!!!" hidden="1">
            <a:extLst>
              <a:ext uri="{FF2B5EF4-FFF2-40B4-BE49-F238E27FC236}">
                <a16:creationId xmlns:a16="http://schemas.microsoft.com/office/drawing/2014/main" id="{6D44CE6F-4A4E-4FB8-A747-629300FE1774}"/>
              </a:ext>
            </a:extLst>
          </p:cNvPr>
          <p:cNvSpPr/>
          <p:nvPr>
            <p:custDataLst>
              <p:tags r:id="rId36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lvl="0" algn="ctr" defTabSz="486000"/>
            <a:endParaRPr lang="de-DE" sz="16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169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de-DE" sz="3600" b="0" i="0" kern="1200" spc="-100" baseline="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486000" rtl="0" eaLnBrk="1" latinLnBrk="0" hangingPunct="1">
        <a:lnSpc>
          <a:spcPct val="120000"/>
        </a:lnSpc>
        <a:spcBef>
          <a:spcPts val="765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91600" indent="-291600" algn="l" defTabSz="486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accent1"/>
        </a:buClr>
        <a:buFont typeface="Wingdings" panose="05000000000000000000" pitchFamily="2" charset="2"/>
        <a:buChar char="§"/>
        <a:defRPr lang="en-US" sz="16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2pPr>
      <a:lvl3pPr marL="583200" indent="-291600" algn="l" defTabSz="486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 typeface="Symbol" panose="05050102010706020507" pitchFamily="18" charset="2"/>
        <a:buChar char="-"/>
        <a:defRPr lang="en-US" sz="1600" kern="12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74800" indent="-291600" algn="l" defTabSz="486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 typeface="Symbol" panose="05050102010706020507" pitchFamily="18" charset="2"/>
        <a:buChar char="-"/>
        <a:defRPr lang="en-US" sz="1400" kern="12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486000" rtl="0" eaLnBrk="1" latinLnBrk="0" hangingPunct="1">
        <a:lnSpc>
          <a:spcPct val="100000"/>
        </a:lnSpc>
        <a:spcBef>
          <a:spcPts val="0"/>
        </a:spcBef>
        <a:buFontTx/>
        <a:buNone/>
        <a:defRPr lang="en-US" sz="1100" kern="12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342900" indent="-342900" algn="l" defTabSz="486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 typeface="+mj-lt"/>
        <a:buAutoNum type="arabicPeriod"/>
        <a:defRPr lang="en-US" sz="16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6pPr>
      <a:lvl7pPr marL="583200" indent="-291600" algn="l" defTabSz="486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 typeface="+mj-lt"/>
        <a:buAutoNum type="alphaLcPeriod"/>
        <a:defRPr lang="en-US" sz="16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7pPr>
      <a:lvl8pPr marL="291600" indent="-291600" algn="l" defTabSz="486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Blip>
          <a:blip r:embed="rId37">
            <a:extLst>
              <a:ext uri="{96DAC541-7B7A-43D3-8B79-37D633B846F1}">
                <asvg:svgBlip xmlns:asvg="http://schemas.microsoft.com/office/drawing/2016/SVG/main" r:embed="rId38"/>
              </a:ext>
            </a:extLst>
          </a:blip>
        </a:buBlip>
        <a:defRPr lang="en-US" sz="16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8pPr>
      <a:lvl9pPr marL="291600" indent="-291600" algn="l" defTabSz="486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 typeface="Wingdings" panose="05000000000000000000" pitchFamily="2" charset="2"/>
        <a:buChar char="û"/>
        <a:defRPr lang="en-US" sz="16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5.png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10" Type="http://schemas.openxmlformats.org/officeDocument/2006/relationships/image" Target="../media/image8.sv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30.svg"/><Relationship Id="rId7" Type="http://schemas.openxmlformats.org/officeDocument/2006/relationships/image" Target="../media/image34.sv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3.png"/><Relationship Id="rId11" Type="http://schemas.openxmlformats.org/officeDocument/2006/relationships/image" Target="../media/image36.svg"/><Relationship Id="rId5" Type="http://schemas.openxmlformats.org/officeDocument/2006/relationships/image" Target="../media/image32.svg"/><Relationship Id="rId10" Type="http://schemas.openxmlformats.org/officeDocument/2006/relationships/image" Target="../media/image35.png"/><Relationship Id="rId4" Type="http://schemas.openxmlformats.org/officeDocument/2006/relationships/image" Target="../media/image31.png"/><Relationship Id="rId9" Type="http://schemas.openxmlformats.org/officeDocument/2006/relationships/image" Target="../media/image10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18.svg"/><Relationship Id="rId7" Type="http://schemas.openxmlformats.org/officeDocument/2006/relationships/image" Target="../media/image32.sv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1.png"/><Relationship Id="rId11" Type="http://schemas.openxmlformats.org/officeDocument/2006/relationships/image" Target="../media/image34.svg"/><Relationship Id="rId5" Type="http://schemas.openxmlformats.org/officeDocument/2006/relationships/image" Target="../media/image30.svg"/><Relationship Id="rId10" Type="http://schemas.openxmlformats.org/officeDocument/2006/relationships/image" Target="../media/image33.png"/><Relationship Id="rId4" Type="http://schemas.openxmlformats.org/officeDocument/2006/relationships/image" Target="../media/image29.png"/><Relationship Id="rId9" Type="http://schemas.openxmlformats.org/officeDocument/2006/relationships/image" Target="../media/image38.sv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8.svg"/><Relationship Id="rId3" Type="http://schemas.openxmlformats.org/officeDocument/2006/relationships/image" Target="../media/image40.svg"/><Relationship Id="rId7" Type="http://schemas.openxmlformats.org/officeDocument/2006/relationships/image" Target="../media/image44.svg"/><Relationship Id="rId12" Type="http://schemas.openxmlformats.org/officeDocument/2006/relationships/image" Target="../media/image37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3.png"/><Relationship Id="rId11" Type="http://schemas.openxmlformats.org/officeDocument/2006/relationships/image" Target="../media/image32.svg"/><Relationship Id="rId5" Type="http://schemas.openxmlformats.org/officeDocument/2006/relationships/image" Target="../media/image42.svg"/><Relationship Id="rId15" Type="http://schemas.openxmlformats.org/officeDocument/2006/relationships/image" Target="../media/image34.svg"/><Relationship Id="rId10" Type="http://schemas.openxmlformats.org/officeDocument/2006/relationships/image" Target="../media/image31.png"/><Relationship Id="rId4" Type="http://schemas.openxmlformats.org/officeDocument/2006/relationships/image" Target="../media/image41.png"/><Relationship Id="rId9" Type="http://schemas.openxmlformats.org/officeDocument/2006/relationships/image" Target="../media/image30.svg"/><Relationship Id="rId14" Type="http://schemas.openxmlformats.org/officeDocument/2006/relationships/image" Target="../media/image33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svg"/><Relationship Id="rId13" Type="http://schemas.openxmlformats.org/officeDocument/2006/relationships/image" Target="../media/image50.svg"/><Relationship Id="rId3" Type="http://schemas.openxmlformats.org/officeDocument/2006/relationships/tags" Target="../tags/tag65.xml"/><Relationship Id="rId7" Type="http://schemas.openxmlformats.org/officeDocument/2006/relationships/image" Target="../media/image45.png"/><Relationship Id="rId12" Type="http://schemas.openxmlformats.org/officeDocument/2006/relationships/image" Target="../media/image49.png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1.png"/><Relationship Id="rId11" Type="http://schemas.openxmlformats.org/officeDocument/2006/relationships/image" Target="../media/image48.sv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47.png"/><Relationship Id="rId4" Type="http://schemas.openxmlformats.org/officeDocument/2006/relationships/slideLayout" Target="../slideLayouts/slideLayout4.xml"/><Relationship Id="rId9" Type="http://schemas.openxmlformats.org/officeDocument/2006/relationships/chart" Target="../charts/char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3.sv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56.png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openxmlformats.org/officeDocument/2006/relationships/notesSlide" Target="../notesSlides/notesSlide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image" Target="../media/image60.svg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slide" Target="slide25.xml"/><Relationship Id="rId3" Type="http://schemas.openxmlformats.org/officeDocument/2006/relationships/slide" Target="slide20.xml"/><Relationship Id="rId7" Type="http://schemas.openxmlformats.org/officeDocument/2006/relationships/slide" Target="slide24.xml"/><Relationship Id="rId2" Type="http://schemas.openxmlformats.org/officeDocument/2006/relationships/slide" Target="slide19.xml"/><Relationship Id="rId1" Type="http://schemas.openxmlformats.org/officeDocument/2006/relationships/slideLayout" Target="../slideLayouts/slideLayout4.xml"/><Relationship Id="rId6" Type="http://schemas.openxmlformats.org/officeDocument/2006/relationships/slide" Target="slide23.xml"/><Relationship Id="rId5" Type="http://schemas.openxmlformats.org/officeDocument/2006/relationships/slide" Target="slide22.xml"/><Relationship Id="rId4" Type="http://schemas.openxmlformats.org/officeDocument/2006/relationships/slide" Target="slide2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sv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4.svg"/><Relationship Id="rId4" Type="http://schemas.openxmlformats.org/officeDocument/2006/relationships/image" Target="../media/image6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4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svg"/><Relationship Id="rId3" Type="http://schemas.openxmlformats.org/officeDocument/2006/relationships/image" Target="../media/image65.png"/><Relationship Id="rId7" Type="http://schemas.openxmlformats.org/officeDocument/2006/relationships/image" Target="../media/image69.png"/><Relationship Id="rId12" Type="http://schemas.openxmlformats.org/officeDocument/2006/relationships/image" Target="../media/image72.sv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0.xml"/><Relationship Id="rId6" Type="http://schemas.openxmlformats.org/officeDocument/2006/relationships/image" Target="../media/image68.svg"/><Relationship Id="rId11" Type="http://schemas.openxmlformats.org/officeDocument/2006/relationships/image" Target="../media/image71.png"/><Relationship Id="rId5" Type="http://schemas.openxmlformats.org/officeDocument/2006/relationships/image" Target="../media/image67.png"/><Relationship Id="rId10" Type="http://schemas.openxmlformats.org/officeDocument/2006/relationships/image" Target="../media/image20.svg"/><Relationship Id="rId4" Type="http://schemas.openxmlformats.org/officeDocument/2006/relationships/image" Target="../media/image66.svg"/><Relationship Id="rId9" Type="http://schemas.openxmlformats.org/officeDocument/2006/relationships/image" Target="../media/image19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svg"/><Relationship Id="rId3" Type="http://schemas.openxmlformats.org/officeDocument/2006/relationships/image" Target="../media/image74.svg"/><Relationship Id="rId7" Type="http://schemas.openxmlformats.org/officeDocument/2006/relationships/image" Target="../media/image77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76.svg"/><Relationship Id="rId5" Type="http://schemas.openxmlformats.org/officeDocument/2006/relationships/image" Target="../media/image75.png"/><Relationship Id="rId4" Type="http://schemas.openxmlformats.org/officeDocument/2006/relationships/chart" Target="../charts/char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sv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70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sv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1.xml"/><Relationship Id="rId6" Type="http://schemas.openxmlformats.org/officeDocument/2006/relationships/hyperlink" Target="https://www.pwc.com.tr/tr/sektorler/enerji/turkiye-elektrik-piyasasina-genel-bakis-2021.pdf" TargetMode="External"/><Relationship Id="rId5" Type="http://schemas.openxmlformats.org/officeDocument/2006/relationships/hyperlink" Target="https://www.enerdata.net/" TargetMode="External"/><Relationship Id="rId4" Type="http://schemas.openxmlformats.org/officeDocument/2006/relationships/hyperlink" Target="https://www.iea.org/reports/electricity-market-report-2023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tags" Target="../tags/tag42.xml"/><Relationship Id="rId7" Type="http://schemas.openxmlformats.org/officeDocument/2006/relationships/image" Target="../media/image11.pn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10" Type="http://schemas.openxmlformats.org/officeDocument/2006/relationships/image" Target="../media/image14.sv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4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13" Type="http://schemas.openxmlformats.org/officeDocument/2006/relationships/image" Target="../media/image1.png"/><Relationship Id="rId3" Type="http://schemas.openxmlformats.org/officeDocument/2006/relationships/tags" Target="../tags/tag48.xml"/><Relationship Id="rId7" Type="http://schemas.openxmlformats.org/officeDocument/2006/relationships/image" Target="../media/image9.png"/><Relationship Id="rId12" Type="http://schemas.openxmlformats.org/officeDocument/2006/relationships/image" Target="../media/image14.sv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6.svg"/><Relationship Id="rId11" Type="http://schemas.openxmlformats.org/officeDocument/2006/relationships/image" Target="../media/image13.png"/><Relationship Id="rId5" Type="http://schemas.openxmlformats.org/officeDocument/2006/relationships/image" Target="../media/image15.png"/><Relationship Id="rId10" Type="http://schemas.openxmlformats.org/officeDocument/2006/relationships/image" Target="../media/image18.sv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13" Type="http://schemas.openxmlformats.org/officeDocument/2006/relationships/image" Target="../media/image19.png"/><Relationship Id="rId3" Type="http://schemas.openxmlformats.org/officeDocument/2006/relationships/tags" Target="../tags/tag51.xml"/><Relationship Id="rId7" Type="http://schemas.openxmlformats.org/officeDocument/2006/relationships/image" Target="../media/image9.png"/><Relationship Id="rId12" Type="http://schemas.openxmlformats.org/officeDocument/2006/relationships/image" Target="../media/image14.svg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6.svg"/><Relationship Id="rId11" Type="http://schemas.openxmlformats.org/officeDocument/2006/relationships/image" Target="../media/image13.png"/><Relationship Id="rId5" Type="http://schemas.openxmlformats.org/officeDocument/2006/relationships/image" Target="../media/image15.png"/><Relationship Id="rId10" Type="http://schemas.openxmlformats.org/officeDocument/2006/relationships/image" Target="../media/image18.sv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7.png"/><Relationship Id="rId14" Type="http://schemas.openxmlformats.org/officeDocument/2006/relationships/image" Target="../media/image20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13" Type="http://schemas.openxmlformats.org/officeDocument/2006/relationships/image" Target="../media/image19.png"/><Relationship Id="rId3" Type="http://schemas.openxmlformats.org/officeDocument/2006/relationships/tags" Target="../tags/tag54.xml"/><Relationship Id="rId7" Type="http://schemas.openxmlformats.org/officeDocument/2006/relationships/image" Target="../media/image9.png"/><Relationship Id="rId12" Type="http://schemas.openxmlformats.org/officeDocument/2006/relationships/image" Target="../media/image14.svg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6.svg"/><Relationship Id="rId11" Type="http://schemas.openxmlformats.org/officeDocument/2006/relationships/image" Target="../media/image13.png"/><Relationship Id="rId5" Type="http://schemas.openxmlformats.org/officeDocument/2006/relationships/image" Target="../media/image15.png"/><Relationship Id="rId15" Type="http://schemas.openxmlformats.org/officeDocument/2006/relationships/image" Target="../media/image1.png"/><Relationship Id="rId10" Type="http://schemas.openxmlformats.org/officeDocument/2006/relationships/image" Target="../media/image18.sv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7.png"/><Relationship Id="rId14" Type="http://schemas.openxmlformats.org/officeDocument/2006/relationships/image" Target="../media/image20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13" Type="http://schemas.openxmlformats.org/officeDocument/2006/relationships/image" Target="../media/image24.svg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12" Type="http://schemas.openxmlformats.org/officeDocument/2006/relationships/image" Target="../media/image23.png"/><Relationship Id="rId17" Type="http://schemas.openxmlformats.org/officeDocument/2006/relationships/image" Target="../media/image28.svg"/><Relationship Id="rId2" Type="http://schemas.openxmlformats.org/officeDocument/2006/relationships/tags" Target="../tags/tag56.xml"/><Relationship Id="rId16" Type="http://schemas.openxmlformats.org/officeDocument/2006/relationships/image" Target="../media/image27.png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11" Type="http://schemas.openxmlformats.org/officeDocument/2006/relationships/image" Target="../media/image22.svg"/><Relationship Id="rId5" Type="http://schemas.openxmlformats.org/officeDocument/2006/relationships/tags" Target="../tags/tag59.xml"/><Relationship Id="rId15" Type="http://schemas.openxmlformats.org/officeDocument/2006/relationships/image" Target="../media/image26.svg"/><Relationship Id="rId10" Type="http://schemas.openxmlformats.org/officeDocument/2006/relationships/image" Target="../media/image21.png"/><Relationship Id="rId4" Type="http://schemas.openxmlformats.org/officeDocument/2006/relationships/tags" Target="../tags/tag58.xml"/><Relationship Id="rId9" Type="http://schemas.openxmlformats.org/officeDocument/2006/relationships/slideLayout" Target="../slideLayouts/slideLayout4.xml"/><Relationship Id="rId14" Type="http://schemas.openxmlformats.org/officeDocument/2006/relationships/image" Target="../media/image2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7" Type="http://schemas.openxmlformats.org/officeDocument/2006/relationships/image" Target="../media/image34.sv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3.png"/><Relationship Id="rId5" Type="http://schemas.openxmlformats.org/officeDocument/2006/relationships/image" Target="../media/image32.svg"/><Relationship Id="rId4" Type="http://schemas.openxmlformats.org/officeDocument/2006/relationships/image" Target="../media/image3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5" name="Turkey">
            <a:extLst>
              <a:ext uri="{FF2B5EF4-FFF2-40B4-BE49-F238E27FC236}">
                <a16:creationId xmlns:a16="http://schemas.microsoft.com/office/drawing/2014/main" id="{CC2FACE4-6A0A-4D27-8567-A7CF069EB96D}"/>
              </a:ext>
            </a:extLst>
          </p:cNvPr>
          <p:cNvSpPr>
            <a:spLocks noEditPoints="1"/>
          </p:cNvSpPr>
          <p:nvPr/>
        </p:nvSpPr>
        <p:spPr bwMode="gray">
          <a:xfrm>
            <a:off x="1846527" y="2366877"/>
            <a:ext cx="8746212" cy="3483288"/>
          </a:xfrm>
          <a:custGeom>
            <a:avLst/>
            <a:gdLst>
              <a:gd name="T0" fmla="*/ 20 w 888"/>
              <a:gd name="T1" fmla="*/ 116 h 340"/>
              <a:gd name="T2" fmla="*/ 27 w 888"/>
              <a:gd name="T3" fmla="*/ 107 h 340"/>
              <a:gd name="T4" fmla="*/ 63 w 888"/>
              <a:gd name="T5" fmla="*/ 93 h 340"/>
              <a:gd name="T6" fmla="*/ 52 w 888"/>
              <a:gd name="T7" fmla="*/ 101 h 340"/>
              <a:gd name="T8" fmla="*/ 887 w 888"/>
              <a:gd name="T9" fmla="*/ 259 h 340"/>
              <a:gd name="T10" fmla="*/ 850 w 888"/>
              <a:gd name="T11" fmla="*/ 224 h 340"/>
              <a:gd name="T12" fmla="*/ 845 w 888"/>
              <a:gd name="T13" fmla="*/ 165 h 340"/>
              <a:gd name="T14" fmla="*/ 853 w 888"/>
              <a:gd name="T15" fmla="*/ 137 h 340"/>
              <a:gd name="T16" fmla="*/ 802 w 888"/>
              <a:gd name="T17" fmla="*/ 73 h 340"/>
              <a:gd name="T18" fmla="*/ 761 w 888"/>
              <a:gd name="T19" fmla="*/ 32 h 340"/>
              <a:gd name="T20" fmla="*/ 678 w 888"/>
              <a:gd name="T21" fmla="*/ 63 h 340"/>
              <a:gd name="T22" fmla="*/ 542 w 888"/>
              <a:gd name="T23" fmla="*/ 57 h 340"/>
              <a:gd name="T24" fmla="*/ 491 w 888"/>
              <a:gd name="T25" fmla="*/ 51 h 340"/>
              <a:gd name="T26" fmla="*/ 442 w 888"/>
              <a:gd name="T27" fmla="*/ 30 h 340"/>
              <a:gd name="T28" fmla="*/ 385 w 888"/>
              <a:gd name="T29" fmla="*/ 16 h 340"/>
              <a:gd name="T30" fmla="*/ 272 w 888"/>
              <a:gd name="T31" fmla="*/ 42 h 340"/>
              <a:gd name="T32" fmla="*/ 203 w 888"/>
              <a:gd name="T33" fmla="*/ 53 h 340"/>
              <a:gd name="T34" fmla="*/ 120 w 888"/>
              <a:gd name="T35" fmla="*/ 14 h 340"/>
              <a:gd name="T36" fmla="*/ 79 w 888"/>
              <a:gd name="T37" fmla="*/ 10 h 340"/>
              <a:gd name="T38" fmla="*/ 52 w 888"/>
              <a:gd name="T39" fmla="*/ 28 h 340"/>
              <a:gd name="T40" fmla="*/ 50 w 888"/>
              <a:gd name="T41" fmla="*/ 47 h 340"/>
              <a:gd name="T42" fmla="*/ 50 w 888"/>
              <a:gd name="T43" fmla="*/ 86 h 340"/>
              <a:gd name="T44" fmla="*/ 107 w 888"/>
              <a:gd name="T45" fmla="*/ 65 h 340"/>
              <a:gd name="T46" fmla="*/ 165 w 888"/>
              <a:gd name="T47" fmla="*/ 81 h 340"/>
              <a:gd name="T48" fmla="*/ 92 w 888"/>
              <a:gd name="T49" fmla="*/ 91 h 340"/>
              <a:gd name="T50" fmla="*/ 76 w 888"/>
              <a:gd name="T51" fmla="*/ 142 h 340"/>
              <a:gd name="T52" fmla="*/ 83 w 888"/>
              <a:gd name="T53" fmla="*/ 186 h 340"/>
              <a:gd name="T54" fmla="*/ 108 w 888"/>
              <a:gd name="T55" fmla="*/ 234 h 340"/>
              <a:gd name="T56" fmla="*/ 146 w 888"/>
              <a:gd name="T57" fmla="*/ 297 h 340"/>
              <a:gd name="T58" fmla="*/ 250 w 888"/>
              <a:gd name="T59" fmla="*/ 310 h 340"/>
              <a:gd name="T60" fmla="*/ 359 w 888"/>
              <a:gd name="T61" fmla="*/ 325 h 340"/>
              <a:gd name="T62" fmla="*/ 477 w 888"/>
              <a:gd name="T63" fmla="*/ 298 h 340"/>
              <a:gd name="T64" fmla="*/ 495 w 888"/>
              <a:gd name="T65" fmla="*/ 329 h 340"/>
              <a:gd name="T66" fmla="*/ 515 w 888"/>
              <a:gd name="T67" fmla="*/ 330 h 340"/>
              <a:gd name="T68" fmla="*/ 525 w 888"/>
              <a:gd name="T69" fmla="*/ 308 h 340"/>
              <a:gd name="T70" fmla="*/ 546 w 888"/>
              <a:gd name="T71" fmla="*/ 296 h 340"/>
              <a:gd name="T72" fmla="*/ 622 w 888"/>
              <a:gd name="T73" fmla="*/ 290 h 340"/>
              <a:gd name="T74" fmla="*/ 699 w 888"/>
              <a:gd name="T75" fmla="*/ 271 h 340"/>
              <a:gd name="T76" fmla="*/ 746 w 888"/>
              <a:gd name="T77" fmla="*/ 270 h 340"/>
              <a:gd name="T78" fmla="*/ 781 w 888"/>
              <a:gd name="T79" fmla="*/ 274 h 340"/>
              <a:gd name="T80" fmla="*/ 835 w 888"/>
              <a:gd name="T81" fmla="*/ 267 h 340"/>
              <a:gd name="T82" fmla="*/ 888 w 888"/>
              <a:gd name="T83" fmla="*/ 265 h 340"/>
              <a:gd name="T84" fmla="*/ 81 w 888"/>
              <a:gd name="T85" fmla="*/ 204 h 3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888" h="340">
                <a:moveTo>
                  <a:pt x="3" y="126"/>
                </a:moveTo>
                <a:cubicBezTo>
                  <a:pt x="17" y="125"/>
                  <a:pt x="17" y="125"/>
                  <a:pt x="17" y="125"/>
                </a:cubicBezTo>
                <a:cubicBezTo>
                  <a:pt x="20" y="116"/>
                  <a:pt x="20" y="116"/>
                  <a:pt x="20" y="116"/>
                </a:cubicBezTo>
                <a:cubicBezTo>
                  <a:pt x="0" y="116"/>
                  <a:pt x="0" y="116"/>
                  <a:pt x="0" y="116"/>
                </a:cubicBezTo>
                <a:lnTo>
                  <a:pt x="3" y="126"/>
                </a:lnTo>
                <a:close/>
                <a:moveTo>
                  <a:pt x="27" y="107"/>
                </a:moveTo>
                <a:cubicBezTo>
                  <a:pt x="30" y="116"/>
                  <a:pt x="40" y="122"/>
                  <a:pt x="39" y="106"/>
                </a:cubicBezTo>
                <a:cubicBezTo>
                  <a:pt x="38" y="90"/>
                  <a:pt x="27" y="107"/>
                  <a:pt x="27" y="107"/>
                </a:cubicBezTo>
                <a:close/>
                <a:moveTo>
                  <a:pt x="63" y="93"/>
                </a:moveTo>
                <a:cubicBezTo>
                  <a:pt x="45" y="93"/>
                  <a:pt x="45" y="93"/>
                  <a:pt x="45" y="93"/>
                </a:cubicBezTo>
                <a:cubicBezTo>
                  <a:pt x="45" y="114"/>
                  <a:pt x="45" y="114"/>
                  <a:pt x="45" y="114"/>
                </a:cubicBezTo>
                <a:cubicBezTo>
                  <a:pt x="52" y="101"/>
                  <a:pt x="52" y="101"/>
                  <a:pt x="52" y="101"/>
                </a:cubicBezTo>
                <a:lnTo>
                  <a:pt x="63" y="93"/>
                </a:lnTo>
                <a:close/>
                <a:moveTo>
                  <a:pt x="888" y="265"/>
                </a:moveTo>
                <a:cubicBezTo>
                  <a:pt x="887" y="261"/>
                  <a:pt x="887" y="259"/>
                  <a:pt x="887" y="259"/>
                </a:cubicBezTo>
                <a:cubicBezTo>
                  <a:pt x="871" y="254"/>
                  <a:pt x="871" y="254"/>
                  <a:pt x="871" y="254"/>
                </a:cubicBezTo>
                <a:cubicBezTo>
                  <a:pt x="871" y="236"/>
                  <a:pt x="871" y="236"/>
                  <a:pt x="871" y="236"/>
                </a:cubicBezTo>
                <a:cubicBezTo>
                  <a:pt x="850" y="224"/>
                  <a:pt x="850" y="224"/>
                  <a:pt x="850" y="224"/>
                </a:cubicBezTo>
                <a:cubicBezTo>
                  <a:pt x="850" y="224"/>
                  <a:pt x="863" y="205"/>
                  <a:pt x="858" y="203"/>
                </a:cubicBezTo>
                <a:cubicBezTo>
                  <a:pt x="853" y="201"/>
                  <a:pt x="846" y="180"/>
                  <a:pt x="846" y="180"/>
                </a:cubicBezTo>
                <a:cubicBezTo>
                  <a:pt x="845" y="165"/>
                  <a:pt x="845" y="165"/>
                  <a:pt x="845" y="165"/>
                </a:cubicBezTo>
                <a:cubicBezTo>
                  <a:pt x="834" y="149"/>
                  <a:pt x="834" y="149"/>
                  <a:pt x="834" y="149"/>
                </a:cubicBezTo>
                <a:cubicBezTo>
                  <a:pt x="850" y="147"/>
                  <a:pt x="850" y="147"/>
                  <a:pt x="850" y="147"/>
                </a:cubicBezTo>
                <a:cubicBezTo>
                  <a:pt x="850" y="147"/>
                  <a:pt x="851" y="142"/>
                  <a:pt x="853" y="137"/>
                </a:cubicBezTo>
                <a:cubicBezTo>
                  <a:pt x="850" y="127"/>
                  <a:pt x="846" y="116"/>
                  <a:pt x="843" y="116"/>
                </a:cubicBezTo>
                <a:cubicBezTo>
                  <a:pt x="838" y="115"/>
                  <a:pt x="822" y="124"/>
                  <a:pt x="814" y="113"/>
                </a:cubicBezTo>
                <a:cubicBezTo>
                  <a:pt x="806" y="102"/>
                  <a:pt x="808" y="88"/>
                  <a:pt x="802" y="73"/>
                </a:cubicBezTo>
                <a:cubicBezTo>
                  <a:pt x="796" y="58"/>
                  <a:pt x="794" y="50"/>
                  <a:pt x="794" y="50"/>
                </a:cubicBezTo>
                <a:cubicBezTo>
                  <a:pt x="777" y="50"/>
                  <a:pt x="777" y="50"/>
                  <a:pt x="777" y="50"/>
                </a:cubicBezTo>
                <a:cubicBezTo>
                  <a:pt x="777" y="50"/>
                  <a:pt x="775" y="35"/>
                  <a:pt x="761" y="32"/>
                </a:cubicBezTo>
                <a:cubicBezTo>
                  <a:pt x="747" y="29"/>
                  <a:pt x="741" y="39"/>
                  <a:pt x="741" y="39"/>
                </a:cubicBezTo>
                <a:cubicBezTo>
                  <a:pt x="715" y="34"/>
                  <a:pt x="715" y="34"/>
                  <a:pt x="715" y="34"/>
                </a:cubicBezTo>
                <a:cubicBezTo>
                  <a:pt x="706" y="43"/>
                  <a:pt x="688" y="59"/>
                  <a:pt x="678" y="63"/>
                </a:cubicBezTo>
                <a:cubicBezTo>
                  <a:pt x="665" y="68"/>
                  <a:pt x="621" y="62"/>
                  <a:pt x="621" y="62"/>
                </a:cubicBezTo>
                <a:cubicBezTo>
                  <a:pt x="585" y="72"/>
                  <a:pt x="585" y="72"/>
                  <a:pt x="585" y="72"/>
                </a:cubicBezTo>
                <a:cubicBezTo>
                  <a:pt x="542" y="57"/>
                  <a:pt x="542" y="57"/>
                  <a:pt x="542" y="57"/>
                </a:cubicBezTo>
                <a:cubicBezTo>
                  <a:pt x="525" y="63"/>
                  <a:pt x="525" y="63"/>
                  <a:pt x="525" y="63"/>
                </a:cubicBezTo>
                <a:cubicBezTo>
                  <a:pt x="525" y="63"/>
                  <a:pt x="516" y="40"/>
                  <a:pt x="508" y="42"/>
                </a:cubicBezTo>
                <a:cubicBezTo>
                  <a:pt x="500" y="44"/>
                  <a:pt x="491" y="51"/>
                  <a:pt x="491" y="51"/>
                </a:cubicBezTo>
                <a:cubicBezTo>
                  <a:pt x="475" y="40"/>
                  <a:pt x="475" y="40"/>
                  <a:pt x="475" y="40"/>
                </a:cubicBezTo>
                <a:cubicBezTo>
                  <a:pt x="472" y="25"/>
                  <a:pt x="472" y="25"/>
                  <a:pt x="472" y="25"/>
                </a:cubicBezTo>
                <a:cubicBezTo>
                  <a:pt x="442" y="30"/>
                  <a:pt x="442" y="30"/>
                  <a:pt x="442" y="30"/>
                </a:cubicBezTo>
                <a:cubicBezTo>
                  <a:pt x="424" y="20"/>
                  <a:pt x="424" y="20"/>
                  <a:pt x="424" y="20"/>
                </a:cubicBezTo>
                <a:cubicBezTo>
                  <a:pt x="421" y="6"/>
                  <a:pt x="421" y="6"/>
                  <a:pt x="421" y="6"/>
                </a:cubicBezTo>
                <a:cubicBezTo>
                  <a:pt x="421" y="6"/>
                  <a:pt x="398" y="16"/>
                  <a:pt x="385" y="16"/>
                </a:cubicBezTo>
                <a:cubicBezTo>
                  <a:pt x="373" y="16"/>
                  <a:pt x="355" y="10"/>
                  <a:pt x="343" y="11"/>
                </a:cubicBezTo>
                <a:cubicBezTo>
                  <a:pt x="332" y="12"/>
                  <a:pt x="297" y="26"/>
                  <a:pt x="291" y="32"/>
                </a:cubicBezTo>
                <a:cubicBezTo>
                  <a:pt x="286" y="39"/>
                  <a:pt x="272" y="42"/>
                  <a:pt x="272" y="42"/>
                </a:cubicBezTo>
                <a:cubicBezTo>
                  <a:pt x="266" y="58"/>
                  <a:pt x="266" y="58"/>
                  <a:pt x="266" y="58"/>
                </a:cubicBezTo>
                <a:cubicBezTo>
                  <a:pt x="266" y="58"/>
                  <a:pt x="266" y="62"/>
                  <a:pt x="252" y="59"/>
                </a:cubicBezTo>
                <a:cubicBezTo>
                  <a:pt x="239" y="56"/>
                  <a:pt x="216" y="53"/>
                  <a:pt x="203" y="53"/>
                </a:cubicBezTo>
                <a:cubicBezTo>
                  <a:pt x="191" y="53"/>
                  <a:pt x="151" y="44"/>
                  <a:pt x="151" y="44"/>
                </a:cubicBezTo>
                <a:cubicBezTo>
                  <a:pt x="151" y="44"/>
                  <a:pt x="127" y="47"/>
                  <a:pt x="124" y="33"/>
                </a:cubicBezTo>
                <a:cubicBezTo>
                  <a:pt x="122" y="26"/>
                  <a:pt x="121" y="19"/>
                  <a:pt x="120" y="14"/>
                </a:cubicBezTo>
                <a:cubicBezTo>
                  <a:pt x="111" y="15"/>
                  <a:pt x="97" y="13"/>
                  <a:pt x="97" y="13"/>
                </a:cubicBezTo>
                <a:cubicBezTo>
                  <a:pt x="87" y="0"/>
                  <a:pt x="87" y="0"/>
                  <a:pt x="87" y="0"/>
                </a:cubicBezTo>
                <a:cubicBezTo>
                  <a:pt x="79" y="10"/>
                  <a:pt x="79" y="10"/>
                  <a:pt x="79" y="10"/>
                </a:cubicBezTo>
                <a:cubicBezTo>
                  <a:pt x="59" y="8"/>
                  <a:pt x="59" y="8"/>
                  <a:pt x="59" y="8"/>
                </a:cubicBezTo>
                <a:cubicBezTo>
                  <a:pt x="50" y="23"/>
                  <a:pt x="50" y="23"/>
                  <a:pt x="50" y="23"/>
                </a:cubicBezTo>
                <a:cubicBezTo>
                  <a:pt x="52" y="28"/>
                  <a:pt x="52" y="28"/>
                  <a:pt x="52" y="28"/>
                </a:cubicBezTo>
                <a:cubicBezTo>
                  <a:pt x="52" y="28"/>
                  <a:pt x="59" y="27"/>
                  <a:pt x="62" y="32"/>
                </a:cubicBezTo>
                <a:cubicBezTo>
                  <a:pt x="65" y="37"/>
                  <a:pt x="64" y="45"/>
                  <a:pt x="64" y="45"/>
                </a:cubicBezTo>
                <a:cubicBezTo>
                  <a:pt x="64" y="45"/>
                  <a:pt x="51" y="41"/>
                  <a:pt x="50" y="47"/>
                </a:cubicBezTo>
                <a:cubicBezTo>
                  <a:pt x="49" y="53"/>
                  <a:pt x="54" y="56"/>
                  <a:pt x="52" y="63"/>
                </a:cubicBezTo>
                <a:cubicBezTo>
                  <a:pt x="50" y="70"/>
                  <a:pt x="47" y="75"/>
                  <a:pt x="47" y="75"/>
                </a:cubicBezTo>
                <a:cubicBezTo>
                  <a:pt x="47" y="75"/>
                  <a:pt x="35" y="87"/>
                  <a:pt x="50" y="86"/>
                </a:cubicBezTo>
                <a:cubicBezTo>
                  <a:pt x="65" y="85"/>
                  <a:pt x="76" y="80"/>
                  <a:pt x="76" y="80"/>
                </a:cubicBezTo>
                <a:cubicBezTo>
                  <a:pt x="76" y="80"/>
                  <a:pt x="72" y="90"/>
                  <a:pt x="80" y="87"/>
                </a:cubicBezTo>
                <a:cubicBezTo>
                  <a:pt x="88" y="84"/>
                  <a:pt x="107" y="65"/>
                  <a:pt x="107" y="65"/>
                </a:cubicBezTo>
                <a:cubicBezTo>
                  <a:pt x="107" y="65"/>
                  <a:pt x="141" y="53"/>
                  <a:pt x="152" y="61"/>
                </a:cubicBezTo>
                <a:cubicBezTo>
                  <a:pt x="163" y="69"/>
                  <a:pt x="197" y="74"/>
                  <a:pt x="197" y="74"/>
                </a:cubicBezTo>
                <a:cubicBezTo>
                  <a:pt x="197" y="74"/>
                  <a:pt x="166" y="78"/>
                  <a:pt x="165" y="81"/>
                </a:cubicBezTo>
                <a:cubicBezTo>
                  <a:pt x="164" y="84"/>
                  <a:pt x="159" y="93"/>
                  <a:pt x="159" y="93"/>
                </a:cubicBezTo>
                <a:cubicBezTo>
                  <a:pt x="126" y="94"/>
                  <a:pt x="126" y="94"/>
                  <a:pt x="126" y="94"/>
                </a:cubicBezTo>
                <a:cubicBezTo>
                  <a:pt x="92" y="91"/>
                  <a:pt x="92" y="91"/>
                  <a:pt x="92" y="91"/>
                </a:cubicBezTo>
                <a:cubicBezTo>
                  <a:pt x="92" y="91"/>
                  <a:pt x="66" y="97"/>
                  <a:pt x="62" y="105"/>
                </a:cubicBezTo>
                <a:cubicBezTo>
                  <a:pt x="58" y="113"/>
                  <a:pt x="49" y="143"/>
                  <a:pt x="49" y="143"/>
                </a:cubicBezTo>
                <a:cubicBezTo>
                  <a:pt x="76" y="142"/>
                  <a:pt x="76" y="142"/>
                  <a:pt x="76" y="142"/>
                </a:cubicBezTo>
                <a:cubicBezTo>
                  <a:pt x="76" y="142"/>
                  <a:pt x="72" y="151"/>
                  <a:pt x="77" y="159"/>
                </a:cubicBezTo>
                <a:cubicBezTo>
                  <a:pt x="82" y="167"/>
                  <a:pt x="88" y="175"/>
                  <a:pt x="88" y="175"/>
                </a:cubicBezTo>
                <a:cubicBezTo>
                  <a:pt x="83" y="186"/>
                  <a:pt x="83" y="186"/>
                  <a:pt x="83" y="186"/>
                </a:cubicBezTo>
                <a:cubicBezTo>
                  <a:pt x="93" y="201"/>
                  <a:pt x="93" y="201"/>
                  <a:pt x="93" y="201"/>
                </a:cubicBezTo>
                <a:cubicBezTo>
                  <a:pt x="84" y="212"/>
                  <a:pt x="84" y="212"/>
                  <a:pt x="84" y="212"/>
                </a:cubicBezTo>
                <a:cubicBezTo>
                  <a:pt x="108" y="234"/>
                  <a:pt x="108" y="234"/>
                  <a:pt x="108" y="234"/>
                </a:cubicBezTo>
                <a:cubicBezTo>
                  <a:pt x="106" y="258"/>
                  <a:pt x="106" y="258"/>
                  <a:pt x="106" y="258"/>
                </a:cubicBezTo>
                <a:cubicBezTo>
                  <a:pt x="140" y="275"/>
                  <a:pt x="140" y="275"/>
                  <a:pt x="140" y="275"/>
                </a:cubicBezTo>
                <a:cubicBezTo>
                  <a:pt x="146" y="297"/>
                  <a:pt x="146" y="297"/>
                  <a:pt x="146" y="297"/>
                </a:cubicBezTo>
                <a:cubicBezTo>
                  <a:pt x="146" y="297"/>
                  <a:pt x="143" y="285"/>
                  <a:pt x="162" y="290"/>
                </a:cubicBezTo>
                <a:cubicBezTo>
                  <a:pt x="181" y="295"/>
                  <a:pt x="178" y="312"/>
                  <a:pt x="208" y="315"/>
                </a:cubicBezTo>
                <a:cubicBezTo>
                  <a:pt x="238" y="318"/>
                  <a:pt x="250" y="317"/>
                  <a:pt x="250" y="310"/>
                </a:cubicBezTo>
                <a:cubicBezTo>
                  <a:pt x="250" y="303"/>
                  <a:pt x="252" y="284"/>
                  <a:pt x="262" y="283"/>
                </a:cubicBezTo>
                <a:cubicBezTo>
                  <a:pt x="272" y="282"/>
                  <a:pt x="299" y="289"/>
                  <a:pt x="313" y="294"/>
                </a:cubicBezTo>
                <a:cubicBezTo>
                  <a:pt x="327" y="299"/>
                  <a:pt x="313" y="326"/>
                  <a:pt x="359" y="325"/>
                </a:cubicBezTo>
                <a:cubicBezTo>
                  <a:pt x="405" y="324"/>
                  <a:pt x="406" y="299"/>
                  <a:pt x="422" y="294"/>
                </a:cubicBezTo>
                <a:cubicBezTo>
                  <a:pt x="438" y="289"/>
                  <a:pt x="450" y="285"/>
                  <a:pt x="457" y="291"/>
                </a:cubicBezTo>
                <a:cubicBezTo>
                  <a:pt x="464" y="297"/>
                  <a:pt x="466" y="303"/>
                  <a:pt x="477" y="298"/>
                </a:cubicBezTo>
                <a:cubicBezTo>
                  <a:pt x="488" y="293"/>
                  <a:pt x="495" y="277"/>
                  <a:pt x="502" y="284"/>
                </a:cubicBezTo>
                <a:cubicBezTo>
                  <a:pt x="509" y="291"/>
                  <a:pt x="501" y="300"/>
                  <a:pt x="498" y="306"/>
                </a:cubicBezTo>
                <a:cubicBezTo>
                  <a:pt x="495" y="312"/>
                  <a:pt x="488" y="324"/>
                  <a:pt x="495" y="329"/>
                </a:cubicBezTo>
                <a:cubicBezTo>
                  <a:pt x="496" y="330"/>
                  <a:pt x="497" y="331"/>
                  <a:pt x="496" y="333"/>
                </a:cubicBezTo>
                <a:cubicBezTo>
                  <a:pt x="499" y="335"/>
                  <a:pt x="506" y="340"/>
                  <a:pt x="509" y="339"/>
                </a:cubicBezTo>
                <a:cubicBezTo>
                  <a:pt x="513" y="338"/>
                  <a:pt x="515" y="330"/>
                  <a:pt x="515" y="330"/>
                </a:cubicBezTo>
                <a:cubicBezTo>
                  <a:pt x="515" y="321"/>
                  <a:pt x="515" y="321"/>
                  <a:pt x="515" y="321"/>
                </a:cubicBezTo>
                <a:cubicBezTo>
                  <a:pt x="515" y="321"/>
                  <a:pt x="529" y="327"/>
                  <a:pt x="530" y="319"/>
                </a:cubicBezTo>
                <a:cubicBezTo>
                  <a:pt x="532" y="306"/>
                  <a:pt x="525" y="308"/>
                  <a:pt x="525" y="308"/>
                </a:cubicBezTo>
                <a:cubicBezTo>
                  <a:pt x="524" y="287"/>
                  <a:pt x="524" y="287"/>
                  <a:pt x="524" y="287"/>
                </a:cubicBezTo>
                <a:cubicBezTo>
                  <a:pt x="524" y="287"/>
                  <a:pt x="538" y="282"/>
                  <a:pt x="540" y="286"/>
                </a:cubicBezTo>
                <a:cubicBezTo>
                  <a:pt x="542" y="290"/>
                  <a:pt x="525" y="296"/>
                  <a:pt x="546" y="296"/>
                </a:cubicBezTo>
                <a:cubicBezTo>
                  <a:pt x="567" y="296"/>
                  <a:pt x="582" y="288"/>
                  <a:pt x="582" y="288"/>
                </a:cubicBezTo>
                <a:cubicBezTo>
                  <a:pt x="582" y="288"/>
                  <a:pt x="593" y="276"/>
                  <a:pt x="596" y="277"/>
                </a:cubicBezTo>
                <a:cubicBezTo>
                  <a:pt x="599" y="278"/>
                  <a:pt x="622" y="290"/>
                  <a:pt x="622" y="290"/>
                </a:cubicBezTo>
                <a:cubicBezTo>
                  <a:pt x="622" y="290"/>
                  <a:pt x="634" y="295"/>
                  <a:pt x="645" y="294"/>
                </a:cubicBezTo>
                <a:cubicBezTo>
                  <a:pt x="656" y="293"/>
                  <a:pt x="661" y="290"/>
                  <a:pt x="670" y="287"/>
                </a:cubicBezTo>
                <a:cubicBezTo>
                  <a:pt x="679" y="284"/>
                  <a:pt x="686" y="272"/>
                  <a:pt x="699" y="271"/>
                </a:cubicBezTo>
                <a:cubicBezTo>
                  <a:pt x="712" y="270"/>
                  <a:pt x="718" y="269"/>
                  <a:pt x="723" y="271"/>
                </a:cubicBezTo>
                <a:cubicBezTo>
                  <a:pt x="728" y="273"/>
                  <a:pt x="723" y="278"/>
                  <a:pt x="732" y="277"/>
                </a:cubicBezTo>
                <a:cubicBezTo>
                  <a:pt x="741" y="276"/>
                  <a:pt x="746" y="270"/>
                  <a:pt x="746" y="270"/>
                </a:cubicBezTo>
                <a:cubicBezTo>
                  <a:pt x="746" y="270"/>
                  <a:pt x="751" y="268"/>
                  <a:pt x="759" y="267"/>
                </a:cubicBezTo>
                <a:cubicBezTo>
                  <a:pt x="767" y="266"/>
                  <a:pt x="769" y="255"/>
                  <a:pt x="772" y="257"/>
                </a:cubicBezTo>
                <a:cubicBezTo>
                  <a:pt x="775" y="259"/>
                  <a:pt x="769" y="277"/>
                  <a:pt x="781" y="274"/>
                </a:cubicBezTo>
                <a:cubicBezTo>
                  <a:pt x="793" y="271"/>
                  <a:pt x="792" y="258"/>
                  <a:pt x="792" y="258"/>
                </a:cubicBezTo>
                <a:cubicBezTo>
                  <a:pt x="818" y="258"/>
                  <a:pt x="818" y="258"/>
                  <a:pt x="818" y="258"/>
                </a:cubicBezTo>
                <a:cubicBezTo>
                  <a:pt x="818" y="258"/>
                  <a:pt x="827" y="269"/>
                  <a:pt x="835" y="267"/>
                </a:cubicBezTo>
                <a:cubicBezTo>
                  <a:pt x="843" y="265"/>
                  <a:pt x="835" y="257"/>
                  <a:pt x="849" y="258"/>
                </a:cubicBezTo>
                <a:cubicBezTo>
                  <a:pt x="863" y="259"/>
                  <a:pt x="861" y="276"/>
                  <a:pt x="861" y="276"/>
                </a:cubicBezTo>
                <a:lnTo>
                  <a:pt x="888" y="265"/>
                </a:lnTo>
                <a:close/>
                <a:moveTo>
                  <a:pt x="67" y="189"/>
                </a:moveTo>
                <a:cubicBezTo>
                  <a:pt x="63" y="185"/>
                  <a:pt x="61" y="207"/>
                  <a:pt x="67" y="217"/>
                </a:cubicBezTo>
                <a:cubicBezTo>
                  <a:pt x="72" y="226"/>
                  <a:pt x="79" y="208"/>
                  <a:pt x="81" y="204"/>
                </a:cubicBezTo>
                <a:cubicBezTo>
                  <a:pt x="83" y="200"/>
                  <a:pt x="71" y="193"/>
                  <a:pt x="67" y="189"/>
                </a:cubicBezTo>
                <a:close/>
              </a:path>
            </a:pathLst>
          </a:custGeom>
          <a:solidFill>
            <a:schemeClr val="accent6"/>
          </a:solidFill>
          <a:ln w="0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6" name="EMPOWER_LAYOUTTOOLS_FIT_TO_AREA" hidden="1">
            <a:extLst>
              <a:ext uri="{FF2B5EF4-FFF2-40B4-BE49-F238E27FC236}">
                <a16:creationId xmlns:a16="http://schemas.microsoft.com/office/drawing/2014/main" id="{005E49EE-4546-424F-AD5E-C83CA22314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0" cy="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de-DE" sz="1600" dirty="0">
              <a:solidFill>
                <a:schemeClr val="tx1"/>
              </a:solidFill>
            </a:endParaRPr>
          </a:p>
        </p:txBody>
      </p:sp>
      <p:pic>
        <p:nvPicPr>
          <p:cNvPr id="11" name="Grafik 10" descr="Strommast Silhouette">
            <a:extLst>
              <a:ext uri="{FF2B5EF4-FFF2-40B4-BE49-F238E27FC236}">
                <a16:creationId xmlns:a16="http://schemas.microsoft.com/office/drawing/2014/main" id="{55093E26-173F-33EB-928C-3F5A1113C4D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473264" y="4182893"/>
            <a:ext cx="654627" cy="654627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B2148D71-3F99-B63F-1890-3429CBFD91ED}"/>
              </a:ext>
            </a:extLst>
          </p:cNvPr>
          <p:cNvSpPr txBox="1"/>
          <p:nvPr/>
        </p:nvSpPr>
        <p:spPr>
          <a:xfrm>
            <a:off x="393856" y="345954"/>
            <a:ext cx="8068236" cy="914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4000" b="1" i="0" u="none" dirty="0" err="1">
                <a:latin typeface="+mj-lt"/>
              </a:rPr>
              <a:t>How</a:t>
            </a:r>
            <a:r>
              <a:rPr lang="de-DE" sz="4000" b="1" i="0" u="none" dirty="0">
                <a:latin typeface="+mj-lt"/>
              </a:rPr>
              <a:t> </a:t>
            </a:r>
            <a:r>
              <a:rPr lang="de-DE" sz="4000" b="1" i="0" u="none" dirty="0" err="1">
                <a:latin typeface="+mj-lt"/>
              </a:rPr>
              <a:t>to</a:t>
            </a:r>
            <a:r>
              <a:rPr lang="de-DE" sz="4000" b="1" i="0" u="none" dirty="0">
                <a:latin typeface="+mj-lt"/>
              </a:rPr>
              <a:t> </a:t>
            </a:r>
            <a:r>
              <a:rPr lang="de-DE" sz="4000" b="1" i="0" u="none" dirty="0" err="1">
                <a:latin typeface="+mj-lt"/>
              </a:rPr>
              <a:t>get</a:t>
            </a:r>
            <a:r>
              <a:rPr lang="de-DE" sz="4000" b="1" i="0" u="none" dirty="0">
                <a:latin typeface="+mj-lt"/>
              </a:rPr>
              <a:t> </a:t>
            </a:r>
            <a:r>
              <a:rPr lang="de-DE" sz="4000" b="1" i="0" u="none" dirty="0" err="1">
                <a:latin typeface="+mj-lt"/>
              </a:rPr>
              <a:t>rich</a:t>
            </a:r>
            <a:r>
              <a:rPr lang="de-DE" sz="4000" b="1" i="0" u="none" dirty="0">
                <a:latin typeface="+mj-lt"/>
              </a:rPr>
              <a:t> fast – </a:t>
            </a:r>
            <a:r>
              <a:rPr lang="de-DE" sz="4000" b="1" i="0" u="none" dirty="0" err="1">
                <a:latin typeface="+mj-lt"/>
              </a:rPr>
              <a:t>the</a:t>
            </a:r>
            <a:r>
              <a:rPr lang="de-DE" sz="4000" b="1" i="0" u="none" dirty="0">
                <a:latin typeface="+mj-lt"/>
              </a:rPr>
              <a:t> </a:t>
            </a:r>
            <a:r>
              <a:rPr lang="de-DE" sz="4000" b="1" i="0" u="none" dirty="0" err="1">
                <a:latin typeface="+mj-lt"/>
              </a:rPr>
              <a:t>turkish</a:t>
            </a:r>
            <a:r>
              <a:rPr lang="de-DE" sz="4000" b="1" i="0" u="none" dirty="0">
                <a:latin typeface="+mj-lt"/>
              </a:rPr>
              <a:t> </a:t>
            </a:r>
            <a:r>
              <a:rPr lang="de-DE" sz="4000" b="1" i="0" u="none" dirty="0" err="1">
                <a:latin typeface="+mj-lt"/>
              </a:rPr>
              <a:t>way</a:t>
            </a:r>
            <a:endParaRPr lang="de-DE" sz="4000" b="1" i="0" u="none" dirty="0">
              <a:latin typeface="+mj-lt"/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67B2B894-EE24-4F6C-F513-16D26FED8C5E}"/>
              </a:ext>
            </a:extLst>
          </p:cNvPr>
          <p:cNvSpPr txBox="1"/>
          <p:nvPr/>
        </p:nvSpPr>
        <p:spPr>
          <a:xfrm>
            <a:off x="393856" y="1101775"/>
            <a:ext cx="4651480" cy="317157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i="0" u="none" dirty="0" err="1"/>
              <a:t>Forecasting</a:t>
            </a:r>
            <a:r>
              <a:rPr lang="de-DE" sz="1600" b="1" i="0" u="none" dirty="0"/>
              <a:t> </a:t>
            </a:r>
            <a:r>
              <a:rPr lang="de-DE" sz="1600" b="1" i="0" u="none" dirty="0" err="1"/>
              <a:t>the</a:t>
            </a:r>
            <a:r>
              <a:rPr lang="de-DE" sz="1600" b="1" i="0" u="none" dirty="0"/>
              <a:t> </a:t>
            </a:r>
            <a:r>
              <a:rPr lang="de-DE" sz="1600" b="1" i="0" u="none" dirty="0" err="1"/>
              <a:t>in</a:t>
            </a:r>
            <a:r>
              <a:rPr lang="de-DE" sz="1600" b="1" dirty="0" err="1"/>
              <a:t>traday</a:t>
            </a:r>
            <a:r>
              <a:rPr lang="de-DE" sz="1600" b="1" dirty="0"/>
              <a:t> </a:t>
            </a:r>
            <a:r>
              <a:rPr lang="de-DE" sz="1600" b="1" dirty="0" err="1"/>
              <a:t>electricity</a:t>
            </a:r>
            <a:r>
              <a:rPr lang="de-DE" sz="1600" b="1" dirty="0"/>
              <a:t> </a:t>
            </a:r>
            <a:r>
              <a:rPr lang="de-DE" sz="1600" b="1" dirty="0" err="1"/>
              <a:t>market</a:t>
            </a:r>
            <a:r>
              <a:rPr lang="de-DE" sz="1600" b="1" dirty="0"/>
              <a:t> in Turkey</a:t>
            </a:r>
          </a:p>
        </p:txBody>
      </p:sp>
      <p:pic>
        <p:nvPicPr>
          <p:cNvPr id="72" name="Grafik 71" descr="Solarmodule Silhouette">
            <a:extLst>
              <a:ext uri="{FF2B5EF4-FFF2-40B4-BE49-F238E27FC236}">
                <a16:creationId xmlns:a16="http://schemas.microsoft.com/office/drawing/2014/main" id="{3E930508-9DAB-1DB7-D99D-DA4F35A19D0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515252" y="3706373"/>
            <a:ext cx="469688" cy="469688"/>
          </a:xfrm>
          <a:prstGeom prst="rect">
            <a:avLst/>
          </a:prstGeom>
        </p:spPr>
      </p:pic>
      <p:pic>
        <p:nvPicPr>
          <p:cNvPr id="3" name="Grafik 2" descr="Fabrik Silhouette">
            <a:extLst>
              <a:ext uri="{FF2B5EF4-FFF2-40B4-BE49-F238E27FC236}">
                <a16:creationId xmlns:a16="http://schemas.microsoft.com/office/drawing/2014/main" id="{2C5DAC48-5F08-FFA7-9D63-076808FD809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052492" y="3379059"/>
            <a:ext cx="654627" cy="65462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2196350"/>
      </p:ext>
    </p:extLst>
  </p:cSld>
  <p:clrMapOvr>
    <a:masterClrMapping/>
  </p:clrMapOvr>
  <p:transition spd="slow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Rechteck 52">
            <a:extLst>
              <a:ext uri="{FF2B5EF4-FFF2-40B4-BE49-F238E27FC236}">
                <a16:creationId xmlns:a16="http://schemas.microsoft.com/office/drawing/2014/main" id="{88434E5F-292E-85ED-1A40-E79CEB24F56E}"/>
              </a:ext>
            </a:extLst>
          </p:cNvPr>
          <p:cNvSpPr/>
          <p:nvPr/>
        </p:nvSpPr>
        <p:spPr>
          <a:xfrm>
            <a:off x="1076960" y="1290320"/>
            <a:ext cx="3220720" cy="5832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r>
              <a:rPr lang="de-DE" sz="1600" b="1" dirty="0">
                <a:solidFill>
                  <a:schemeClr val="tx1"/>
                </a:solidFill>
              </a:rPr>
              <a:t>EPIAS</a:t>
            </a:r>
            <a:r>
              <a:rPr lang="de-DE" sz="1600" dirty="0">
                <a:solidFill>
                  <a:schemeClr val="tx1"/>
                </a:solidFill>
              </a:rPr>
              <a:t>, </a:t>
            </a:r>
            <a:r>
              <a:rPr lang="de-DE" sz="1600" dirty="0" err="1">
                <a:solidFill>
                  <a:schemeClr val="tx1"/>
                </a:solidFill>
              </a:rPr>
              <a:t>accessable</a:t>
            </a:r>
            <a:r>
              <a:rPr lang="de-DE" sz="1600" dirty="0">
                <a:solidFill>
                  <a:schemeClr val="tx1"/>
                </a:solidFill>
              </a:rPr>
              <a:t> </a:t>
            </a:r>
            <a:r>
              <a:rPr lang="de-DE" sz="1600" dirty="0" err="1">
                <a:solidFill>
                  <a:schemeClr val="tx1"/>
                </a:solidFill>
              </a:rPr>
              <a:t>through</a:t>
            </a:r>
            <a:r>
              <a:rPr lang="de-DE" sz="1600" dirty="0">
                <a:solidFill>
                  <a:schemeClr val="tx1"/>
                </a:solidFill>
              </a:rPr>
              <a:t> API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94EB8E64-1628-FB00-2B1A-83FF818E936B}"/>
              </a:ext>
            </a:extLst>
          </p:cNvPr>
          <p:cNvSpPr/>
          <p:nvPr/>
        </p:nvSpPr>
        <p:spPr>
          <a:xfrm>
            <a:off x="1076960" y="2060019"/>
            <a:ext cx="3220720" cy="5832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r>
              <a:rPr lang="de-DE" sz="1600" dirty="0">
                <a:solidFill>
                  <a:schemeClr val="tx1"/>
                </a:solidFill>
              </a:rPr>
              <a:t>01.01.2021 – 31.12.2023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C08531CD-883D-9117-4AEF-420E222F4990}"/>
              </a:ext>
            </a:extLst>
          </p:cNvPr>
          <p:cNvSpPr/>
          <p:nvPr/>
        </p:nvSpPr>
        <p:spPr>
          <a:xfrm>
            <a:off x="1076960" y="2857991"/>
            <a:ext cx="3220720" cy="5832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r>
              <a:rPr lang="de-DE" sz="1600" dirty="0">
                <a:solidFill>
                  <a:schemeClr val="tx1"/>
                </a:solidFill>
              </a:rPr>
              <a:t>26.304 </a:t>
            </a:r>
            <a:r>
              <a:rPr lang="de-DE" sz="1600" dirty="0" err="1">
                <a:solidFill>
                  <a:schemeClr val="tx1"/>
                </a:solidFill>
              </a:rPr>
              <a:t>hours</a:t>
            </a:r>
            <a:r>
              <a:rPr lang="de-DE" sz="1600" dirty="0">
                <a:solidFill>
                  <a:schemeClr val="tx1"/>
                </a:solidFill>
              </a:rPr>
              <a:t>, 91 possible </a:t>
            </a:r>
            <a:r>
              <a:rPr lang="de-DE" sz="1600" dirty="0" err="1">
                <a:solidFill>
                  <a:schemeClr val="tx1"/>
                </a:solidFill>
              </a:rPr>
              <a:t>features</a:t>
            </a:r>
            <a:r>
              <a:rPr lang="de-DE" sz="1600" dirty="0">
                <a:solidFill>
                  <a:schemeClr val="tx1"/>
                </a:solidFill>
              </a:rPr>
              <a:t>,</a:t>
            </a:r>
          </a:p>
          <a:p>
            <a:pPr algn="ctr" defTabSz="486000"/>
            <a:r>
              <a:rPr lang="de-DE" sz="1600" dirty="0" err="1">
                <a:solidFill>
                  <a:schemeClr val="tx1"/>
                </a:solidFill>
              </a:rPr>
              <a:t>appr</a:t>
            </a:r>
            <a:r>
              <a:rPr lang="de-DE" sz="1600" dirty="0">
                <a:solidFill>
                  <a:schemeClr val="tx1"/>
                </a:solidFill>
              </a:rPr>
              <a:t>. 21 mio. </a:t>
            </a:r>
            <a:r>
              <a:rPr lang="de-DE" sz="1600" dirty="0" err="1">
                <a:solidFill>
                  <a:schemeClr val="tx1"/>
                </a:solidFill>
              </a:rPr>
              <a:t>trading</a:t>
            </a:r>
            <a:r>
              <a:rPr lang="de-DE" sz="1600" dirty="0">
                <a:solidFill>
                  <a:schemeClr val="tx1"/>
                </a:solidFill>
              </a:rPr>
              <a:t> </a:t>
            </a:r>
            <a:r>
              <a:rPr lang="de-DE" sz="1600" dirty="0" err="1">
                <a:solidFill>
                  <a:schemeClr val="tx1"/>
                </a:solidFill>
              </a:rPr>
              <a:t>orders</a:t>
            </a:r>
            <a:endParaRPr lang="de-DE" sz="1600" dirty="0">
              <a:solidFill>
                <a:schemeClr val="tx1"/>
              </a:solidFill>
            </a:endParaRPr>
          </a:p>
        </p:txBody>
      </p:sp>
      <p:pic>
        <p:nvPicPr>
          <p:cNvPr id="57" name="Grafik 56" descr="Tageskalender Silhouette">
            <a:extLst>
              <a:ext uri="{FF2B5EF4-FFF2-40B4-BE49-F238E27FC236}">
                <a16:creationId xmlns:a16="http://schemas.microsoft.com/office/drawing/2014/main" id="{24B95CF1-482A-6B5C-7146-41EA0A10018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1017" y="2060019"/>
            <a:ext cx="583200" cy="583200"/>
          </a:xfrm>
          <a:prstGeom prst="rect">
            <a:avLst/>
          </a:prstGeom>
        </p:spPr>
      </p:pic>
      <p:pic>
        <p:nvPicPr>
          <p:cNvPr id="58" name="Grafik 57" descr="Liste Silhouette">
            <a:extLst>
              <a:ext uri="{FF2B5EF4-FFF2-40B4-BE49-F238E27FC236}">
                <a16:creationId xmlns:a16="http://schemas.microsoft.com/office/drawing/2014/main" id="{5E919A2B-1B41-FDD7-CC71-ED178103335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61017" y="2859754"/>
            <a:ext cx="583200" cy="583200"/>
          </a:xfrm>
          <a:prstGeom prst="rect">
            <a:avLst/>
          </a:prstGeom>
        </p:spPr>
      </p:pic>
      <p:sp>
        <p:nvSpPr>
          <p:cNvPr id="64" name="Titel 1">
            <a:extLst>
              <a:ext uri="{FF2B5EF4-FFF2-40B4-BE49-F238E27FC236}">
                <a16:creationId xmlns:a16="http://schemas.microsoft.com/office/drawing/2014/main" id="{24774706-A337-C9BE-8C77-DBA1816FFD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400" y="318601"/>
            <a:ext cx="11275200" cy="583200"/>
          </a:xfrm>
        </p:spPr>
        <p:txBody>
          <a:bodyPr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3600" b="1" i="0" u="none" dirty="0">
                <a:solidFill>
                  <a:schemeClr val="accent1"/>
                </a:solidFill>
              </a:rPr>
              <a:t>01. Data and </a:t>
            </a:r>
            <a:r>
              <a:rPr lang="de-DE" sz="3600" b="1" i="0" u="none" dirty="0" err="1">
                <a:solidFill>
                  <a:schemeClr val="accent1"/>
                </a:solidFill>
              </a:rPr>
              <a:t>features</a:t>
            </a:r>
            <a:endParaRPr lang="de-DE" sz="3600" b="1" i="0" u="none" dirty="0">
              <a:solidFill>
                <a:schemeClr val="accent1"/>
              </a:solidFill>
            </a:endParaRPr>
          </a:p>
        </p:txBody>
      </p:sp>
      <p:pic>
        <p:nvPicPr>
          <p:cNvPr id="65" name="Grafik 64" descr="Server Silhouette">
            <a:extLst>
              <a:ext uri="{FF2B5EF4-FFF2-40B4-BE49-F238E27FC236}">
                <a16:creationId xmlns:a16="http://schemas.microsoft.com/office/drawing/2014/main" id="{29AF0036-B79A-0640-E282-696C1BD7876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61017" y="1290320"/>
            <a:ext cx="583200" cy="583200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7B05001C-E332-DB58-F306-4855D53FD12F}"/>
              </a:ext>
            </a:extLst>
          </p:cNvPr>
          <p:cNvSpPr txBox="1"/>
          <p:nvPr/>
        </p:nvSpPr>
        <p:spPr>
          <a:xfrm>
            <a:off x="7751641" y="780854"/>
            <a:ext cx="3054258" cy="914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i="0" u="none" dirty="0"/>
              <a:t>Forecast ID3 </a:t>
            </a:r>
            <a:r>
              <a:rPr lang="de-DE" sz="1600" b="1" i="0" u="none" dirty="0" err="1"/>
              <a:t>price</a:t>
            </a:r>
            <a:r>
              <a:rPr lang="de-DE" sz="1600" b="1" i="0" u="none" dirty="0"/>
              <a:t> </a:t>
            </a:r>
            <a:r>
              <a:rPr lang="de-DE" sz="1600" b="1" i="0" u="none" dirty="0" err="1"/>
              <a:t>of</a:t>
            </a:r>
            <a:r>
              <a:rPr lang="de-DE" sz="1600" b="1" i="0" u="none" dirty="0"/>
              <a:t> </a:t>
            </a:r>
            <a:r>
              <a:rPr lang="de-DE" sz="1600" b="1" i="0" u="none" dirty="0" err="1"/>
              <a:t>hour</a:t>
            </a:r>
            <a:r>
              <a:rPr lang="de-DE" sz="1600" b="1" i="0" u="none" dirty="0"/>
              <a:t> 12 – 1 </a:t>
            </a:r>
            <a:r>
              <a:rPr lang="de-DE" sz="1600" b="1" i="0" u="none" dirty="0" err="1"/>
              <a:t>pm</a:t>
            </a:r>
            <a:endParaRPr lang="de-DE" sz="1600" b="1" i="0" u="none" dirty="0"/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795176C4-477D-EA22-D7FD-1898A5CD094A}"/>
              </a:ext>
            </a:extLst>
          </p:cNvPr>
          <p:cNvSpPr txBox="1"/>
          <p:nvPr/>
        </p:nvSpPr>
        <p:spPr>
          <a:xfrm>
            <a:off x="5540003" y="1490182"/>
            <a:ext cx="914400" cy="1226493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b="1" i="0" u="none" dirty="0" err="1"/>
              <a:t>Difference</a:t>
            </a:r>
            <a:r>
              <a:rPr lang="de-DE" b="1" i="0" u="none" dirty="0"/>
              <a:t> </a:t>
            </a:r>
            <a:r>
              <a:rPr lang="de-DE" b="1" i="0" u="none" dirty="0" err="1"/>
              <a:t>between</a:t>
            </a:r>
            <a:r>
              <a:rPr lang="de-DE" b="1" i="0" u="none" dirty="0"/>
              <a:t> real 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b="1" i="0" u="none" dirty="0"/>
              <a:t>and </a:t>
            </a:r>
            <a:r>
              <a:rPr lang="de-DE" b="1" i="0" u="none" dirty="0" err="1"/>
              <a:t>planned</a:t>
            </a:r>
            <a:r>
              <a:rPr lang="de-DE" b="1" i="0" u="none" dirty="0"/>
              <a:t> </a:t>
            </a:r>
            <a:r>
              <a:rPr lang="de-DE" b="1" i="0" u="none" dirty="0" err="1"/>
              <a:t>production</a:t>
            </a:r>
            <a:endParaRPr lang="de-DE" b="1" i="0" u="none" dirty="0"/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600" i="0" u="none" dirty="0"/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CB92B523-E9D6-E7BC-B7EA-DB56F18A1F0F}"/>
              </a:ext>
            </a:extLst>
          </p:cNvPr>
          <p:cNvSpPr txBox="1"/>
          <p:nvPr/>
        </p:nvSpPr>
        <p:spPr>
          <a:xfrm>
            <a:off x="5540003" y="2167626"/>
            <a:ext cx="914400" cy="1226493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i="0" u="none" dirty="0" err="1"/>
              <a:t>For</a:t>
            </a:r>
            <a:r>
              <a:rPr lang="de-DE" sz="1600" i="0" u="none" dirty="0"/>
              <a:t> different power plant </a:t>
            </a:r>
            <a:r>
              <a:rPr lang="de-DE" sz="1600" i="0" u="none" dirty="0" err="1"/>
              <a:t>types</a:t>
            </a:r>
            <a:endParaRPr lang="de-DE" sz="1600" dirty="0"/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600" dirty="0"/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600" i="0" u="none" dirty="0"/>
          </a:p>
        </p:txBody>
      </p:sp>
      <p:pic>
        <p:nvPicPr>
          <p:cNvPr id="39" name="Grafik 38" descr="Windkraftanlagen Silhouette">
            <a:extLst>
              <a:ext uri="{FF2B5EF4-FFF2-40B4-BE49-F238E27FC236}">
                <a16:creationId xmlns:a16="http://schemas.microsoft.com/office/drawing/2014/main" id="{1C9533EA-AACF-837E-663E-865FF356155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109151" y="3683767"/>
            <a:ext cx="422318" cy="422318"/>
          </a:xfrm>
          <a:prstGeom prst="rect">
            <a:avLst/>
          </a:prstGeom>
        </p:spPr>
      </p:pic>
      <p:sp>
        <p:nvSpPr>
          <p:cNvPr id="43" name="Textfeld 42">
            <a:extLst>
              <a:ext uri="{FF2B5EF4-FFF2-40B4-BE49-F238E27FC236}">
                <a16:creationId xmlns:a16="http://schemas.microsoft.com/office/drawing/2014/main" id="{28C466E5-EC3E-590C-2974-18C1E73BFEDC}"/>
              </a:ext>
            </a:extLst>
          </p:cNvPr>
          <p:cNvSpPr txBox="1"/>
          <p:nvPr/>
        </p:nvSpPr>
        <p:spPr>
          <a:xfrm>
            <a:off x="5637458" y="3642153"/>
            <a:ext cx="914400" cy="914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0" i="0" u="none" dirty="0" err="1"/>
              <a:t>Forecasted</a:t>
            </a:r>
            <a:r>
              <a:rPr lang="de-DE" sz="1600" b="0" i="0" u="none" dirty="0"/>
              <a:t> wind </a:t>
            </a:r>
            <a:r>
              <a:rPr lang="de-DE" sz="1600" b="0" i="0" u="none" dirty="0" err="1"/>
              <a:t>for</a:t>
            </a:r>
            <a:r>
              <a:rPr lang="de-DE" sz="1600" b="0" i="0" u="none" dirty="0"/>
              <a:t> 8 – 9: 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0" i="0" u="none" dirty="0"/>
              <a:t>10 MW</a:t>
            </a:r>
          </a:p>
        </p:txBody>
      </p:sp>
      <p:pic>
        <p:nvPicPr>
          <p:cNvPr id="44" name="Grafik 43" descr="Windig Silhouette">
            <a:extLst>
              <a:ext uri="{FF2B5EF4-FFF2-40B4-BE49-F238E27FC236}">
                <a16:creationId xmlns:a16="http://schemas.microsoft.com/office/drawing/2014/main" id="{E8514AB7-C9EB-80BC-5C3B-D27779606D3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121833" y="4265318"/>
            <a:ext cx="491752" cy="491752"/>
          </a:xfrm>
          <a:prstGeom prst="rect">
            <a:avLst/>
          </a:prstGeom>
        </p:spPr>
      </p:pic>
      <p:sp>
        <p:nvSpPr>
          <p:cNvPr id="45" name="Textfeld 44">
            <a:extLst>
              <a:ext uri="{FF2B5EF4-FFF2-40B4-BE49-F238E27FC236}">
                <a16:creationId xmlns:a16="http://schemas.microsoft.com/office/drawing/2014/main" id="{8DBB3094-FF74-E9A9-A2B2-2E46D4C0950F}"/>
              </a:ext>
            </a:extLst>
          </p:cNvPr>
          <p:cNvSpPr txBox="1"/>
          <p:nvPr/>
        </p:nvSpPr>
        <p:spPr>
          <a:xfrm>
            <a:off x="5645431" y="4287233"/>
            <a:ext cx="914400" cy="914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/>
              <a:t>Real</a:t>
            </a:r>
            <a:r>
              <a:rPr lang="de-DE" sz="1600" b="0" i="0" u="none" dirty="0"/>
              <a:t> wind </a:t>
            </a:r>
            <a:r>
              <a:rPr lang="de-DE" sz="1600" b="0" i="0" u="none" dirty="0" err="1"/>
              <a:t>for</a:t>
            </a:r>
            <a:r>
              <a:rPr lang="de-DE" sz="1600" b="0" i="0" u="none" dirty="0"/>
              <a:t> 8 – 9: 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0" i="0" u="none" dirty="0"/>
              <a:t>15 MW</a:t>
            </a:r>
          </a:p>
        </p:txBody>
      </p:sp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2C9638A2-7C97-46A8-FE15-015D2488F65B}"/>
              </a:ext>
            </a:extLst>
          </p:cNvPr>
          <p:cNvGrpSpPr/>
          <p:nvPr/>
        </p:nvGrpSpPr>
        <p:grpSpPr>
          <a:xfrm>
            <a:off x="7894322" y="1989000"/>
            <a:ext cx="2880000" cy="2880000"/>
            <a:chOff x="4958080" y="4137680"/>
            <a:chExt cx="1800000" cy="1800000"/>
          </a:xfrm>
        </p:grpSpPr>
        <p:sp>
          <p:nvSpPr>
            <p:cNvPr id="47" name="Ellipse 46">
              <a:extLst>
                <a:ext uri="{FF2B5EF4-FFF2-40B4-BE49-F238E27FC236}">
                  <a16:creationId xmlns:a16="http://schemas.microsoft.com/office/drawing/2014/main" id="{DA6F8EE5-C69C-5108-C497-279814F636B7}"/>
                </a:ext>
              </a:extLst>
            </p:cNvPr>
            <p:cNvSpPr/>
            <p:nvPr/>
          </p:nvSpPr>
          <p:spPr>
            <a:xfrm>
              <a:off x="4958080" y="4137680"/>
              <a:ext cx="1800000" cy="1800000"/>
            </a:xfrm>
            <a:prstGeom prst="ellipse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7200" tIns="97200" rIns="97200" bIns="97200" rtlCol="0" anchor="ctr"/>
            <a:lstStyle/>
            <a:p>
              <a:pPr algn="ctr" defTabSz="486000"/>
              <a:endParaRPr lang="de-DE" sz="1600" dirty="0">
                <a:solidFill>
                  <a:schemeClr val="tx1"/>
                </a:solidFill>
              </a:endParaRPr>
            </a:p>
          </p:txBody>
        </p:sp>
        <p:cxnSp>
          <p:nvCxnSpPr>
            <p:cNvPr id="48" name="Gerader Verbinder 47">
              <a:extLst>
                <a:ext uri="{FF2B5EF4-FFF2-40B4-BE49-F238E27FC236}">
                  <a16:creationId xmlns:a16="http://schemas.microsoft.com/office/drawing/2014/main" id="{EDA59AA8-3451-A769-65DB-BA52CEE4F2FA}"/>
                </a:ext>
              </a:extLst>
            </p:cNvPr>
            <p:cNvCxnSpPr>
              <a:cxnSpLocks/>
              <a:stCxn id="47" idx="2"/>
            </p:cNvCxnSpPr>
            <p:nvPr/>
          </p:nvCxnSpPr>
          <p:spPr>
            <a:xfrm>
              <a:off x="4958080" y="5037680"/>
              <a:ext cx="121920" cy="0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r Verbinder 48">
              <a:extLst>
                <a:ext uri="{FF2B5EF4-FFF2-40B4-BE49-F238E27FC236}">
                  <a16:creationId xmlns:a16="http://schemas.microsoft.com/office/drawing/2014/main" id="{36A01EAA-FFD6-6238-781A-663E89D0A0CC}"/>
                </a:ext>
              </a:extLst>
            </p:cNvPr>
            <p:cNvCxnSpPr>
              <a:cxnSpLocks/>
              <a:endCxn id="47" idx="6"/>
            </p:cNvCxnSpPr>
            <p:nvPr/>
          </p:nvCxnSpPr>
          <p:spPr>
            <a:xfrm>
              <a:off x="6636160" y="5037680"/>
              <a:ext cx="121920" cy="0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r Verbinder 49">
              <a:extLst>
                <a:ext uri="{FF2B5EF4-FFF2-40B4-BE49-F238E27FC236}">
                  <a16:creationId xmlns:a16="http://schemas.microsoft.com/office/drawing/2014/main" id="{AF08E490-111C-0778-1706-DAB81BEA13D3}"/>
                </a:ext>
              </a:extLst>
            </p:cNvPr>
            <p:cNvCxnSpPr>
              <a:cxnSpLocks/>
              <a:stCxn id="47" idx="0"/>
            </p:cNvCxnSpPr>
            <p:nvPr/>
          </p:nvCxnSpPr>
          <p:spPr>
            <a:xfrm>
              <a:off x="5858080" y="4137680"/>
              <a:ext cx="0" cy="104551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r Verbinder 50">
              <a:extLst>
                <a:ext uri="{FF2B5EF4-FFF2-40B4-BE49-F238E27FC236}">
                  <a16:creationId xmlns:a16="http://schemas.microsoft.com/office/drawing/2014/main" id="{15814606-D300-45C3-D52D-3BE1C0B7F5C3}"/>
                </a:ext>
              </a:extLst>
            </p:cNvPr>
            <p:cNvCxnSpPr>
              <a:cxnSpLocks/>
              <a:stCxn id="47" idx="4"/>
            </p:cNvCxnSpPr>
            <p:nvPr/>
          </p:nvCxnSpPr>
          <p:spPr>
            <a:xfrm flipV="1">
              <a:off x="5858080" y="5781972"/>
              <a:ext cx="0" cy="155708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Textfeld 55">
              <a:extLst>
                <a:ext uri="{FF2B5EF4-FFF2-40B4-BE49-F238E27FC236}">
                  <a16:creationId xmlns:a16="http://schemas.microsoft.com/office/drawing/2014/main" id="{1071DD96-A419-6116-7F52-FBC5E9EC1876}"/>
                </a:ext>
              </a:extLst>
            </p:cNvPr>
            <p:cNvSpPr txBox="1"/>
            <p:nvPr/>
          </p:nvSpPr>
          <p:spPr>
            <a:xfrm>
              <a:off x="5181599" y="4956044"/>
              <a:ext cx="121920" cy="242905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0" i="0" u="none" dirty="0"/>
                <a:t>9</a:t>
              </a:r>
            </a:p>
          </p:txBody>
        </p:sp>
        <p:sp>
          <p:nvSpPr>
            <p:cNvPr id="59" name="Textfeld 58">
              <a:extLst>
                <a:ext uri="{FF2B5EF4-FFF2-40B4-BE49-F238E27FC236}">
                  <a16:creationId xmlns:a16="http://schemas.microsoft.com/office/drawing/2014/main" id="{85836B5C-3870-F8E0-2907-5910CDFFD075}"/>
                </a:ext>
              </a:extLst>
            </p:cNvPr>
            <p:cNvSpPr txBox="1"/>
            <p:nvPr/>
          </p:nvSpPr>
          <p:spPr>
            <a:xfrm>
              <a:off x="6487429" y="4950461"/>
              <a:ext cx="121920" cy="242905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dirty="0"/>
                <a:t>3</a:t>
              </a:r>
              <a:endParaRPr lang="de-DE" sz="1600" b="0" i="0" u="none" dirty="0"/>
            </a:p>
          </p:txBody>
        </p:sp>
        <p:sp>
          <p:nvSpPr>
            <p:cNvPr id="60" name="Textfeld 59">
              <a:extLst>
                <a:ext uri="{FF2B5EF4-FFF2-40B4-BE49-F238E27FC236}">
                  <a16:creationId xmlns:a16="http://schemas.microsoft.com/office/drawing/2014/main" id="{4BFB15D7-3889-9D3B-28DD-F789135AA10F}"/>
                </a:ext>
              </a:extLst>
            </p:cNvPr>
            <p:cNvSpPr txBox="1"/>
            <p:nvPr/>
          </p:nvSpPr>
          <p:spPr>
            <a:xfrm>
              <a:off x="5823360" y="5578319"/>
              <a:ext cx="121920" cy="242905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dirty="0"/>
                <a:t>6</a:t>
              </a:r>
              <a:endParaRPr lang="de-DE" sz="1600" b="0" i="0" u="none" dirty="0"/>
            </a:p>
          </p:txBody>
        </p:sp>
        <p:sp>
          <p:nvSpPr>
            <p:cNvPr id="61" name="Textfeld 60">
              <a:extLst>
                <a:ext uri="{FF2B5EF4-FFF2-40B4-BE49-F238E27FC236}">
                  <a16:creationId xmlns:a16="http://schemas.microsoft.com/office/drawing/2014/main" id="{2F66EF8D-30C1-E5CF-D3CE-A914047D3338}"/>
                </a:ext>
              </a:extLst>
            </p:cNvPr>
            <p:cNvSpPr txBox="1"/>
            <p:nvPr/>
          </p:nvSpPr>
          <p:spPr>
            <a:xfrm>
              <a:off x="5796747" y="4305581"/>
              <a:ext cx="121920" cy="242905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dirty="0"/>
                <a:t>12</a:t>
              </a:r>
              <a:endParaRPr lang="de-DE" sz="1600" b="0" i="0" u="none" dirty="0"/>
            </a:p>
          </p:txBody>
        </p:sp>
        <p:cxnSp>
          <p:nvCxnSpPr>
            <p:cNvPr id="62" name="Gerader Verbinder 61">
              <a:extLst>
                <a:ext uri="{FF2B5EF4-FFF2-40B4-BE49-F238E27FC236}">
                  <a16:creationId xmlns:a16="http://schemas.microsoft.com/office/drawing/2014/main" id="{153C5121-469A-BAC8-29C1-7F039B04C9B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307682" y="4305581"/>
              <a:ext cx="65123" cy="117472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Textfeld 62">
              <a:extLst>
                <a:ext uri="{FF2B5EF4-FFF2-40B4-BE49-F238E27FC236}">
                  <a16:creationId xmlns:a16="http://schemas.microsoft.com/office/drawing/2014/main" id="{32E7ED15-8B4E-8465-7676-DEC772828D0C}"/>
                </a:ext>
              </a:extLst>
            </p:cNvPr>
            <p:cNvSpPr txBox="1"/>
            <p:nvPr/>
          </p:nvSpPr>
          <p:spPr>
            <a:xfrm>
              <a:off x="6206082" y="4446887"/>
              <a:ext cx="101600" cy="291180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0" i="0" u="none" dirty="0"/>
                <a:t>1</a:t>
              </a:r>
            </a:p>
          </p:txBody>
        </p:sp>
      </p:grpSp>
      <p:sp>
        <p:nvSpPr>
          <p:cNvPr id="66" name="Bogen 65">
            <a:extLst>
              <a:ext uri="{FF2B5EF4-FFF2-40B4-BE49-F238E27FC236}">
                <a16:creationId xmlns:a16="http://schemas.microsoft.com/office/drawing/2014/main" id="{0E005DC9-010A-1A75-9F3D-14DB77F39ED4}"/>
              </a:ext>
            </a:extLst>
          </p:cNvPr>
          <p:cNvSpPr/>
          <p:nvPr/>
        </p:nvSpPr>
        <p:spPr>
          <a:xfrm rot="20061455">
            <a:off x="9073678" y="1845604"/>
            <a:ext cx="1155097" cy="1095741"/>
          </a:xfrm>
          <a:prstGeom prst="arc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70" name="Gerader Verbinder 69">
            <a:extLst>
              <a:ext uri="{FF2B5EF4-FFF2-40B4-BE49-F238E27FC236}">
                <a16:creationId xmlns:a16="http://schemas.microsoft.com/office/drawing/2014/main" id="{C4268F24-595A-09FD-6C29-C744A8A1179A}"/>
              </a:ext>
            </a:extLst>
          </p:cNvPr>
          <p:cNvCxnSpPr>
            <a:cxnSpLocks/>
          </p:cNvCxnSpPr>
          <p:nvPr/>
        </p:nvCxnSpPr>
        <p:spPr>
          <a:xfrm flipV="1">
            <a:off x="8089394" y="4016137"/>
            <a:ext cx="194400" cy="108857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feld 71">
            <a:extLst>
              <a:ext uri="{FF2B5EF4-FFF2-40B4-BE49-F238E27FC236}">
                <a16:creationId xmlns:a16="http://schemas.microsoft.com/office/drawing/2014/main" id="{E49BAF52-E4AF-1CC5-80C9-7F2D16602E17}"/>
              </a:ext>
            </a:extLst>
          </p:cNvPr>
          <p:cNvSpPr txBox="1"/>
          <p:nvPr/>
        </p:nvSpPr>
        <p:spPr>
          <a:xfrm>
            <a:off x="8349488" y="3821813"/>
            <a:ext cx="195072" cy="388648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0" i="0" u="none" dirty="0"/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13534686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  <p:bldP spid="31" grpId="0"/>
      <p:bldP spid="43" grpId="0"/>
      <p:bldP spid="45" grpId="0"/>
      <p:bldP spid="72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hteck 31">
            <a:extLst>
              <a:ext uri="{FF2B5EF4-FFF2-40B4-BE49-F238E27FC236}">
                <a16:creationId xmlns:a16="http://schemas.microsoft.com/office/drawing/2014/main" id="{CC9819B6-9B61-D04F-5802-5A7C721E6904}"/>
              </a:ext>
            </a:extLst>
          </p:cNvPr>
          <p:cNvSpPr/>
          <p:nvPr/>
        </p:nvSpPr>
        <p:spPr>
          <a:xfrm>
            <a:off x="1076960" y="3650929"/>
            <a:ext cx="3220720" cy="2880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E0383EE7-3096-E527-CDF8-903360EAB01A}"/>
              </a:ext>
            </a:extLst>
          </p:cNvPr>
          <p:cNvSpPr txBox="1"/>
          <p:nvPr/>
        </p:nvSpPr>
        <p:spPr>
          <a:xfrm>
            <a:off x="5540003" y="1490182"/>
            <a:ext cx="914400" cy="1226493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b="1" i="0" u="none" dirty="0"/>
              <a:t>Power plant </a:t>
            </a:r>
            <a:r>
              <a:rPr lang="de-DE" b="1" i="0" u="none" dirty="0" err="1"/>
              <a:t>failure</a:t>
            </a:r>
            <a:endParaRPr lang="de-DE" b="1" i="0" u="none" dirty="0"/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600" i="0" u="none" dirty="0"/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814D42F9-D0ED-BCE2-2217-24DCEA470BC2}"/>
              </a:ext>
            </a:extLst>
          </p:cNvPr>
          <p:cNvSpPr txBox="1"/>
          <p:nvPr/>
        </p:nvSpPr>
        <p:spPr>
          <a:xfrm>
            <a:off x="5540003" y="1902557"/>
            <a:ext cx="914400" cy="1226493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i="0" u="none" dirty="0" err="1"/>
              <a:t>Planned</a:t>
            </a:r>
            <a:r>
              <a:rPr lang="de-DE" sz="1600" i="0" u="none" dirty="0"/>
              <a:t> &amp; </a:t>
            </a:r>
            <a:r>
              <a:rPr lang="de-DE" sz="1600" i="0" u="none" dirty="0" err="1"/>
              <a:t>unplanned</a:t>
            </a:r>
            <a:r>
              <a:rPr lang="de-DE" sz="1600" i="0" u="none" dirty="0"/>
              <a:t> </a:t>
            </a:r>
            <a:r>
              <a:rPr lang="de-DE" sz="1600" i="0" u="none" dirty="0" err="1"/>
              <a:t>failure</a:t>
            </a:r>
            <a:endParaRPr lang="de-DE" sz="1600" i="0" u="none" dirty="0"/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220D1923-F9B1-0865-DD89-A0D3CF50F710}"/>
              </a:ext>
            </a:extLst>
          </p:cNvPr>
          <p:cNvSpPr txBox="1"/>
          <p:nvPr/>
        </p:nvSpPr>
        <p:spPr>
          <a:xfrm>
            <a:off x="5416601" y="3650929"/>
            <a:ext cx="914400" cy="914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0" i="0" u="none" dirty="0"/>
              <a:t>Information at 8:45: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/>
              <a:t>„Power plant XY will </a:t>
            </a:r>
            <a:r>
              <a:rPr lang="de-DE" sz="1600" dirty="0" err="1"/>
              <a:t>be</a:t>
            </a:r>
            <a:r>
              <a:rPr lang="de-DE" sz="1600" dirty="0"/>
              <a:t> off </a:t>
            </a:r>
            <a:r>
              <a:rPr lang="de-DE" sz="1600" dirty="0" err="1"/>
              <a:t>for</a:t>
            </a:r>
            <a:endParaRPr lang="de-DE" sz="1600" dirty="0"/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err="1"/>
              <a:t>a</a:t>
            </a:r>
            <a:r>
              <a:rPr lang="de-DE" sz="1600" b="0" i="0" u="none" dirty="0" err="1"/>
              <a:t>ppr</a:t>
            </a:r>
            <a:r>
              <a:rPr lang="de-DE" sz="1600" b="0" i="0" u="none" dirty="0"/>
              <a:t>. 4 h“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err="1"/>
              <a:t>or</a:t>
            </a:r>
            <a:endParaRPr lang="de-DE" sz="1600" b="1" dirty="0"/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0" i="0" u="none" dirty="0"/>
              <a:t>„</a:t>
            </a:r>
            <a:r>
              <a:rPr lang="de-DE" sz="1600" b="0" i="0" u="none" dirty="0" err="1"/>
              <a:t>Product</a:t>
            </a:r>
            <a:r>
              <a:rPr lang="de-DE" sz="1600" dirty="0" err="1"/>
              <a:t>ion</a:t>
            </a:r>
            <a:r>
              <a:rPr lang="de-DE" sz="1600" dirty="0"/>
              <a:t> </a:t>
            </a:r>
            <a:r>
              <a:rPr lang="de-DE" sz="1600" dirty="0" err="1"/>
              <a:t>capacity</a:t>
            </a:r>
            <a:r>
              <a:rPr lang="de-DE" sz="1600" dirty="0"/>
              <a:t> </a:t>
            </a:r>
            <a:r>
              <a:rPr lang="de-DE" sz="1600" dirty="0" err="1"/>
              <a:t>is</a:t>
            </a:r>
            <a:r>
              <a:rPr lang="de-DE" sz="1600" dirty="0"/>
              <a:t> 50 % 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err="1"/>
              <a:t>lower</a:t>
            </a:r>
            <a:r>
              <a:rPr lang="de-DE" sz="1600" dirty="0"/>
              <a:t> </a:t>
            </a:r>
            <a:r>
              <a:rPr lang="de-DE" sz="1600" dirty="0" err="1"/>
              <a:t>as</a:t>
            </a:r>
            <a:r>
              <a:rPr lang="de-DE" sz="1600" dirty="0"/>
              <a:t> normal </a:t>
            </a:r>
            <a:r>
              <a:rPr lang="de-DE" sz="1600" dirty="0" err="1"/>
              <a:t>for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day</a:t>
            </a:r>
            <a:r>
              <a:rPr lang="de-DE" sz="1600" dirty="0"/>
              <a:t>“</a:t>
            </a:r>
            <a:endParaRPr lang="de-DE" sz="1600" b="0" i="0" u="none" dirty="0"/>
          </a:p>
        </p:txBody>
      </p:sp>
      <p:pic>
        <p:nvPicPr>
          <p:cNvPr id="18" name="Grafik 17" descr="Fabrik Silhouette">
            <a:extLst>
              <a:ext uri="{FF2B5EF4-FFF2-40B4-BE49-F238E27FC236}">
                <a16:creationId xmlns:a16="http://schemas.microsoft.com/office/drawing/2014/main" id="{FBA6C663-4434-7230-2161-CFFAEAD9744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80030" y="3678784"/>
            <a:ext cx="587679" cy="587679"/>
          </a:xfrm>
          <a:prstGeom prst="rect">
            <a:avLst/>
          </a:prstGeom>
        </p:spPr>
      </p:pic>
      <p:sp>
        <p:nvSpPr>
          <p:cNvPr id="33" name="Rechteck 32">
            <a:extLst>
              <a:ext uri="{FF2B5EF4-FFF2-40B4-BE49-F238E27FC236}">
                <a16:creationId xmlns:a16="http://schemas.microsoft.com/office/drawing/2014/main" id="{F1F70B7C-B892-DC0F-2176-584DCED48294}"/>
              </a:ext>
            </a:extLst>
          </p:cNvPr>
          <p:cNvSpPr/>
          <p:nvPr/>
        </p:nvSpPr>
        <p:spPr>
          <a:xfrm>
            <a:off x="1076960" y="3650929"/>
            <a:ext cx="3220720" cy="2880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72F24A3D-67C0-F1AB-DA18-7F76122A2BE0}"/>
              </a:ext>
            </a:extLst>
          </p:cNvPr>
          <p:cNvSpPr txBox="1"/>
          <p:nvPr/>
        </p:nvSpPr>
        <p:spPr>
          <a:xfrm>
            <a:off x="1243221" y="3798776"/>
            <a:ext cx="914400" cy="1226493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b="1" i="0" u="none" dirty="0" err="1"/>
              <a:t>Difference</a:t>
            </a:r>
            <a:r>
              <a:rPr lang="de-DE" b="1" i="0" u="none" dirty="0"/>
              <a:t> </a:t>
            </a:r>
            <a:r>
              <a:rPr lang="de-DE" b="1" i="0" u="none" dirty="0" err="1"/>
              <a:t>between</a:t>
            </a:r>
            <a:r>
              <a:rPr lang="de-DE" b="1" i="0" u="none" dirty="0"/>
              <a:t> real 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b="1" i="0" u="none" dirty="0"/>
              <a:t>and </a:t>
            </a:r>
            <a:r>
              <a:rPr lang="de-DE" b="1" i="0" u="none" dirty="0" err="1"/>
              <a:t>planned</a:t>
            </a:r>
            <a:r>
              <a:rPr lang="de-DE" b="1" i="0" u="none" dirty="0"/>
              <a:t> </a:t>
            </a:r>
            <a:r>
              <a:rPr lang="de-DE" b="1" i="0" u="none" dirty="0" err="1"/>
              <a:t>production</a:t>
            </a:r>
            <a:endParaRPr lang="de-DE" b="1" i="0" u="none" dirty="0"/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600" i="0" u="none" dirty="0"/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11B9BB1F-1A35-158F-181B-6B72EB473843}"/>
              </a:ext>
            </a:extLst>
          </p:cNvPr>
          <p:cNvSpPr/>
          <p:nvPr/>
        </p:nvSpPr>
        <p:spPr>
          <a:xfrm>
            <a:off x="1076960" y="1290320"/>
            <a:ext cx="3220720" cy="5832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r>
              <a:rPr lang="de-DE" sz="1600" b="1" dirty="0">
                <a:solidFill>
                  <a:schemeClr val="tx1"/>
                </a:solidFill>
              </a:rPr>
              <a:t>EPIAS</a:t>
            </a:r>
            <a:r>
              <a:rPr lang="de-DE" sz="1600" dirty="0">
                <a:solidFill>
                  <a:schemeClr val="tx1"/>
                </a:solidFill>
              </a:rPr>
              <a:t>, </a:t>
            </a:r>
            <a:r>
              <a:rPr lang="de-DE" sz="1600" dirty="0" err="1">
                <a:solidFill>
                  <a:schemeClr val="tx1"/>
                </a:solidFill>
              </a:rPr>
              <a:t>accessable</a:t>
            </a:r>
            <a:r>
              <a:rPr lang="de-DE" sz="1600" dirty="0">
                <a:solidFill>
                  <a:schemeClr val="tx1"/>
                </a:solidFill>
              </a:rPr>
              <a:t> </a:t>
            </a:r>
            <a:r>
              <a:rPr lang="de-DE" sz="1600" dirty="0" err="1">
                <a:solidFill>
                  <a:schemeClr val="tx1"/>
                </a:solidFill>
              </a:rPr>
              <a:t>through</a:t>
            </a:r>
            <a:r>
              <a:rPr lang="de-DE" sz="1600" dirty="0">
                <a:solidFill>
                  <a:schemeClr val="tx1"/>
                </a:solidFill>
              </a:rPr>
              <a:t> API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1A5440A5-5CDD-645D-21FB-9213D870A113}"/>
              </a:ext>
            </a:extLst>
          </p:cNvPr>
          <p:cNvSpPr/>
          <p:nvPr/>
        </p:nvSpPr>
        <p:spPr>
          <a:xfrm>
            <a:off x="1076960" y="2060019"/>
            <a:ext cx="3220720" cy="5832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r>
              <a:rPr lang="de-DE" sz="1600" dirty="0">
                <a:solidFill>
                  <a:schemeClr val="tx1"/>
                </a:solidFill>
              </a:rPr>
              <a:t>01.01.2021 – 31.12.2023</a:t>
            </a: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BFB4DC5E-BDF1-477C-501D-03EC666150ED}"/>
              </a:ext>
            </a:extLst>
          </p:cNvPr>
          <p:cNvSpPr/>
          <p:nvPr/>
        </p:nvSpPr>
        <p:spPr>
          <a:xfrm>
            <a:off x="1076960" y="2857991"/>
            <a:ext cx="3220720" cy="5832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r>
              <a:rPr lang="de-DE" sz="1600" dirty="0">
                <a:solidFill>
                  <a:schemeClr val="tx1"/>
                </a:solidFill>
              </a:rPr>
              <a:t>26.304 </a:t>
            </a:r>
            <a:r>
              <a:rPr lang="de-DE" sz="1600" dirty="0" err="1">
                <a:solidFill>
                  <a:schemeClr val="tx1"/>
                </a:solidFill>
              </a:rPr>
              <a:t>hours</a:t>
            </a:r>
            <a:r>
              <a:rPr lang="de-DE" sz="1600" dirty="0">
                <a:solidFill>
                  <a:schemeClr val="tx1"/>
                </a:solidFill>
              </a:rPr>
              <a:t>, 91 possible </a:t>
            </a:r>
            <a:r>
              <a:rPr lang="de-DE" sz="1600" dirty="0" err="1">
                <a:solidFill>
                  <a:schemeClr val="tx1"/>
                </a:solidFill>
              </a:rPr>
              <a:t>features</a:t>
            </a:r>
            <a:r>
              <a:rPr lang="de-DE" sz="1600" dirty="0">
                <a:solidFill>
                  <a:schemeClr val="tx1"/>
                </a:solidFill>
              </a:rPr>
              <a:t>,</a:t>
            </a:r>
          </a:p>
          <a:p>
            <a:pPr algn="ctr" defTabSz="486000"/>
            <a:r>
              <a:rPr lang="de-DE" sz="1600" dirty="0" err="1">
                <a:solidFill>
                  <a:schemeClr val="tx1"/>
                </a:solidFill>
              </a:rPr>
              <a:t>appr</a:t>
            </a:r>
            <a:r>
              <a:rPr lang="de-DE" sz="1600" dirty="0">
                <a:solidFill>
                  <a:schemeClr val="tx1"/>
                </a:solidFill>
              </a:rPr>
              <a:t>. 21 mio. </a:t>
            </a:r>
            <a:r>
              <a:rPr lang="de-DE" sz="1600" dirty="0" err="1">
                <a:solidFill>
                  <a:schemeClr val="tx1"/>
                </a:solidFill>
              </a:rPr>
              <a:t>trading</a:t>
            </a:r>
            <a:r>
              <a:rPr lang="de-DE" sz="1600" dirty="0">
                <a:solidFill>
                  <a:schemeClr val="tx1"/>
                </a:solidFill>
              </a:rPr>
              <a:t> </a:t>
            </a:r>
            <a:r>
              <a:rPr lang="de-DE" sz="1600" dirty="0" err="1">
                <a:solidFill>
                  <a:schemeClr val="tx1"/>
                </a:solidFill>
              </a:rPr>
              <a:t>orders</a:t>
            </a:r>
            <a:endParaRPr lang="de-DE" sz="1600" dirty="0">
              <a:solidFill>
                <a:schemeClr val="tx1"/>
              </a:solidFill>
            </a:endParaRPr>
          </a:p>
        </p:txBody>
      </p:sp>
      <p:pic>
        <p:nvPicPr>
          <p:cNvPr id="47" name="Grafik 46" descr="Tageskalender Silhouette">
            <a:extLst>
              <a:ext uri="{FF2B5EF4-FFF2-40B4-BE49-F238E27FC236}">
                <a16:creationId xmlns:a16="http://schemas.microsoft.com/office/drawing/2014/main" id="{83370789-5524-B5CE-D69C-D4348AE9D14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61017" y="2060019"/>
            <a:ext cx="583200" cy="583200"/>
          </a:xfrm>
          <a:prstGeom prst="rect">
            <a:avLst/>
          </a:prstGeom>
        </p:spPr>
      </p:pic>
      <p:pic>
        <p:nvPicPr>
          <p:cNvPr id="52" name="Grafik 51" descr="Liste Silhouette">
            <a:extLst>
              <a:ext uri="{FF2B5EF4-FFF2-40B4-BE49-F238E27FC236}">
                <a16:creationId xmlns:a16="http://schemas.microsoft.com/office/drawing/2014/main" id="{40680582-5D77-3841-B003-607A8930EF0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61017" y="2859754"/>
            <a:ext cx="583200" cy="583200"/>
          </a:xfrm>
          <a:prstGeom prst="rect">
            <a:avLst/>
          </a:prstGeom>
        </p:spPr>
      </p:pic>
      <p:pic>
        <p:nvPicPr>
          <p:cNvPr id="53" name="Grafik 52" descr="Recherche Silhouette">
            <a:extLst>
              <a:ext uri="{FF2B5EF4-FFF2-40B4-BE49-F238E27FC236}">
                <a16:creationId xmlns:a16="http://schemas.microsoft.com/office/drawing/2014/main" id="{7300BAA0-AE56-BBE2-9891-1D381411C8D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61017" y="3659489"/>
            <a:ext cx="583200" cy="583200"/>
          </a:xfrm>
          <a:prstGeom prst="rect">
            <a:avLst/>
          </a:prstGeom>
        </p:spPr>
      </p:pic>
      <p:sp>
        <p:nvSpPr>
          <p:cNvPr id="58" name="Titel 1">
            <a:extLst>
              <a:ext uri="{FF2B5EF4-FFF2-40B4-BE49-F238E27FC236}">
                <a16:creationId xmlns:a16="http://schemas.microsoft.com/office/drawing/2014/main" id="{276BFDA7-79B2-2E12-478C-79C57CBED4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400" y="318601"/>
            <a:ext cx="11275200" cy="583200"/>
          </a:xfrm>
        </p:spPr>
        <p:txBody>
          <a:bodyPr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3600" b="1" i="0" u="none" dirty="0">
                <a:solidFill>
                  <a:schemeClr val="accent1"/>
                </a:solidFill>
              </a:rPr>
              <a:t>01. Data and </a:t>
            </a:r>
            <a:r>
              <a:rPr lang="de-DE" sz="3600" b="1" i="0" u="none" dirty="0" err="1">
                <a:solidFill>
                  <a:schemeClr val="accent1"/>
                </a:solidFill>
              </a:rPr>
              <a:t>features</a:t>
            </a:r>
            <a:endParaRPr lang="de-DE" sz="3600" b="1" i="0" u="none" dirty="0">
              <a:solidFill>
                <a:schemeClr val="accent1"/>
              </a:solidFill>
            </a:endParaRPr>
          </a:p>
        </p:txBody>
      </p:sp>
      <p:pic>
        <p:nvPicPr>
          <p:cNvPr id="59" name="Grafik 58" descr="Server Silhouette">
            <a:extLst>
              <a:ext uri="{FF2B5EF4-FFF2-40B4-BE49-F238E27FC236}">
                <a16:creationId xmlns:a16="http://schemas.microsoft.com/office/drawing/2014/main" id="{1BE7BEC3-0F62-8CF7-73BB-17382E451A2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61017" y="1290320"/>
            <a:ext cx="583200" cy="583200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912FC5AB-84D1-9ECF-05DF-EEB3A5E4251F}"/>
              </a:ext>
            </a:extLst>
          </p:cNvPr>
          <p:cNvSpPr txBox="1"/>
          <p:nvPr/>
        </p:nvSpPr>
        <p:spPr>
          <a:xfrm>
            <a:off x="7751641" y="780854"/>
            <a:ext cx="3054258" cy="914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i="0" u="none" dirty="0"/>
              <a:t>Forecast ID3 </a:t>
            </a:r>
            <a:r>
              <a:rPr lang="de-DE" sz="1600" b="1" i="0" u="none" dirty="0" err="1"/>
              <a:t>price</a:t>
            </a:r>
            <a:r>
              <a:rPr lang="de-DE" sz="1600" b="1" i="0" u="none" dirty="0"/>
              <a:t> </a:t>
            </a:r>
            <a:r>
              <a:rPr lang="de-DE" sz="1600" b="1" i="0" u="none" dirty="0" err="1"/>
              <a:t>of</a:t>
            </a:r>
            <a:r>
              <a:rPr lang="de-DE" sz="1600" b="1" i="0" u="none" dirty="0"/>
              <a:t> </a:t>
            </a:r>
            <a:r>
              <a:rPr lang="de-DE" sz="1600" b="1" i="0" u="none" dirty="0" err="1"/>
              <a:t>hour</a:t>
            </a:r>
            <a:r>
              <a:rPr lang="de-DE" sz="1600" b="1" i="0" u="none" dirty="0"/>
              <a:t> 12 – 1 </a:t>
            </a:r>
            <a:r>
              <a:rPr lang="de-DE" sz="1600" b="1" i="0" u="none" dirty="0" err="1"/>
              <a:t>pm</a:t>
            </a:r>
            <a:endParaRPr lang="de-DE" sz="1600" b="1" i="0" u="none" dirty="0"/>
          </a:p>
        </p:txBody>
      </p: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44112C5B-A645-2318-8B8E-CE149EA64558}"/>
              </a:ext>
            </a:extLst>
          </p:cNvPr>
          <p:cNvGrpSpPr/>
          <p:nvPr/>
        </p:nvGrpSpPr>
        <p:grpSpPr>
          <a:xfrm>
            <a:off x="7894322" y="1989000"/>
            <a:ext cx="2880000" cy="2880000"/>
            <a:chOff x="4958080" y="4137680"/>
            <a:chExt cx="1800000" cy="1800000"/>
          </a:xfrm>
        </p:grpSpPr>
        <p:sp>
          <p:nvSpPr>
            <p:cNvPr id="46" name="Ellipse 45">
              <a:extLst>
                <a:ext uri="{FF2B5EF4-FFF2-40B4-BE49-F238E27FC236}">
                  <a16:creationId xmlns:a16="http://schemas.microsoft.com/office/drawing/2014/main" id="{E7A80DFB-5CE7-E50B-90D7-CF4CC898C9B5}"/>
                </a:ext>
              </a:extLst>
            </p:cNvPr>
            <p:cNvSpPr/>
            <p:nvPr/>
          </p:nvSpPr>
          <p:spPr>
            <a:xfrm>
              <a:off x="4958080" y="4137680"/>
              <a:ext cx="1800000" cy="1800000"/>
            </a:xfrm>
            <a:prstGeom prst="ellipse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7200" tIns="97200" rIns="97200" bIns="97200" rtlCol="0" anchor="ctr"/>
            <a:lstStyle/>
            <a:p>
              <a:pPr algn="ctr" defTabSz="486000"/>
              <a:endParaRPr lang="de-DE" sz="1600" dirty="0">
                <a:solidFill>
                  <a:schemeClr val="tx1"/>
                </a:solidFill>
              </a:endParaRPr>
            </a:p>
          </p:txBody>
        </p:sp>
        <p:cxnSp>
          <p:nvCxnSpPr>
            <p:cNvPr id="48" name="Gerader Verbinder 47">
              <a:extLst>
                <a:ext uri="{FF2B5EF4-FFF2-40B4-BE49-F238E27FC236}">
                  <a16:creationId xmlns:a16="http://schemas.microsoft.com/office/drawing/2014/main" id="{DCDB87F4-C7EE-612C-E5DB-1BD57B08B612}"/>
                </a:ext>
              </a:extLst>
            </p:cNvPr>
            <p:cNvCxnSpPr>
              <a:cxnSpLocks/>
              <a:stCxn id="46" idx="2"/>
            </p:cNvCxnSpPr>
            <p:nvPr/>
          </p:nvCxnSpPr>
          <p:spPr>
            <a:xfrm>
              <a:off x="4958080" y="5037680"/>
              <a:ext cx="121920" cy="0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r Verbinder 49">
              <a:extLst>
                <a:ext uri="{FF2B5EF4-FFF2-40B4-BE49-F238E27FC236}">
                  <a16:creationId xmlns:a16="http://schemas.microsoft.com/office/drawing/2014/main" id="{56E49AC8-818A-F3AC-AEE5-3FCEA4554D63}"/>
                </a:ext>
              </a:extLst>
            </p:cNvPr>
            <p:cNvCxnSpPr>
              <a:cxnSpLocks/>
              <a:endCxn id="46" idx="6"/>
            </p:cNvCxnSpPr>
            <p:nvPr/>
          </p:nvCxnSpPr>
          <p:spPr>
            <a:xfrm>
              <a:off x="6636160" y="5037680"/>
              <a:ext cx="121920" cy="0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r Verbinder 53">
              <a:extLst>
                <a:ext uri="{FF2B5EF4-FFF2-40B4-BE49-F238E27FC236}">
                  <a16:creationId xmlns:a16="http://schemas.microsoft.com/office/drawing/2014/main" id="{A5DA14E1-5227-D06F-C60C-BDBE6BB1CC88}"/>
                </a:ext>
              </a:extLst>
            </p:cNvPr>
            <p:cNvCxnSpPr>
              <a:cxnSpLocks/>
              <a:stCxn id="46" idx="0"/>
            </p:cNvCxnSpPr>
            <p:nvPr/>
          </p:nvCxnSpPr>
          <p:spPr>
            <a:xfrm>
              <a:off x="5858080" y="4137680"/>
              <a:ext cx="0" cy="104551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r Verbinder 54">
              <a:extLst>
                <a:ext uri="{FF2B5EF4-FFF2-40B4-BE49-F238E27FC236}">
                  <a16:creationId xmlns:a16="http://schemas.microsoft.com/office/drawing/2014/main" id="{D7165DD0-4961-5334-E3A3-F37D73001EEB}"/>
                </a:ext>
              </a:extLst>
            </p:cNvPr>
            <p:cNvCxnSpPr>
              <a:cxnSpLocks/>
              <a:stCxn id="46" idx="4"/>
            </p:cNvCxnSpPr>
            <p:nvPr/>
          </p:nvCxnSpPr>
          <p:spPr>
            <a:xfrm flipV="1">
              <a:off x="5858080" y="5781972"/>
              <a:ext cx="0" cy="155708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Textfeld 55">
              <a:extLst>
                <a:ext uri="{FF2B5EF4-FFF2-40B4-BE49-F238E27FC236}">
                  <a16:creationId xmlns:a16="http://schemas.microsoft.com/office/drawing/2014/main" id="{696D9EBB-3811-3A57-72FA-D2C29C28FE8A}"/>
                </a:ext>
              </a:extLst>
            </p:cNvPr>
            <p:cNvSpPr txBox="1"/>
            <p:nvPr/>
          </p:nvSpPr>
          <p:spPr>
            <a:xfrm>
              <a:off x="5181599" y="4956044"/>
              <a:ext cx="121920" cy="242905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0" i="0" u="none" dirty="0"/>
                <a:t>9</a:t>
              </a:r>
            </a:p>
          </p:txBody>
        </p:sp>
        <p:sp>
          <p:nvSpPr>
            <p:cNvPr id="57" name="Textfeld 56">
              <a:extLst>
                <a:ext uri="{FF2B5EF4-FFF2-40B4-BE49-F238E27FC236}">
                  <a16:creationId xmlns:a16="http://schemas.microsoft.com/office/drawing/2014/main" id="{7BC714DA-30F3-4E0E-4ED4-01DC69DA2416}"/>
                </a:ext>
              </a:extLst>
            </p:cNvPr>
            <p:cNvSpPr txBox="1"/>
            <p:nvPr/>
          </p:nvSpPr>
          <p:spPr>
            <a:xfrm>
              <a:off x="6487429" y="4950461"/>
              <a:ext cx="121920" cy="242905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dirty="0"/>
                <a:t>3</a:t>
              </a:r>
              <a:endParaRPr lang="de-DE" sz="1600" b="0" i="0" u="none" dirty="0"/>
            </a:p>
          </p:txBody>
        </p:sp>
        <p:sp>
          <p:nvSpPr>
            <p:cNvPr id="60" name="Textfeld 59">
              <a:extLst>
                <a:ext uri="{FF2B5EF4-FFF2-40B4-BE49-F238E27FC236}">
                  <a16:creationId xmlns:a16="http://schemas.microsoft.com/office/drawing/2014/main" id="{D39CBE8C-435B-D92E-C0F4-E703F088A7D0}"/>
                </a:ext>
              </a:extLst>
            </p:cNvPr>
            <p:cNvSpPr txBox="1"/>
            <p:nvPr/>
          </p:nvSpPr>
          <p:spPr>
            <a:xfrm>
              <a:off x="5823360" y="5578319"/>
              <a:ext cx="121920" cy="242905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dirty="0"/>
                <a:t>6</a:t>
              </a:r>
              <a:endParaRPr lang="de-DE" sz="1600" b="0" i="0" u="none" dirty="0"/>
            </a:p>
          </p:txBody>
        </p:sp>
        <p:sp>
          <p:nvSpPr>
            <p:cNvPr id="61" name="Textfeld 60">
              <a:extLst>
                <a:ext uri="{FF2B5EF4-FFF2-40B4-BE49-F238E27FC236}">
                  <a16:creationId xmlns:a16="http://schemas.microsoft.com/office/drawing/2014/main" id="{A16464B1-7E16-E91A-E1CD-9ABB33394777}"/>
                </a:ext>
              </a:extLst>
            </p:cNvPr>
            <p:cNvSpPr txBox="1"/>
            <p:nvPr/>
          </p:nvSpPr>
          <p:spPr>
            <a:xfrm>
              <a:off x="5796747" y="4305581"/>
              <a:ext cx="121920" cy="242905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dirty="0"/>
                <a:t>12</a:t>
              </a:r>
              <a:endParaRPr lang="de-DE" sz="1600" b="0" i="0" u="none" dirty="0"/>
            </a:p>
          </p:txBody>
        </p:sp>
        <p:cxnSp>
          <p:nvCxnSpPr>
            <p:cNvPr id="62" name="Gerader Verbinder 61">
              <a:extLst>
                <a:ext uri="{FF2B5EF4-FFF2-40B4-BE49-F238E27FC236}">
                  <a16:creationId xmlns:a16="http://schemas.microsoft.com/office/drawing/2014/main" id="{644B4D65-CBD0-B85C-E7AD-B523133F771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307682" y="4305581"/>
              <a:ext cx="65123" cy="117472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Textfeld 62">
              <a:extLst>
                <a:ext uri="{FF2B5EF4-FFF2-40B4-BE49-F238E27FC236}">
                  <a16:creationId xmlns:a16="http://schemas.microsoft.com/office/drawing/2014/main" id="{C720DDEF-DE7F-F3FC-1225-1D8D4FC101C0}"/>
                </a:ext>
              </a:extLst>
            </p:cNvPr>
            <p:cNvSpPr txBox="1"/>
            <p:nvPr/>
          </p:nvSpPr>
          <p:spPr>
            <a:xfrm>
              <a:off x="6206082" y="4446887"/>
              <a:ext cx="101600" cy="291180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0" i="0" u="none" dirty="0"/>
                <a:t>1</a:t>
              </a:r>
            </a:p>
          </p:txBody>
        </p:sp>
      </p:grpSp>
      <p:sp>
        <p:nvSpPr>
          <p:cNvPr id="64" name="Bogen 63">
            <a:extLst>
              <a:ext uri="{FF2B5EF4-FFF2-40B4-BE49-F238E27FC236}">
                <a16:creationId xmlns:a16="http://schemas.microsoft.com/office/drawing/2014/main" id="{C5315357-1428-37CD-19F1-0D8FC79BBBEF}"/>
              </a:ext>
            </a:extLst>
          </p:cNvPr>
          <p:cNvSpPr/>
          <p:nvPr/>
        </p:nvSpPr>
        <p:spPr>
          <a:xfrm rot="20061455">
            <a:off x="9073678" y="1845604"/>
            <a:ext cx="1155097" cy="1095741"/>
          </a:xfrm>
          <a:prstGeom prst="arc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8FBE69AA-CA2A-2561-E868-A6040493181D}"/>
              </a:ext>
            </a:extLst>
          </p:cNvPr>
          <p:cNvSpPr/>
          <p:nvPr/>
        </p:nvSpPr>
        <p:spPr>
          <a:xfrm>
            <a:off x="7883858" y="3659489"/>
            <a:ext cx="108000" cy="108000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de-DE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269996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/>
      <p:bldP spid="39" grpId="0"/>
      <p:bldP spid="49" grpId="0"/>
      <p:bldP spid="65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1307D6EE-519A-1074-0CD9-0DC8C246297C}"/>
              </a:ext>
            </a:extLst>
          </p:cNvPr>
          <p:cNvGrpSpPr/>
          <p:nvPr/>
        </p:nvGrpSpPr>
        <p:grpSpPr>
          <a:xfrm>
            <a:off x="7894322" y="1989000"/>
            <a:ext cx="2880000" cy="2880000"/>
            <a:chOff x="4958080" y="4137680"/>
            <a:chExt cx="1800000" cy="1800000"/>
          </a:xfrm>
        </p:grpSpPr>
        <p:sp>
          <p:nvSpPr>
            <p:cNvPr id="4" name="Ellipse 3">
              <a:extLst>
                <a:ext uri="{FF2B5EF4-FFF2-40B4-BE49-F238E27FC236}">
                  <a16:creationId xmlns:a16="http://schemas.microsoft.com/office/drawing/2014/main" id="{BC56AC46-767C-2738-4F33-1CA896453E6F}"/>
                </a:ext>
              </a:extLst>
            </p:cNvPr>
            <p:cNvSpPr/>
            <p:nvPr/>
          </p:nvSpPr>
          <p:spPr>
            <a:xfrm>
              <a:off x="4958080" y="4137680"/>
              <a:ext cx="1800000" cy="1800000"/>
            </a:xfrm>
            <a:prstGeom prst="ellipse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7200" tIns="97200" rIns="97200" bIns="97200" rtlCol="0" anchor="ctr"/>
            <a:lstStyle/>
            <a:p>
              <a:pPr algn="ctr" defTabSz="486000"/>
              <a:endParaRPr lang="de-DE" sz="1600" dirty="0">
                <a:solidFill>
                  <a:schemeClr val="tx1"/>
                </a:solidFill>
              </a:endParaRPr>
            </a:p>
          </p:txBody>
        </p:sp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B5479048-BD77-6B49-2363-6B61D86B4220}"/>
                </a:ext>
              </a:extLst>
            </p:cNvPr>
            <p:cNvCxnSpPr>
              <a:cxnSpLocks/>
              <a:stCxn id="4" idx="2"/>
            </p:cNvCxnSpPr>
            <p:nvPr/>
          </p:nvCxnSpPr>
          <p:spPr>
            <a:xfrm>
              <a:off x="4958080" y="5037680"/>
              <a:ext cx="121920" cy="0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0ACEFF3A-BE09-D4EF-6B93-A7AF9A3DE980}"/>
                </a:ext>
              </a:extLst>
            </p:cNvPr>
            <p:cNvCxnSpPr>
              <a:cxnSpLocks/>
              <a:endCxn id="4" idx="6"/>
            </p:cNvCxnSpPr>
            <p:nvPr/>
          </p:nvCxnSpPr>
          <p:spPr>
            <a:xfrm>
              <a:off x="6636160" y="5037680"/>
              <a:ext cx="121920" cy="0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6378158C-980B-A798-A29D-F44582D7E309}"/>
                </a:ext>
              </a:extLst>
            </p:cNvPr>
            <p:cNvCxnSpPr>
              <a:cxnSpLocks/>
              <a:stCxn id="4" idx="0"/>
            </p:cNvCxnSpPr>
            <p:nvPr/>
          </p:nvCxnSpPr>
          <p:spPr>
            <a:xfrm>
              <a:off x="5858080" y="4137680"/>
              <a:ext cx="0" cy="104551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B9DABA90-2288-41E5-A3AA-EEA3DA922662}"/>
                </a:ext>
              </a:extLst>
            </p:cNvPr>
            <p:cNvCxnSpPr>
              <a:cxnSpLocks/>
              <a:stCxn id="4" idx="4"/>
            </p:cNvCxnSpPr>
            <p:nvPr/>
          </p:nvCxnSpPr>
          <p:spPr>
            <a:xfrm flipV="1">
              <a:off x="5858080" y="5781972"/>
              <a:ext cx="0" cy="155708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786107F8-6EF3-DD50-70FF-1159F680FE79}"/>
                </a:ext>
              </a:extLst>
            </p:cNvPr>
            <p:cNvSpPr txBox="1"/>
            <p:nvPr/>
          </p:nvSpPr>
          <p:spPr>
            <a:xfrm>
              <a:off x="5181599" y="4956044"/>
              <a:ext cx="121920" cy="242905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0" i="0" u="none" dirty="0"/>
                <a:t>9</a:t>
              </a:r>
            </a:p>
          </p:txBody>
        </p:sp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FB1BFBD2-DC90-04D0-50E8-11C54861FDB0}"/>
                </a:ext>
              </a:extLst>
            </p:cNvPr>
            <p:cNvSpPr txBox="1"/>
            <p:nvPr/>
          </p:nvSpPr>
          <p:spPr>
            <a:xfrm>
              <a:off x="6487429" y="4950461"/>
              <a:ext cx="121920" cy="242905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dirty="0"/>
                <a:t>3</a:t>
              </a:r>
              <a:endParaRPr lang="de-DE" sz="1600" b="0" i="0" u="none" dirty="0"/>
            </a:p>
          </p:txBody>
        </p:sp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A2A3B9FD-79A1-CD72-DCB8-353EA268DA8C}"/>
                </a:ext>
              </a:extLst>
            </p:cNvPr>
            <p:cNvSpPr txBox="1"/>
            <p:nvPr/>
          </p:nvSpPr>
          <p:spPr>
            <a:xfrm>
              <a:off x="5823360" y="5578319"/>
              <a:ext cx="121920" cy="242905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dirty="0"/>
                <a:t>6</a:t>
              </a:r>
              <a:endParaRPr lang="de-DE" sz="1600" b="0" i="0" u="none" dirty="0"/>
            </a:p>
          </p:txBody>
        </p:sp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F159841F-1D99-B0CB-267B-85E530C68274}"/>
                </a:ext>
              </a:extLst>
            </p:cNvPr>
            <p:cNvSpPr txBox="1"/>
            <p:nvPr/>
          </p:nvSpPr>
          <p:spPr>
            <a:xfrm>
              <a:off x="5796747" y="4305581"/>
              <a:ext cx="121920" cy="242905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dirty="0"/>
                <a:t>12</a:t>
              </a:r>
              <a:endParaRPr lang="de-DE" sz="1600" b="0" i="0" u="none" dirty="0"/>
            </a:p>
          </p:txBody>
        </p: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12F0169D-5470-9D52-A71C-C504E7E67F5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307682" y="4305581"/>
              <a:ext cx="65123" cy="117472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A8735DD9-84ED-072E-6619-CE9FC1FEC4B7}"/>
                </a:ext>
              </a:extLst>
            </p:cNvPr>
            <p:cNvSpPr txBox="1"/>
            <p:nvPr/>
          </p:nvSpPr>
          <p:spPr>
            <a:xfrm>
              <a:off x="6206082" y="4446887"/>
              <a:ext cx="101600" cy="291180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0" i="0" u="none" dirty="0"/>
                <a:t>1</a:t>
              </a:r>
            </a:p>
          </p:txBody>
        </p:sp>
      </p:grpSp>
      <p:sp>
        <p:nvSpPr>
          <p:cNvPr id="32" name="Rechteck 31">
            <a:extLst>
              <a:ext uri="{FF2B5EF4-FFF2-40B4-BE49-F238E27FC236}">
                <a16:creationId xmlns:a16="http://schemas.microsoft.com/office/drawing/2014/main" id="{CC9819B6-9B61-D04F-5802-5A7C721E6904}"/>
              </a:ext>
            </a:extLst>
          </p:cNvPr>
          <p:cNvSpPr/>
          <p:nvPr/>
        </p:nvSpPr>
        <p:spPr>
          <a:xfrm>
            <a:off x="1076960" y="3650929"/>
            <a:ext cx="3220720" cy="2880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35" name="Bogen 34">
            <a:extLst>
              <a:ext uri="{FF2B5EF4-FFF2-40B4-BE49-F238E27FC236}">
                <a16:creationId xmlns:a16="http://schemas.microsoft.com/office/drawing/2014/main" id="{61F1AFDF-71B6-EDCB-0D0D-FC0616F169F0}"/>
              </a:ext>
            </a:extLst>
          </p:cNvPr>
          <p:cNvSpPr/>
          <p:nvPr/>
        </p:nvSpPr>
        <p:spPr>
          <a:xfrm rot="20061455">
            <a:off x="9073678" y="1845604"/>
            <a:ext cx="1155097" cy="1095741"/>
          </a:xfrm>
          <a:prstGeom prst="arc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F1F70B7C-B892-DC0F-2176-584DCED48294}"/>
              </a:ext>
            </a:extLst>
          </p:cNvPr>
          <p:cNvSpPr/>
          <p:nvPr/>
        </p:nvSpPr>
        <p:spPr>
          <a:xfrm>
            <a:off x="1076960" y="3650929"/>
            <a:ext cx="3220720" cy="2880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81D738D6-9D02-2350-D360-D4ABA1647D5D}"/>
              </a:ext>
            </a:extLst>
          </p:cNvPr>
          <p:cNvSpPr txBox="1"/>
          <p:nvPr/>
        </p:nvSpPr>
        <p:spPr>
          <a:xfrm>
            <a:off x="5540003" y="1490182"/>
            <a:ext cx="914400" cy="1226493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b="1" i="0" u="none" dirty="0"/>
              <a:t>System </a:t>
            </a:r>
            <a:r>
              <a:rPr lang="de-DE" b="1" i="0" u="none" dirty="0" err="1"/>
              <a:t>direction</a:t>
            </a:r>
            <a:endParaRPr lang="de-DE" b="1" i="0" u="none" dirty="0"/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600" i="0" u="none" dirty="0"/>
          </a:p>
        </p:txBody>
      </p:sp>
      <p:pic>
        <p:nvPicPr>
          <p:cNvPr id="44" name="Grafik 43" descr="Sortieren mit einfarbiger Füllung">
            <a:extLst>
              <a:ext uri="{FF2B5EF4-FFF2-40B4-BE49-F238E27FC236}">
                <a16:creationId xmlns:a16="http://schemas.microsoft.com/office/drawing/2014/main" id="{CF687017-7703-CB3E-3A8C-84C628D90F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98940" y="1397656"/>
            <a:ext cx="503939" cy="503939"/>
          </a:xfrm>
          <a:prstGeom prst="rect">
            <a:avLst/>
          </a:prstGeom>
        </p:spPr>
      </p:pic>
      <p:sp>
        <p:nvSpPr>
          <p:cNvPr id="45" name="Textfeld 44">
            <a:extLst>
              <a:ext uri="{FF2B5EF4-FFF2-40B4-BE49-F238E27FC236}">
                <a16:creationId xmlns:a16="http://schemas.microsoft.com/office/drawing/2014/main" id="{C8397FA0-CD2C-C8A9-815F-DDEE132ADFAC}"/>
              </a:ext>
            </a:extLst>
          </p:cNvPr>
          <p:cNvSpPr txBox="1"/>
          <p:nvPr/>
        </p:nvSpPr>
        <p:spPr>
          <a:xfrm>
            <a:off x="4866102" y="2871173"/>
            <a:ext cx="914400" cy="1226493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b="1" i="0" u="none" dirty="0"/>
              <a:t>Up / Down </a:t>
            </a:r>
            <a:r>
              <a:rPr lang="de-DE" b="1" i="0" u="none" dirty="0" err="1"/>
              <a:t>regulation</a:t>
            </a:r>
            <a:endParaRPr lang="de-DE" b="1" i="0" u="none" dirty="0"/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600" i="0" u="none" dirty="0"/>
          </a:p>
        </p:txBody>
      </p:sp>
      <p:pic>
        <p:nvPicPr>
          <p:cNvPr id="48" name="Grafik 47" descr="Akku mit einfarbiger Füllung">
            <a:extLst>
              <a:ext uri="{FF2B5EF4-FFF2-40B4-BE49-F238E27FC236}">
                <a16:creationId xmlns:a16="http://schemas.microsoft.com/office/drawing/2014/main" id="{075505B5-5E71-19AF-B540-2C56367E382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20548" y="2785511"/>
            <a:ext cx="503939" cy="503939"/>
          </a:xfrm>
          <a:prstGeom prst="rect">
            <a:avLst/>
          </a:prstGeom>
        </p:spPr>
      </p:pic>
      <p:pic>
        <p:nvPicPr>
          <p:cNvPr id="52" name="Grafik 51" descr="Darlehen mit einfarbiger Füllung">
            <a:extLst>
              <a:ext uri="{FF2B5EF4-FFF2-40B4-BE49-F238E27FC236}">
                <a16:creationId xmlns:a16="http://schemas.microsoft.com/office/drawing/2014/main" id="{16816727-4C15-D627-20A9-0EEB4E0EEF5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49488" y="4884988"/>
            <a:ext cx="503939" cy="503939"/>
          </a:xfrm>
          <a:prstGeom prst="rect">
            <a:avLst/>
          </a:prstGeom>
        </p:spPr>
      </p:pic>
      <p:sp>
        <p:nvSpPr>
          <p:cNvPr id="53" name="Textfeld 52">
            <a:extLst>
              <a:ext uri="{FF2B5EF4-FFF2-40B4-BE49-F238E27FC236}">
                <a16:creationId xmlns:a16="http://schemas.microsoft.com/office/drawing/2014/main" id="{4B6128C5-DB3B-CBDA-F992-76C28BE4DA1C}"/>
              </a:ext>
            </a:extLst>
          </p:cNvPr>
          <p:cNvSpPr txBox="1"/>
          <p:nvPr/>
        </p:nvSpPr>
        <p:spPr>
          <a:xfrm>
            <a:off x="5409184" y="4884988"/>
            <a:ext cx="914400" cy="1226493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b="1" i="0" u="none" dirty="0"/>
              <a:t>Trade </a:t>
            </a:r>
            <a:r>
              <a:rPr lang="de-DE" b="1" i="0" u="none" dirty="0" err="1"/>
              <a:t>volatility</a:t>
            </a:r>
            <a:r>
              <a:rPr lang="de-DE" b="1" i="0" u="none" dirty="0"/>
              <a:t>, </a:t>
            </a:r>
            <a:r>
              <a:rPr lang="de-DE" b="1" i="0" u="none" dirty="0" err="1"/>
              <a:t>count</a:t>
            </a:r>
            <a:r>
              <a:rPr lang="de-DE" b="1" i="0" u="none" dirty="0"/>
              <a:t>, </a:t>
            </a:r>
            <a:r>
              <a:rPr lang="de-DE" b="1" i="0" u="none" dirty="0" err="1"/>
              <a:t>volume</a:t>
            </a:r>
            <a:endParaRPr lang="de-DE" b="1" i="0" u="none" dirty="0"/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600" i="0" u="none" dirty="0"/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F60F1E18-6BC2-7E95-113D-ABC00027EE0B}"/>
              </a:ext>
            </a:extLst>
          </p:cNvPr>
          <p:cNvSpPr txBox="1"/>
          <p:nvPr/>
        </p:nvSpPr>
        <p:spPr>
          <a:xfrm>
            <a:off x="9139285" y="5136957"/>
            <a:ext cx="914400" cy="1320031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8000" b="0" i="0" u="none" dirty="0"/>
              <a:t>…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EB45B1A7-7B56-401D-FB0C-1F69A2F500EF}"/>
              </a:ext>
            </a:extLst>
          </p:cNvPr>
          <p:cNvSpPr/>
          <p:nvPr/>
        </p:nvSpPr>
        <p:spPr>
          <a:xfrm>
            <a:off x="1076960" y="1290320"/>
            <a:ext cx="3220720" cy="5832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r>
              <a:rPr lang="de-DE" sz="1600" b="1" dirty="0">
                <a:solidFill>
                  <a:schemeClr val="tx1"/>
                </a:solidFill>
              </a:rPr>
              <a:t>EPIAS</a:t>
            </a:r>
            <a:r>
              <a:rPr lang="de-DE" sz="1600" dirty="0">
                <a:solidFill>
                  <a:schemeClr val="tx1"/>
                </a:solidFill>
              </a:rPr>
              <a:t>, </a:t>
            </a:r>
            <a:r>
              <a:rPr lang="de-DE" sz="1600" dirty="0" err="1">
                <a:solidFill>
                  <a:schemeClr val="tx1"/>
                </a:solidFill>
              </a:rPr>
              <a:t>accessable</a:t>
            </a:r>
            <a:r>
              <a:rPr lang="de-DE" sz="1600" dirty="0">
                <a:solidFill>
                  <a:schemeClr val="tx1"/>
                </a:solidFill>
              </a:rPr>
              <a:t> </a:t>
            </a:r>
            <a:r>
              <a:rPr lang="de-DE" sz="1600" dirty="0" err="1">
                <a:solidFill>
                  <a:schemeClr val="tx1"/>
                </a:solidFill>
              </a:rPr>
              <a:t>through</a:t>
            </a:r>
            <a:r>
              <a:rPr lang="de-DE" sz="1600" dirty="0">
                <a:solidFill>
                  <a:schemeClr val="tx1"/>
                </a:solidFill>
              </a:rPr>
              <a:t> API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E16A53E0-F549-AEE2-E9CA-16E1204CBCB1}"/>
              </a:ext>
            </a:extLst>
          </p:cNvPr>
          <p:cNvSpPr/>
          <p:nvPr/>
        </p:nvSpPr>
        <p:spPr>
          <a:xfrm>
            <a:off x="1076960" y="2060019"/>
            <a:ext cx="3220720" cy="5832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r>
              <a:rPr lang="de-DE" sz="1600" dirty="0">
                <a:solidFill>
                  <a:schemeClr val="tx1"/>
                </a:solidFill>
              </a:rPr>
              <a:t>01.01.2021 – 31.12.2023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CD5F7448-6888-EA5F-9D9D-60116621AB12}"/>
              </a:ext>
            </a:extLst>
          </p:cNvPr>
          <p:cNvSpPr/>
          <p:nvPr/>
        </p:nvSpPr>
        <p:spPr>
          <a:xfrm>
            <a:off x="1076960" y="2857991"/>
            <a:ext cx="3220720" cy="5832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r>
              <a:rPr lang="de-DE" sz="1600" dirty="0">
                <a:solidFill>
                  <a:schemeClr val="tx1"/>
                </a:solidFill>
              </a:rPr>
              <a:t>26.304 </a:t>
            </a:r>
            <a:r>
              <a:rPr lang="de-DE" sz="1600" dirty="0" err="1">
                <a:solidFill>
                  <a:schemeClr val="tx1"/>
                </a:solidFill>
              </a:rPr>
              <a:t>hours</a:t>
            </a:r>
            <a:r>
              <a:rPr lang="de-DE" sz="1600" dirty="0">
                <a:solidFill>
                  <a:schemeClr val="tx1"/>
                </a:solidFill>
              </a:rPr>
              <a:t>, 91 possible </a:t>
            </a:r>
            <a:r>
              <a:rPr lang="de-DE" sz="1600" dirty="0" err="1">
                <a:solidFill>
                  <a:schemeClr val="tx1"/>
                </a:solidFill>
              </a:rPr>
              <a:t>features</a:t>
            </a:r>
            <a:r>
              <a:rPr lang="de-DE" sz="1600" dirty="0">
                <a:solidFill>
                  <a:schemeClr val="tx1"/>
                </a:solidFill>
              </a:rPr>
              <a:t>,</a:t>
            </a:r>
          </a:p>
          <a:p>
            <a:pPr algn="ctr" defTabSz="486000"/>
            <a:r>
              <a:rPr lang="de-DE" sz="1600" dirty="0" err="1">
                <a:solidFill>
                  <a:schemeClr val="tx1"/>
                </a:solidFill>
              </a:rPr>
              <a:t>appr</a:t>
            </a:r>
            <a:r>
              <a:rPr lang="de-DE" sz="1600" dirty="0">
                <a:solidFill>
                  <a:schemeClr val="tx1"/>
                </a:solidFill>
              </a:rPr>
              <a:t>. 21 mio. </a:t>
            </a:r>
            <a:r>
              <a:rPr lang="de-DE" sz="1600" dirty="0" err="1">
                <a:solidFill>
                  <a:schemeClr val="tx1"/>
                </a:solidFill>
              </a:rPr>
              <a:t>trading</a:t>
            </a:r>
            <a:r>
              <a:rPr lang="de-DE" sz="1600" dirty="0">
                <a:solidFill>
                  <a:schemeClr val="tx1"/>
                </a:solidFill>
              </a:rPr>
              <a:t> </a:t>
            </a:r>
            <a:r>
              <a:rPr lang="de-DE" sz="1600" dirty="0" err="1">
                <a:solidFill>
                  <a:schemeClr val="tx1"/>
                </a:solidFill>
              </a:rPr>
              <a:t>orders</a:t>
            </a:r>
            <a:endParaRPr lang="de-DE" sz="1600" dirty="0">
              <a:solidFill>
                <a:schemeClr val="tx1"/>
              </a:solidFill>
            </a:endParaRPr>
          </a:p>
        </p:txBody>
      </p:sp>
      <p:pic>
        <p:nvPicPr>
          <p:cNvPr id="59" name="Grafik 58" descr="Tageskalender Silhouette">
            <a:extLst>
              <a:ext uri="{FF2B5EF4-FFF2-40B4-BE49-F238E27FC236}">
                <a16:creationId xmlns:a16="http://schemas.microsoft.com/office/drawing/2014/main" id="{57EE85DE-007D-AEF0-6FE9-ED6C0244B72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61017" y="2060019"/>
            <a:ext cx="583200" cy="583200"/>
          </a:xfrm>
          <a:prstGeom prst="rect">
            <a:avLst/>
          </a:prstGeom>
        </p:spPr>
      </p:pic>
      <p:pic>
        <p:nvPicPr>
          <p:cNvPr id="60" name="Grafik 59" descr="Liste Silhouette">
            <a:extLst>
              <a:ext uri="{FF2B5EF4-FFF2-40B4-BE49-F238E27FC236}">
                <a16:creationId xmlns:a16="http://schemas.microsoft.com/office/drawing/2014/main" id="{92BF6563-309D-E48A-5FB3-B50A8A8AEBA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61017" y="2859754"/>
            <a:ext cx="583200" cy="583200"/>
          </a:xfrm>
          <a:prstGeom prst="rect">
            <a:avLst/>
          </a:prstGeom>
        </p:spPr>
      </p:pic>
      <p:pic>
        <p:nvPicPr>
          <p:cNvPr id="61" name="Grafik 60" descr="Recherche Silhouette">
            <a:extLst>
              <a:ext uri="{FF2B5EF4-FFF2-40B4-BE49-F238E27FC236}">
                <a16:creationId xmlns:a16="http://schemas.microsoft.com/office/drawing/2014/main" id="{1FC3F277-B5D6-67AF-54C7-B03000632D0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61017" y="3659489"/>
            <a:ext cx="583200" cy="583200"/>
          </a:xfrm>
          <a:prstGeom prst="rect">
            <a:avLst/>
          </a:prstGeom>
        </p:spPr>
      </p:pic>
      <p:sp>
        <p:nvSpPr>
          <p:cNvPr id="64" name="Titel 1">
            <a:extLst>
              <a:ext uri="{FF2B5EF4-FFF2-40B4-BE49-F238E27FC236}">
                <a16:creationId xmlns:a16="http://schemas.microsoft.com/office/drawing/2014/main" id="{5B65CAC6-EF30-4EB3-87F2-F96D707CD2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400" y="318601"/>
            <a:ext cx="11275200" cy="583200"/>
          </a:xfrm>
        </p:spPr>
        <p:txBody>
          <a:bodyPr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3600" b="1" i="0" u="none" dirty="0">
                <a:solidFill>
                  <a:schemeClr val="accent1"/>
                </a:solidFill>
              </a:rPr>
              <a:t>01. Data and </a:t>
            </a:r>
            <a:r>
              <a:rPr lang="de-DE" sz="3600" b="1" i="0" u="none" dirty="0" err="1">
                <a:solidFill>
                  <a:schemeClr val="accent1"/>
                </a:solidFill>
              </a:rPr>
              <a:t>features</a:t>
            </a:r>
            <a:endParaRPr lang="de-DE" sz="3600" b="1" i="0" u="none" dirty="0">
              <a:solidFill>
                <a:schemeClr val="accent1"/>
              </a:solidFill>
            </a:endParaRPr>
          </a:p>
        </p:txBody>
      </p:sp>
      <p:pic>
        <p:nvPicPr>
          <p:cNvPr id="65" name="Grafik 64" descr="Server Silhouette">
            <a:extLst>
              <a:ext uri="{FF2B5EF4-FFF2-40B4-BE49-F238E27FC236}">
                <a16:creationId xmlns:a16="http://schemas.microsoft.com/office/drawing/2014/main" id="{4EDA567C-5FE6-0BCC-8284-6FF85EF1587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61017" y="1290320"/>
            <a:ext cx="583200" cy="583200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3F82C340-5FD0-1F1F-61C8-BF4CBEB18023}"/>
              </a:ext>
            </a:extLst>
          </p:cNvPr>
          <p:cNvSpPr txBox="1"/>
          <p:nvPr/>
        </p:nvSpPr>
        <p:spPr>
          <a:xfrm>
            <a:off x="7751641" y="780854"/>
            <a:ext cx="3054258" cy="914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i="0" u="none" dirty="0"/>
              <a:t>Forecast ID3 </a:t>
            </a:r>
            <a:r>
              <a:rPr lang="de-DE" sz="1600" b="1" i="0" u="none" dirty="0" err="1"/>
              <a:t>price</a:t>
            </a:r>
            <a:r>
              <a:rPr lang="de-DE" sz="1600" b="1" i="0" u="none" dirty="0"/>
              <a:t> </a:t>
            </a:r>
            <a:r>
              <a:rPr lang="de-DE" sz="1600" b="1" i="0" u="none" dirty="0" err="1"/>
              <a:t>of</a:t>
            </a:r>
            <a:r>
              <a:rPr lang="de-DE" sz="1600" b="1" i="0" u="none" dirty="0"/>
              <a:t> </a:t>
            </a:r>
            <a:r>
              <a:rPr lang="de-DE" sz="1600" b="1" i="0" u="none" dirty="0" err="1"/>
              <a:t>hour</a:t>
            </a:r>
            <a:r>
              <a:rPr lang="de-DE" sz="1600" b="1" i="0" u="none" dirty="0"/>
              <a:t> 12 – 1 </a:t>
            </a:r>
            <a:r>
              <a:rPr lang="de-DE" sz="1600" b="1" i="0" u="none" dirty="0" err="1"/>
              <a:t>pm</a:t>
            </a:r>
            <a:endParaRPr lang="de-DE" sz="1600" b="1" i="0" u="none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81E1EB50-511B-0824-8D48-0EFEED349D4A}"/>
              </a:ext>
            </a:extLst>
          </p:cNvPr>
          <p:cNvSpPr/>
          <p:nvPr/>
        </p:nvSpPr>
        <p:spPr>
          <a:xfrm>
            <a:off x="1076960" y="3650929"/>
            <a:ext cx="3220720" cy="2880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0BCBEE9A-C206-ADBD-9529-F88EC9B3C1A0}"/>
              </a:ext>
            </a:extLst>
          </p:cNvPr>
          <p:cNvSpPr/>
          <p:nvPr/>
        </p:nvSpPr>
        <p:spPr>
          <a:xfrm>
            <a:off x="1076960" y="3650929"/>
            <a:ext cx="3220720" cy="2880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A0D529A3-2654-8ECB-B215-6ADEEBE5F15A}"/>
              </a:ext>
            </a:extLst>
          </p:cNvPr>
          <p:cNvSpPr txBox="1"/>
          <p:nvPr/>
        </p:nvSpPr>
        <p:spPr>
          <a:xfrm>
            <a:off x="1243221" y="3798776"/>
            <a:ext cx="914400" cy="1226493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b="1" i="0" u="none" dirty="0" err="1"/>
              <a:t>Difference</a:t>
            </a:r>
            <a:r>
              <a:rPr lang="de-DE" b="1" i="0" u="none" dirty="0"/>
              <a:t> </a:t>
            </a:r>
            <a:r>
              <a:rPr lang="de-DE" b="1" i="0" u="none" dirty="0" err="1"/>
              <a:t>between</a:t>
            </a:r>
            <a:r>
              <a:rPr lang="de-DE" b="1" i="0" u="none" dirty="0"/>
              <a:t> real 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b="1" i="0" u="none" dirty="0"/>
              <a:t>and </a:t>
            </a:r>
            <a:r>
              <a:rPr lang="de-DE" b="1" i="0" u="none" dirty="0" err="1"/>
              <a:t>planned</a:t>
            </a:r>
            <a:r>
              <a:rPr lang="de-DE" b="1" i="0" u="none" dirty="0"/>
              <a:t> </a:t>
            </a:r>
            <a:r>
              <a:rPr lang="de-DE" b="1" i="0" u="none" dirty="0" err="1"/>
              <a:t>production</a:t>
            </a:r>
            <a:endParaRPr lang="de-DE" b="1" i="0" u="none" dirty="0"/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600" i="0" u="none" dirty="0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5998A2F1-E5FF-4C94-0F19-279864655488}"/>
              </a:ext>
            </a:extLst>
          </p:cNvPr>
          <p:cNvSpPr txBox="1"/>
          <p:nvPr/>
        </p:nvSpPr>
        <p:spPr>
          <a:xfrm>
            <a:off x="1243221" y="4477682"/>
            <a:ext cx="914400" cy="1226493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b="1" i="0" u="none" dirty="0"/>
              <a:t>Power plant </a:t>
            </a:r>
            <a:r>
              <a:rPr lang="de-DE" b="1" i="0" u="none" dirty="0" err="1"/>
              <a:t>failure</a:t>
            </a:r>
            <a:endParaRPr lang="de-DE" b="1" i="0" u="none" dirty="0"/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600" i="0" u="none" dirty="0"/>
          </a:p>
        </p:txBody>
      </p:sp>
    </p:spTree>
    <p:extLst>
      <p:ext uri="{BB962C8B-B14F-4D97-AF65-F5344CB8AC3E}">
        <p14:creationId xmlns:p14="http://schemas.microsoft.com/office/powerpoint/2010/main" val="90479906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/>
      <p:bldP spid="45" grpId="0"/>
      <p:bldP spid="53" grpId="0"/>
      <p:bldP spid="54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3EABEF-64B8-45C1-9574-9C9FF106A0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0"/>
              </a:spcBef>
            </a:pPr>
            <a:r>
              <a:rPr lang="de-DE" b="1" dirty="0">
                <a:solidFill>
                  <a:schemeClr val="accent2"/>
                </a:solidFill>
              </a:rPr>
              <a:t>02. Model </a:t>
            </a:r>
            <a:r>
              <a:rPr lang="de-DE" b="1" dirty="0" err="1">
                <a:solidFill>
                  <a:schemeClr val="accent2"/>
                </a:solidFill>
              </a:rPr>
              <a:t>fitting</a:t>
            </a:r>
            <a:endParaRPr lang="de-DE" b="1" dirty="0">
              <a:solidFill>
                <a:schemeClr val="accent2"/>
              </a:solidFill>
            </a:endParaRPr>
          </a:p>
        </p:txBody>
      </p:sp>
      <p:grpSp>
        <p:nvGrpSpPr>
          <p:cNvPr id="15" name="Magnifying glass 02">
            <a:extLst>
              <a:ext uri="{FF2B5EF4-FFF2-40B4-BE49-F238E27FC236}">
                <a16:creationId xmlns:a16="http://schemas.microsoft.com/office/drawing/2014/main" id="{AFBFCC55-E99A-5FE8-AF21-8372D6643C18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>
          <a:xfrm>
            <a:off x="490668" y="1214941"/>
            <a:ext cx="360000" cy="360000"/>
            <a:chOff x="2811687" y="3640192"/>
            <a:chExt cx="592500" cy="592500"/>
          </a:xfrm>
          <a:solidFill>
            <a:schemeClr val="tx1"/>
          </a:solidFill>
        </p:grpSpPr>
        <p:sp>
          <p:nvSpPr>
            <p:cNvPr id="16" name="MIO_PICTOGRAM_PART2">
              <a:extLst>
                <a:ext uri="{FF2B5EF4-FFF2-40B4-BE49-F238E27FC236}">
                  <a16:creationId xmlns:a16="http://schemas.microsoft.com/office/drawing/2014/main" id="{76D7063E-4F8E-F105-A653-009B17A95B3E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>
            <a:xfrm>
              <a:off x="2811687" y="3640192"/>
              <a:ext cx="592500" cy="592500"/>
            </a:xfrm>
            <a:custGeom>
              <a:avLst/>
              <a:gdLst>
                <a:gd name="connsiteX0" fmla="*/ 363941 w 444375"/>
                <a:gd name="connsiteY0" fmla="*/ 308253 h 444375"/>
                <a:gd name="connsiteX1" fmla="*/ 329066 w 444375"/>
                <a:gd name="connsiteY1" fmla="*/ 297566 h 444375"/>
                <a:gd name="connsiteX2" fmla="*/ 303753 w 444375"/>
                <a:gd name="connsiteY2" fmla="*/ 272816 h 444375"/>
                <a:gd name="connsiteX3" fmla="*/ 338628 w 444375"/>
                <a:gd name="connsiteY3" fmla="*/ 170441 h 444375"/>
                <a:gd name="connsiteX4" fmla="*/ 169878 w 444375"/>
                <a:gd name="connsiteY4" fmla="*/ 3 h 444375"/>
                <a:gd name="connsiteX5" fmla="*/ 3 w 444375"/>
                <a:gd name="connsiteY5" fmla="*/ 168753 h 444375"/>
                <a:gd name="connsiteX6" fmla="*/ 168753 w 444375"/>
                <a:gd name="connsiteY6" fmla="*/ 338628 h 444375"/>
                <a:gd name="connsiteX7" fmla="*/ 272253 w 444375"/>
                <a:gd name="connsiteY7" fmla="*/ 303753 h 444375"/>
                <a:gd name="connsiteX8" fmla="*/ 297003 w 444375"/>
                <a:gd name="connsiteY8" fmla="*/ 328503 h 444375"/>
                <a:gd name="connsiteX9" fmla="*/ 307691 w 444375"/>
                <a:gd name="connsiteY9" fmla="*/ 363941 h 444375"/>
                <a:gd name="connsiteX10" fmla="*/ 378003 w 444375"/>
                <a:gd name="connsiteY10" fmla="*/ 434253 h 444375"/>
                <a:gd name="connsiteX11" fmla="*/ 433691 w 444375"/>
                <a:gd name="connsiteY11" fmla="*/ 434253 h 444375"/>
                <a:gd name="connsiteX12" fmla="*/ 433691 w 444375"/>
                <a:gd name="connsiteY12" fmla="*/ 378566 h 444375"/>
                <a:gd name="connsiteX13" fmla="*/ 363941 w 444375"/>
                <a:gd name="connsiteY13" fmla="*/ 308253 h 444375"/>
                <a:gd name="connsiteX14" fmla="*/ 169878 w 444375"/>
                <a:gd name="connsiteY14" fmla="*/ 304878 h 444375"/>
                <a:gd name="connsiteX15" fmla="*/ 34878 w 444375"/>
                <a:gd name="connsiteY15" fmla="*/ 169878 h 444375"/>
                <a:gd name="connsiteX16" fmla="*/ 169878 w 444375"/>
                <a:gd name="connsiteY16" fmla="*/ 34878 h 444375"/>
                <a:gd name="connsiteX17" fmla="*/ 304878 w 444375"/>
                <a:gd name="connsiteY17" fmla="*/ 169878 h 444375"/>
                <a:gd name="connsiteX18" fmla="*/ 169878 w 444375"/>
                <a:gd name="connsiteY18" fmla="*/ 304878 h 444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44375" h="444375">
                  <a:moveTo>
                    <a:pt x="363941" y="308253"/>
                  </a:moveTo>
                  <a:cubicBezTo>
                    <a:pt x="354941" y="299253"/>
                    <a:pt x="341441" y="294753"/>
                    <a:pt x="329066" y="297566"/>
                  </a:cubicBezTo>
                  <a:lnTo>
                    <a:pt x="303753" y="272816"/>
                  </a:lnTo>
                  <a:cubicBezTo>
                    <a:pt x="326253" y="243566"/>
                    <a:pt x="338628" y="207566"/>
                    <a:pt x="338628" y="170441"/>
                  </a:cubicBezTo>
                  <a:cubicBezTo>
                    <a:pt x="339191" y="76503"/>
                    <a:pt x="263253" y="566"/>
                    <a:pt x="169878" y="3"/>
                  </a:cubicBezTo>
                  <a:cubicBezTo>
                    <a:pt x="76503" y="-559"/>
                    <a:pt x="566" y="75378"/>
                    <a:pt x="3" y="168753"/>
                  </a:cubicBezTo>
                  <a:cubicBezTo>
                    <a:pt x="-559" y="262128"/>
                    <a:pt x="75378" y="338066"/>
                    <a:pt x="168753" y="338628"/>
                  </a:cubicBezTo>
                  <a:cubicBezTo>
                    <a:pt x="205878" y="338628"/>
                    <a:pt x="242441" y="326253"/>
                    <a:pt x="272253" y="303753"/>
                  </a:cubicBezTo>
                  <a:lnTo>
                    <a:pt x="297003" y="328503"/>
                  </a:lnTo>
                  <a:cubicBezTo>
                    <a:pt x="294753" y="341441"/>
                    <a:pt x="298691" y="354378"/>
                    <a:pt x="307691" y="363941"/>
                  </a:cubicBezTo>
                  <a:lnTo>
                    <a:pt x="378003" y="434253"/>
                  </a:lnTo>
                  <a:cubicBezTo>
                    <a:pt x="393191" y="449441"/>
                    <a:pt x="418503" y="449441"/>
                    <a:pt x="433691" y="434253"/>
                  </a:cubicBezTo>
                  <a:cubicBezTo>
                    <a:pt x="448878" y="419066"/>
                    <a:pt x="448878" y="393753"/>
                    <a:pt x="433691" y="378566"/>
                  </a:cubicBezTo>
                  <a:lnTo>
                    <a:pt x="363941" y="308253"/>
                  </a:lnTo>
                  <a:close/>
                  <a:moveTo>
                    <a:pt x="169878" y="304878"/>
                  </a:moveTo>
                  <a:cubicBezTo>
                    <a:pt x="95066" y="304878"/>
                    <a:pt x="34878" y="244691"/>
                    <a:pt x="34878" y="169878"/>
                  </a:cubicBezTo>
                  <a:cubicBezTo>
                    <a:pt x="34878" y="95066"/>
                    <a:pt x="95066" y="34878"/>
                    <a:pt x="169878" y="34878"/>
                  </a:cubicBezTo>
                  <a:cubicBezTo>
                    <a:pt x="244691" y="34878"/>
                    <a:pt x="304878" y="95066"/>
                    <a:pt x="304878" y="169878"/>
                  </a:cubicBezTo>
                  <a:cubicBezTo>
                    <a:pt x="304878" y="244128"/>
                    <a:pt x="244128" y="304878"/>
                    <a:pt x="169878" y="304878"/>
                  </a:cubicBezTo>
                  <a:close/>
                </a:path>
              </a:pathLst>
            </a:custGeom>
            <a:grpFill/>
            <a:ln w="55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egoe UI Light"/>
                <a:cs typeface="Segoe UI Light"/>
              </a:endParaRPr>
            </a:p>
          </p:txBody>
        </p:sp>
        <p:sp>
          <p:nvSpPr>
            <p:cNvPr id="17" name="MIO_PICTOGRAM_PART1">
              <a:extLst>
                <a:ext uri="{FF2B5EF4-FFF2-40B4-BE49-F238E27FC236}">
                  <a16:creationId xmlns:a16="http://schemas.microsoft.com/office/drawing/2014/main" id="{6C9D39C2-7CB1-C19A-879B-81B2C172ABE3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>
              <a:off x="2876942" y="3751659"/>
              <a:ext cx="322500" cy="232500"/>
            </a:xfrm>
            <a:custGeom>
              <a:avLst/>
              <a:gdLst>
                <a:gd name="connsiteX0" fmla="*/ 241875 w 241875"/>
                <a:gd name="connsiteY0" fmla="*/ 77841 h 174375"/>
                <a:gd name="connsiteX1" fmla="*/ 209813 w 241875"/>
                <a:gd name="connsiteY1" fmla="*/ 77841 h 174375"/>
                <a:gd name="connsiteX2" fmla="*/ 202500 w 241875"/>
                <a:gd name="connsiteY2" fmla="*/ 82341 h 174375"/>
                <a:gd name="connsiteX3" fmla="*/ 181125 w 241875"/>
                <a:gd name="connsiteY3" fmla="*/ 105403 h 174375"/>
                <a:gd name="connsiteX4" fmla="*/ 163125 w 241875"/>
                <a:gd name="connsiteY4" fmla="*/ 42966 h 174375"/>
                <a:gd name="connsiteX5" fmla="*/ 150750 w 241875"/>
                <a:gd name="connsiteY5" fmla="*/ 36216 h 174375"/>
                <a:gd name="connsiteX6" fmla="*/ 144000 w 241875"/>
                <a:gd name="connsiteY6" fmla="*/ 42403 h 174375"/>
                <a:gd name="connsiteX7" fmla="*/ 110250 w 241875"/>
                <a:gd name="connsiteY7" fmla="*/ 131841 h 174375"/>
                <a:gd name="connsiteX8" fmla="*/ 87188 w 241875"/>
                <a:gd name="connsiteY8" fmla="*/ 8091 h 174375"/>
                <a:gd name="connsiteX9" fmla="*/ 75938 w 241875"/>
                <a:gd name="connsiteY9" fmla="*/ 216 h 174375"/>
                <a:gd name="connsiteX10" fmla="*/ 68063 w 241875"/>
                <a:gd name="connsiteY10" fmla="*/ 6966 h 174375"/>
                <a:gd name="connsiteX11" fmla="*/ 43875 w 241875"/>
                <a:gd name="connsiteY11" fmla="*/ 77841 h 174375"/>
                <a:gd name="connsiteX12" fmla="*/ 0 w 241875"/>
                <a:gd name="connsiteY12" fmla="*/ 77841 h 174375"/>
                <a:gd name="connsiteX13" fmla="*/ 0 w 241875"/>
                <a:gd name="connsiteY13" fmla="*/ 100341 h 174375"/>
                <a:gd name="connsiteX14" fmla="*/ 51188 w 241875"/>
                <a:gd name="connsiteY14" fmla="*/ 100341 h 174375"/>
                <a:gd name="connsiteX15" fmla="*/ 60750 w 241875"/>
                <a:gd name="connsiteY15" fmla="*/ 91903 h 174375"/>
                <a:gd name="connsiteX16" fmla="*/ 74812 w 241875"/>
                <a:gd name="connsiteY16" fmla="*/ 49153 h 174375"/>
                <a:gd name="connsiteX17" fmla="*/ 97312 w 241875"/>
                <a:gd name="connsiteY17" fmla="*/ 170091 h 174375"/>
                <a:gd name="connsiteX18" fmla="*/ 106313 w 241875"/>
                <a:gd name="connsiteY18" fmla="*/ 177966 h 174375"/>
                <a:gd name="connsiteX19" fmla="*/ 107437 w 241875"/>
                <a:gd name="connsiteY19" fmla="*/ 177966 h 174375"/>
                <a:gd name="connsiteX20" fmla="*/ 117000 w 241875"/>
                <a:gd name="connsiteY20" fmla="*/ 171778 h 174375"/>
                <a:gd name="connsiteX21" fmla="*/ 153000 w 241875"/>
                <a:gd name="connsiteY21" fmla="*/ 77278 h 174375"/>
                <a:gd name="connsiteX22" fmla="*/ 167625 w 241875"/>
                <a:gd name="connsiteY22" fmla="*/ 127903 h 174375"/>
                <a:gd name="connsiteX23" fmla="*/ 180000 w 241875"/>
                <a:gd name="connsiteY23" fmla="*/ 134653 h 174375"/>
                <a:gd name="connsiteX24" fmla="*/ 184500 w 241875"/>
                <a:gd name="connsiteY24" fmla="*/ 131841 h 174375"/>
                <a:gd name="connsiteX25" fmla="*/ 214875 w 241875"/>
                <a:gd name="connsiteY25" fmla="*/ 100341 h 174375"/>
                <a:gd name="connsiteX26" fmla="*/ 242437 w 241875"/>
                <a:gd name="connsiteY26" fmla="*/ 100341 h 174375"/>
                <a:gd name="connsiteX27" fmla="*/ 242437 w 241875"/>
                <a:gd name="connsiteY27" fmla="*/ 77841 h 174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41875" h="174375">
                  <a:moveTo>
                    <a:pt x="241875" y="77841"/>
                  </a:moveTo>
                  <a:lnTo>
                    <a:pt x="209813" y="77841"/>
                  </a:lnTo>
                  <a:cubicBezTo>
                    <a:pt x="207000" y="78403"/>
                    <a:pt x="204188" y="80091"/>
                    <a:pt x="202500" y="82341"/>
                  </a:cubicBezTo>
                  <a:lnTo>
                    <a:pt x="181125" y="105403"/>
                  </a:lnTo>
                  <a:lnTo>
                    <a:pt x="163125" y="42966"/>
                  </a:lnTo>
                  <a:cubicBezTo>
                    <a:pt x="161438" y="37903"/>
                    <a:pt x="155813" y="34528"/>
                    <a:pt x="150750" y="36216"/>
                  </a:cubicBezTo>
                  <a:cubicBezTo>
                    <a:pt x="147938" y="37341"/>
                    <a:pt x="145125" y="39028"/>
                    <a:pt x="144000" y="42403"/>
                  </a:cubicBezTo>
                  <a:lnTo>
                    <a:pt x="110250" y="131841"/>
                  </a:lnTo>
                  <a:lnTo>
                    <a:pt x="87188" y="8091"/>
                  </a:lnTo>
                  <a:cubicBezTo>
                    <a:pt x="86062" y="2466"/>
                    <a:pt x="81000" y="-909"/>
                    <a:pt x="75938" y="216"/>
                  </a:cubicBezTo>
                  <a:cubicBezTo>
                    <a:pt x="72563" y="778"/>
                    <a:pt x="69750" y="3591"/>
                    <a:pt x="68063" y="6966"/>
                  </a:cubicBezTo>
                  <a:lnTo>
                    <a:pt x="43875" y="77841"/>
                  </a:lnTo>
                  <a:lnTo>
                    <a:pt x="0" y="77841"/>
                  </a:lnTo>
                  <a:lnTo>
                    <a:pt x="0" y="100341"/>
                  </a:lnTo>
                  <a:lnTo>
                    <a:pt x="51188" y="100341"/>
                  </a:lnTo>
                  <a:cubicBezTo>
                    <a:pt x="55687" y="99778"/>
                    <a:pt x="59625" y="96403"/>
                    <a:pt x="60750" y="91903"/>
                  </a:cubicBezTo>
                  <a:lnTo>
                    <a:pt x="74812" y="49153"/>
                  </a:lnTo>
                  <a:lnTo>
                    <a:pt x="97312" y="170091"/>
                  </a:lnTo>
                  <a:cubicBezTo>
                    <a:pt x="97875" y="174591"/>
                    <a:pt x="101812" y="177966"/>
                    <a:pt x="106313" y="177966"/>
                  </a:cubicBezTo>
                  <a:lnTo>
                    <a:pt x="107437" y="177966"/>
                  </a:lnTo>
                  <a:cubicBezTo>
                    <a:pt x="111375" y="177966"/>
                    <a:pt x="115313" y="175716"/>
                    <a:pt x="117000" y="171778"/>
                  </a:cubicBezTo>
                  <a:lnTo>
                    <a:pt x="153000" y="77278"/>
                  </a:lnTo>
                  <a:lnTo>
                    <a:pt x="167625" y="127903"/>
                  </a:lnTo>
                  <a:cubicBezTo>
                    <a:pt x="169312" y="132966"/>
                    <a:pt x="174375" y="136341"/>
                    <a:pt x="180000" y="134653"/>
                  </a:cubicBezTo>
                  <a:cubicBezTo>
                    <a:pt x="181688" y="134091"/>
                    <a:pt x="183375" y="132966"/>
                    <a:pt x="184500" y="131841"/>
                  </a:cubicBezTo>
                  <a:lnTo>
                    <a:pt x="214875" y="100341"/>
                  </a:lnTo>
                  <a:lnTo>
                    <a:pt x="242437" y="100341"/>
                  </a:lnTo>
                  <a:lnTo>
                    <a:pt x="242437" y="77841"/>
                  </a:lnTo>
                  <a:close/>
                </a:path>
              </a:pathLst>
            </a:custGeom>
            <a:grpFill/>
            <a:ln w="55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egoe UI Light"/>
                <a:cs typeface="Segoe UI Light"/>
              </a:endParaRPr>
            </a:p>
          </p:txBody>
        </p:sp>
      </p:grpSp>
      <p:sp>
        <p:nvSpPr>
          <p:cNvPr id="18" name="Textfeld 17">
            <a:extLst>
              <a:ext uri="{FF2B5EF4-FFF2-40B4-BE49-F238E27FC236}">
                <a16:creationId xmlns:a16="http://schemas.microsoft.com/office/drawing/2014/main" id="{1FF79186-D394-39A3-B1E8-61B3543AD241}"/>
              </a:ext>
            </a:extLst>
          </p:cNvPr>
          <p:cNvSpPr txBox="1"/>
          <p:nvPr/>
        </p:nvSpPr>
        <p:spPr>
          <a:xfrm>
            <a:off x="1036320" y="1275016"/>
            <a:ext cx="914400" cy="914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/>
              <a:t>Forecast </a:t>
            </a:r>
            <a:r>
              <a:rPr lang="de-DE" sz="1600" dirty="0" err="1"/>
              <a:t>the</a:t>
            </a:r>
            <a:r>
              <a:rPr lang="de-DE" sz="1600" dirty="0"/>
              <a:t> ID3 </a:t>
            </a:r>
            <a:r>
              <a:rPr lang="de-DE" sz="1600" dirty="0" err="1"/>
              <a:t>price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turkish</a:t>
            </a:r>
            <a:r>
              <a:rPr lang="de-DE" sz="1600" dirty="0"/>
              <a:t> </a:t>
            </a:r>
            <a:r>
              <a:rPr lang="de-DE" sz="1600" dirty="0" err="1"/>
              <a:t>intraday</a:t>
            </a:r>
            <a:r>
              <a:rPr lang="de-DE" sz="1600" dirty="0"/>
              <a:t> </a:t>
            </a:r>
            <a:r>
              <a:rPr lang="de-DE" sz="1600" dirty="0" err="1"/>
              <a:t>electricity</a:t>
            </a:r>
            <a:r>
              <a:rPr lang="de-DE" sz="1600" dirty="0"/>
              <a:t> </a:t>
            </a:r>
            <a:r>
              <a:rPr lang="de-DE" sz="1600" dirty="0" err="1"/>
              <a:t>market</a:t>
            </a:r>
            <a:endParaRPr lang="de-DE" sz="1600" b="0" i="0" u="none" dirty="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B24CA36D-6E5F-4A86-58E1-86EE1EA043AE}"/>
              </a:ext>
            </a:extLst>
          </p:cNvPr>
          <p:cNvSpPr/>
          <p:nvPr/>
        </p:nvSpPr>
        <p:spPr>
          <a:xfrm>
            <a:off x="530317" y="1775231"/>
            <a:ext cx="5565683" cy="15748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t"/>
          <a:lstStyle>
            <a:lvl1pPr>
              <a:buClr>
                <a:schemeClr val="accent1"/>
              </a:buClr>
              <a:buFont typeface="Wingdings" panose="05000000000000000000" pitchFamily="2" charset="2"/>
              <a:buChar char="§"/>
            </a:lvl1pPr>
            <a:lvl2pPr>
              <a:buClr>
                <a:schemeClr val="accent1"/>
              </a:buClr>
              <a:buFont typeface="Wingdings" panose="05000000000000000000" pitchFamily="2" charset="2"/>
              <a:buChar char="§"/>
            </a:lvl2pPr>
            <a:lvl3pPr>
              <a:buFont typeface="Symbol" panose="05050102010706020507" pitchFamily="18" charset="2"/>
              <a:buChar char="-"/>
            </a:lvl3pPr>
            <a:lvl4pPr>
              <a:buFont typeface="Symbol" panose="05050102010706020507" pitchFamily="18" charset="2"/>
              <a:buChar char="-"/>
            </a:lvl4pPr>
            <a:lvl5pPr>
              <a:buFont typeface="+mj-lt"/>
              <a:buAutoNum type="arabicPeriod"/>
            </a:lvl5pPr>
            <a:lvl6pPr>
              <a:buFont typeface="+mj-lt"/>
              <a:buAutoNum type="arabicPeriod"/>
            </a:lvl6pPr>
            <a:lvl7pPr>
              <a:buFont typeface="+mj-lt"/>
              <a:buAutoNum type="alphaLcPeriod"/>
            </a:lvl7pPr>
            <a:lvl8pPr>
              <a:buFontTx/>
              <a:buBlip>
                <a:blip r:embed="rId6"/>
              </a:buBlip>
            </a:lvl8pPr>
            <a:lvl9pPr>
              <a:buFont typeface="Wingdings" panose="05000000000000000000" pitchFamily="2" charset="2"/>
              <a:buChar char="û"/>
            </a:lvl9pPr>
          </a:lstStyle>
          <a:p>
            <a:pPr defTabSz="486000">
              <a:buNone/>
            </a:pPr>
            <a:r>
              <a:rPr lang="de-DE" sz="1600" b="1" dirty="0">
                <a:solidFill>
                  <a:schemeClr val="tx1"/>
                </a:solidFill>
              </a:rPr>
              <a:t>Models:</a:t>
            </a:r>
          </a:p>
          <a:p>
            <a:pPr defTabSz="486000">
              <a:buNone/>
            </a:pPr>
            <a:endParaRPr lang="de-DE" sz="1600" dirty="0">
              <a:solidFill>
                <a:schemeClr val="tx1"/>
              </a:solidFill>
            </a:endParaRPr>
          </a:p>
          <a:p>
            <a:pPr marL="285750" indent="-285750" defTabSz="486000"/>
            <a:r>
              <a:rPr lang="de-DE" sz="1600" dirty="0">
                <a:solidFill>
                  <a:schemeClr val="tx1"/>
                </a:solidFill>
              </a:rPr>
              <a:t>Random Forest &amp; </a:t>
            </a:r>
            <a:r>
              <a:rPr lang="de-DE" sz="1600" dirty="0" err="1">
                <a:solidFill>
                  <a:schemeClr val="tx1"/>
                </a:solidFill>
              </a:rPr>
              <a:t>Boosted</a:t>
            </a:r>
            <a:r>
              <a:rPr lang="de-DE" sz="1600" dirty="0">
                <a:solidFill>
                  <a:schemeClr val="tx1"/>
                </a:solidFill>
              </a:rPr>
              <a:t> </a:t>
            </a:r>
            <a:r>
              <a:rPr lang="de-DE" sz="1600" dirty="0" err="1">
                <a:solidFill>
                  <a:schemeClr val="tx1"/>
                </a:solidFill>
              </a:rPr>
              <a:t>Tree</a:t>
            </a:r>
            <a:r>
              <a:rPr lang="de-DE" sz="1600" dirty="0">
                <a:solidFill>
                  <a:schemeClr val="tx1"/>
                </a:solidFill>
              </a:rPr>
              <a:t> Regression</a:t>
            </a:r>
          </a:p>
          <a:p>
            <a:pPr marL="285750" indent="-285750" defTabSz="486000"/>
            <a:r>
              <a:rPr lang="de-DE" sz="1600" dirty="0">
                <a:solidFill>
                  <a:schemeClr val="tx1"/>
                </a:solidFill>
              </a:rPr>
              <a:t>Random Forest &amp; </a:t>
            </a:r>
            <a:r>
              <a:rPr lang="de-DE" sz="1600" dirty="0" err="1">
                <a:solidFill>
                  <a:schemeClr val="tx1"/>
                </a:solidFill>
              </a:rPr>
              <a:t>Boosted</a:t>
            </a:r>
            <a:r>
              <a:rPr lang="de-DE" sz="1600" dirty="0">
                <a:solidFill>
                  <a:schemeClr val="tx1"/>
                </a:solidFill>
              </a:rPr>
              <a:t> </a:t>
            </a:r>
            <a:r>
              <a:rPr lang="de-DE" sz="1600" dirty="0" err="1">
                <a:solidFill>
                  <a:schemeClr val="tx1"/>
                </a:solidFill>
              </a:rPr>
              <a:t>Tree</a:t>
            </a:r>
            <a:r>
              <a:rPr lang="de-DE" sz="1600" dirty="0">
                <a:solidFill>
                  <a:schemeClr val="tx1"/>
                </a:solidFill>
              </a:rPr>
              <a:t> Classification</a:t>
            </a:r>
          </a:p>
          <a:p>
            <a:pPr marL="285750" indent="-285750" defTabSz="486000"/>
            <a:r>
              <a:rPr lang="de-DE" sz="1600" dirty="0">
                <a:solidFill>
                  <a:schemeClr val="tx1"/>
                </a:solidFill>
              </a:rPr>
              <a:t>Naive Model: ID3 </a:t>
            </a:r>
            <a:r>
              <a:rPr lang="de-DE" sz="1600" dirty="0" err="1">
                <a:solidFill>
                  <a:schemeClr val="tx1"/>
                </a:solidFill>
              </a:rPr>
              <a:t>price</a:t>
            </a:r>
            <a:r>
              <a:rPr lang="de-DE" sz="1600" dirty="0">
                <a:solidFill>
                  <a:schemeClr val="tx1"/>
                </a:solidFill>
              </a:rPr>
              <a:t> </a:t>
            </a:r>
            <a:r>
              <a:rPr lang="de-DE" sz="1600" dirty="0" err="1">
                <a:solidFill>
                  <a:schemeClr val="tx1"/>
                </a:solidFill>
              </a:rPr>
              <a:t>from</a:t>
            </a:r>
            <a:r>
              <a:rPr lang="de-DE" sz="1600" dirty="0">
                <a:solidFill>
                  <a:schemeClr val="tx1"/>
                </a:solidFill>
              </a:rPr>
              <a:t> </a:t>
            </a:r>
            <a:r>
              <a:rPr lang="de-DE" sz="1600" dirty="0" err="1">
                <a:solidFill>
                  <a:schemeClr val="tx1"/>
                </a:solidFill>
              </a:rPr>
              <a:t>day</a:t>
            </a:r>
            <a:r>
              <a:rPr lang="de-DE" sz="1600" dirty="0">
                <a:solidFill>
                  <a:schemeClr val="tx1"/>
                </a:solidFill>
              </a:rPr>
              <a:t> </a:t>
            </a:r>
            <a:r>
              <a:rPr lang="de-DE" sz="1600" dirty="0" err="1">
                <a:solidFill>
                  <a:schemeClr val="tx1"/>
                </a:solidFill>
              </a:rPr>
              <a:t>before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D95E564E-E6B7-1568-A02A-B5710A24B1BF}"/>
              </a:ext>
            </a:extLst>
          </p:cNvPr>
          <p:cNvSpPr/>
          <p:nvPr/>
        </p:nvSpPr>
        <p:spPr>
          <a:xfrm>
            <a:off x="6177280" y="1775231"/>
            <a:ext cx="5332003" cy="15748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t"/>
          <a:lstStyle>
            <a:lvl1pPr>
              <a:buClr>
                <a:schemeClr val="accent1"/>
              </a:buClr>
              <a:buFont typeface="Wingdings" panose="05000000000000000000" pitchFamily="2" charset="2"/>
              <a:buChar char="§"/>
            </a:lvl1pPr>
            <a:lvl2pPr>
              <a:buClr>
                <a:schemeClr val="accent1"/>
              </a:buClr>
              <a:buFont typeface="Wingdings" panose="05000000000000000000" pitchFamily="2" charset="2"/>
              <a:buChar char="§"/>
            </a:lvl2pPr>
            <a:lvl3pPr>
              <a:buFont typeface="Symbol" panose="05050102010706020507" pitchFamily="18" charset="2"/>
              <a:buChar char="-"/>
            </a:lvl3pPr>
            <a:lvl4pPr>
              <a:buFont typeface="Symbol" panose="05050102010706020507" pitchFamily="18" charset="2"/>
              <a:buChar char="-"/>
            </a:lvl4pPr>
            <a:lvl5pPr>
              <a:buFont typeface="+mj-lt"/>
              <a:buAutoNum type="arabicPeriod"/>
            </a:lvl5pPr>
            <a:lvl6pPr>
              <a:buFont typeface="+mj-lt"/>
              <a:buAutoNum type="arabicPeriod"/>
            </a:lvl6pPr>
            <a:lvl7pPr>
              <a:buFont typeface="+mj-lt"/>
              <a:buAutoNum type="alphaLcPeriod"/>
            </a:lvl7pPr>
            <a:lvl8pPr>
              <a:buFontTx/>
              <a:buBlip>
                <a:blip r:embed="rId6"/>
              </a:buBlip>
            </a:lvl8pPr>
            <a:lvl9pPr>
              <a:buFont typeface="Wingdings" panose="05000000000000000000" pitchFamily="2" charset="2"/>
              <a:buChar char="û"/>
            </a:lvl9pPr>
          </a:lstStyle>
          <a:p>
            <a:pPr defTabSz="486000">
              <a:buNone/>
            </a:pPr>
            <a:r>
              <a:rPr lang="de-DE" sz="1600" b="1" dirty="0">
                <a:solidFill>
                  <a:schemeClr val="tx1"/>
                </a:solidFill>
              </a:rPr>
              <a:t>Train </a:t>
            </a:r>
            <a:r>
              <a:rPr lang="de-DE" sz="1600" b="1" dirty="0" err="1">
                <a:solidFill>
                  <a:schemeClr val="tx1"/>
                </a:solidFill>
              </a:rPr>
              <a:t>methods</a:t>
            </a:r>
            <a:r>
              <a:rPr lang="de-DE" sz="1600" b="1" dirty="0">
                <a:solidFill>
                  <a:schemeClr val="tx1"/>
                </a:solidFill>
              </a:rPr>
              <a:t>:</a:t>
            </a:r>
          </a:p>
          <a:p>
            <a:pPr defTabSz="486000">
              <a:buNone/>
            </a:pPr>
            <a:endParaRPr lang="de-DE" sz="1600" dirty="0">
              <a:solidFill>
                <a:schemeClr val="tx1"/>
              </a:solidFill>
            </a:endParaRPr>
          </a:p>
          <a:p>
            <a:pPr marL="285750" indent="-285750" defTabSz="486000"/>
            <a:r>
              <a:rPr lang="de-DE" sz="1600" dirty="0" err="1">
                <a:solidFill>
                  <a:schemeClr val="tx1"/>
                </a:solidFill>
              </a:rPr>
              <a:t>Weekdays</a:t>
            </a:r>
            <a:endParaRPr lang="de-DE" sz="1600" dirty="0">
              <a:solidFill>
                <a:schemeClr val="tx1"/>
              </a:solidFill>
            </a:endParaRPr>
          </a:p>
          <a:p>
            <a:pPr marL="285750" indent="-285750" defTabSz="486000"/>
            <a:r>
              <a:rPr lang="de-DE" sz="1600" dirty="0">
                <a:solidFill>
                  <a:schemeClr val="tx1"/>
                </a:solidFill>
              </a:rPr>
              <a:t>Hours</a:t>
            </a:r>
          </a:p>
          <a:p>
            <a:pPr marL="285750" indent="-285750" defTabSz="486000"/>
            <a:r>
              <a:rPr lang="de-DE" sz="1600" dirty="0" err="1">
                <a:solidFill>
                  <a:schemeClr val="tx1"/>
                </a:solidFill>
              </a:rPr>
              <a:t>Weekdays</a:t>
            </a:r>
            <a:r>
              <a:rPr lang="de-DE" sz="1600" dirty="0">
                <a:solidFill>
                  <a:schemeClr val="tx1"/>
                </a:solidFill>
              </a:rPr>
              <a:t> &amp; Hours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96A6B0B3-3937-C689-F055-A415AD41F5F8}"/>
              </a:ext>
            </a:extLst>
          </p:cNvPr>
          <p:cNvSpPr/>
          <p:nvPr/>
        </p:nvSpPr>
        <p:spPr>
          <a:xfrm>
            <a:off x="530317" y="3429001"/>
            <a:ext cx="10978966" cy="3110398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t"/>
          <a:lstStyle>
            <a:lvl1pPr>
              <a:buClr>
                <a:schemeClr val="accent1"/>
              </a:buClr>
              <a:buFont typeface="Wingdings" panose="05000000000000000000" pitchFamily="2" charset="2"/>
              <a:buChar char="§"/>
            </a:lvl1pPr>
            <a:lvl2pPr>
              <a:buClr>
                <a:schemeClr val="accent1"/>
              </a:buClr>
              <a:buFont typeface="Wingdings" panose="05000000000000000000" pitchFamily="2" charset="2"/>
              <a:buChar char="§"/>
            </a:lvl2pPr>
            <a:lvl3pPr>
              <a:buFont typeface="Symbol" panose="05050102010706020507" pitchFamily="18" charset="2"/>
              <a:buChar char="-"/>
            </a:lvl3pPr>
            <a:lvl4pPr>
              <a:buFont typeface="Symbol" panose="05050102010706020507" pitchFamily="18" charset="2"/>
              <a:buChar char="-"/>
            </a:lvl4pPr>
            <a:lvl5pPr>
              <a:buFont typeface="+mj-lt"/>
              <a:buAutoNum type="arabicPeriod"/>
            </a:lvl5pPr>
            <a:lvl6pPr>
              <a:buFont typeface="+mj-lt"/>
              <a:buAutoNum type="arabicPeriod"/>
            </a:lvl6pPr>
            <a:lvl7pPr>
              <a:buFont typeface="+mj-lt"/>
              <a:buAutoNum type="alphaLcPeriod"/>
            </a:lvl7pPr>
            <a:lvl8pPr>
              <a:buFontTx/>
              <a:buBlip>
                <a:blip r:embed="rId6"/>
              </a:buBlip>
            </a:lvl8pPr>
            <a:lvl9pPr>
              <a:buFont typeface="Wingdings" panose="05000000000000000000" pitchFamily="2" charset="2"/>
              <a:buChar char="û"/>
            </a:lvl9pPr>
          </a:lstStyle>
          <a:p>
            <a:pPr defTabSz="486000">
              <a:buNone/>
            </a:pPr>
            <a:r>
              <a:rPr lang="de-DE" sz="1600" b="1" dirty="0" err="1">
                <a:solidFill>
                  <a:schemeClr val="tx1"/>
                </a:solidFill>
              </a:rPr>
              <a:t>Idea</a:t>
            </a:r>
            <a:r>
              <a:rPr lang="de-DE" sz="1600" b="1" dirty="0">
                <a:solidFill>
                  <a:schemeClr val="tx1"/>
                </a:solidFill>
              </a:rPr>
              <a:t> </a:t>
            </a:r>
            <a:r>
              <a:rPr lang="de-DE" sz="1600" b="1" dirty="0" err="1">
                <a:solidFill>
                  <a:schemeClr val="tx1"/>
                </a:solidFill>
              </a:rPr>
              <a:t>how</a:t>
            </a:r>
            <a:r>
              <a:rPr lang="de-DE" sz="1600" b="1" dirty="0">
                <a:solidFill>
                  <a:schemeClr val="tx1"/>
                </a:solidFill>
              </a:rPr>
              <a:t> </a:t>
            </a:r>
            <a:r>
              <a:rPr lang="de-DE" sz="1600" b="1" dirty="0" err="1">
                <a:solidFill>
                  <a:schemeClr val="tx1"/>
                </a:solidFill>
              </a:rPr>
              <a:t>to</a:t>
            </a:r>
            <a:r>
              <a:rPr lang="de-DE" sz="1600" b="1" dirty="0">
                <a:solidFill>
                  <a:schemeClr val="tx1"/>
                </a:solidFill>
              </a:rPr>
              <a:t> </a:t>
            </a:r>
            <a:r>
              <a:rPr lang="de-DE" sz="1600" b="1" dirty="0" err="1">
                <a:solidFill>
                  <a:schemeClr val="tx1"/>
                </a:solidFill>
              </a:rPr>
              <a:t>use</a:t>
            </a:r>
            <a:r>
              <a:rPr lang="de-DE" sz="1600" b="1" dirty="0">
                <a:solidFill>
                  <a:schemeClr val="tx1"/>
                </a:solidFill>
              </a:rPr>
              <a:t> </a:t>
            </a:r>
            <a:r>
              <a:rPr lang="de-DE" sz="1600" b="1" dirty="0" err="1">
                <a:solidFill>
                  <a:schemeClr val="tx1"/>
                </a:solidFill>
              </a:rPr>
              <a:t>classification</a:t>
            </a:r>
            <a:r>
              <a:rPr lang="de-DE" sz="1600" b="1" dirty="0">
                <a:solidFill>
                  <a:schemeClr val="tx1"/>
                </a:solidFill>
              </a:rPr>
              <a:t>:</a:t>
            </a:r>
          </a:p>
          <a:p>
            <a:pPr defTabSz="486000">
              <a:buNone/>
            </a:pPr>
            <a:endParaRPr lang="de-DE" sz="1600" dirty="0">
              <a:solidFill>
                <a:schemeClr val="tx1"/>
              </a:solidFill>
            </a:endParaRPr>
          </a:p>
          <a:p>
            <a:pPr defTabSz="486000">
              <a:buNone/>
            </a:pPr>
            <a:endParaRPr lang="de-DE" sz="1600" dirty="0">
              <a:solidFill>
                <a:schemeClr val="tx1"/>
              </a:solidFill>
            </a:endParaRPr>
          </a:p>
          <a:p>
            <a:pPr defTabSz="486000">
              <a:buNone/>
            </a:pPr>
            <a:endParaRPr lang="de-DE" sz="1600" dirty="0">
              <a:solidFill>
                <a:schemeClr val="tx1"/>
              </a:solidFill>
            </a:endParaRPr>
          </a:p>
        </p:txBody>
      </p:sp>
      <p:pic>
        <p:nvPicPr>
          <p:cNvPr id="5" name="Grafik 4" descr="Waldszenerie Silhouette">
            <a:extLst>
              <a:ext uri="{FF2B5EF4-FFF2-40B4-BE49-F238E27FC236}">
                <a16:creationId xmlns:a16="http://schemas.microsoft.com/office/drawing/2014/main" id="{4D381C95-8569-3D26-9B19-B43873A3F04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88560" y="2105431"/>
            <a:ext cx="914400" cy="914400"/>
          </a:xfrm>
          <a:prstGeom prst="rect">
            <a:avLst/>
          </a:prstGeom>
        </p:spPr>
      </p:pic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48BCA950-CD2A-C9E0-6032-6A863EAD2B0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20087198"/>
              </p:ext>
            </p:extLst>
          </p:nvPr>
        </p:nvGraphicFramePr>
        <p:xfrm>
          <a:off x="3159760" y="3428999"/>
          <a:ext cx="6035040" cy="322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2313F82F-406F-4584-BEB6-F56C3703B788}"/>
              </a:ext>
            </a:extLst>
          </p:cNvPr>
          <p:cNvCxnSpPr>
            <a:cxnSpLocks/>
          </p:cNvCxnSpPr>
          <p:nvPr/>
        </p:nvCxnSpPr>
        <p:spPr>
          <a:xfrm>
            <a:off x="8922656" y="4398507"/>
            <a:ext cx="0" cy="1521701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0394F4A0-90AB-B2E5-458B-78D3A4D297A4}"/>
              </a:ext>
            </a:extLst>
          </p:cNvPr>
          <p:cNvCxnSpPr>
            <a:cxnSpLocks/>
          </p:cNvCxnSpPr>
          <p:nvPr/>
        </p:nvCxnSpPr>
        <p:spPr>
          <a:xfrm>
            <a:off x="8700406" y="4627261"/>
            <a:ext cx="0" cy="1292948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F7D5C9CF-5B40-0C62-EF4C-DCD423298ED8}"/>
              </a:ext>
            </a:extLst>
          </p:cNvPr>
          <p:cNvCxnSpPr>
            <a:cxnSpLocks/>
          </p:cNvCxnSpPr>
          <p:nvPr/>
        </p:nvCxnSpPr>
        <p:spPr>
          <a:xfrm>
            <a:off x="8430531" y="4759301"/>
            <a:ext cx="0" cy="1160908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CFBC84E4-3F32-7AD1-B365-A9186742915A}"/>
              </a:ext>
            </a:extLst>
          </p:cNvPr>
          <p:cNvCxnSpPr>
            <a:cxnSpLocks/>
          </p:cNvCxnSpPr>
          <p:nvPr/>
        </p:nvCxnSpPr>
        <p:spPr>
          <a:xfrm>
            <a:off x="8189231" y="4946737"/>
            <a:ext cx="0" cy="973471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4B2B7274-C986-F47C-01C2-5BF70A4654C2}"/>
              </a:ext>
            </a:extLst>
          </p:cNvPr>
          <p:cNvCxnSpPr>
            <a:cxnSpLocks/>
          </p:cNvCxnSpPr>
          <p:nvPr/>
        </p:nvCxnSpPr>
        <p:spPr>
          <a:xfrm>
            <a:off x="7938406" y="5078777"/>
            <a:ext cx="0" cy="841432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C979677C-2367-EA62-B9B5-E7B82CFC1DDC}"/>
              </a:ext>
            </a:extLst>
          </p:cNvPr>
          <p:cNvCxnSpPr>
            <a:cxnSpLocks/>
          </p:cNvCxnSpPr>
          <p:nvPr/>
        </p:nvCxnSpPr>
        <p:spPr>
          <a:xfrm>
            <a:off x="7687581" y="5159358"/>
            <a:ext cx="0" cy="760851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71CF7E25-CFA6-C5B3-21D2-1ED4BCD0660B}"/>
              </a:ext>
            </a:extLst>
          </p:cNvPr>
          <p:cNvCxnSpPr>
            <a:cxnSpLocks/>
          </p:cNvCxnSpPr>
          <p:nvPr/>
        </p:nvCxnSpPr>
        <p:spPr>
          <a:xfrm>
            <a:off x="7436756" y="5228207"/>
            <a:ext cx="0" cy="692001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873C6D8A-2837-4686-139D-F678D43A3BBB}"/>
              </a:ext>
            </a:extLst>
          </p:cNvPr>
          <p:cNvCxnSpPr>
            <a:cxnSpLocks/>
          </p:cNvCxnSpPr>
          <p:nvPr/>
        </p:nvCxnSpPr>
        <p:spPr>
          <a:xfrm>
            <a:off x="7198631" y="5259885"/>
            <a:ext cx="0" cy="66032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B49B0E62-BEA3-A8E9-E090-53652998E5D4}"/>
              </a:ext>
            </a:extLst>
          </p:cNvPr>
          <p:cNvCxnSpPr>
            <a:cxnSpLocks/>
          </p:cNvCxnSpPr>
          <p:nvPr/>
        </p:nvCxnSpPr>
        <p:spPr>
          <a:xfrm>
            <a:off x="6957331" y="5295347"/>
            <a:ext cx="0" cy="624861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FE0E90B4-98B5-C56C-AEFE-B77D50DB328C}"/>
              </a:ext>
            </a:extLst>
          </p:cNvPr>
          <p:cNvCxnSpPr>
            <a:cxnSpLocks/>
          </p:cNvCxnSpPr>
          <p:nvPr/>
        </p:nvCxnSpPr>
        <p:spPr>
          <a:xfrm>
            <a:off x="6700156" y="5339754"/>
            <a:ext cx="0" cy="5804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A01D9995-5DC5-CA1C-F9A2-6D5C4933AEAB}"/>
              </a:ext>
            </a:extLst>
          </p:cNvPr>
          <p:cNvCxnSpPr>
            <a:cxnSpLocks/>
          </p:cNvCxnSpPr>
          <p:nvPr/>
        </p:nvCxnSpPr>
        <p:spPr>
          <a:xfrm>
            <a:off x="6455681" y="5407921"/>
            <a:ext cx="0" cy="512287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2599E214-13A7-A17B-90E8-311DABB45758}"/>
              </a:ext>
            </a:extLst>
          </p:cNvPr>
          <p:cNvCxnSpPr>
            <a:cxnSpLocks/>
          </p:cNvCxnSpPr>
          <p:nvPr/>
        </p:nvCxnSpPr>
        <p:spPr>
          <a:xfrm>
            <a:off x="6197236" y="5499492"/>
            <a:ext cx="0" cy="420716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6A646F32-B9B1-7622-168E-9AF02283F597}"/>
              </a:ext>
            </a:extLst>
          </p:cNvPr>
          <p:cNvCxnSpPr>
            <a:cxnSpLocks/>
          </p:cNvCxnSpPr>
          <p:nvPr/>
        </p:nvCxnSpPr>
        <p:spPr>
          <a:xfrm>
            <a:off x="5965461" y="5574208"/>
            <a:ext cx="0" cy="346001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B62D0895-52EC-8EF5-6729-B12A064D5D62}"/>
              </a:ext>
            </a:extLst>
          </p:cNvPr>
          <p:cNvCxnSpPr>
            <a:cxnSpLocks/>
          </p:cNvCxnSpPr>
          <p:nvPr/>
        </p:nvCxnSpPr>
        <p:spPr>
          <a:xfrm>
            <a:off x="5708286" y="5664065"/>
            <a:ext cx="0" cy="25614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1E96FE7C-BE79-A418-7F06-AD36B9A19F26}"/>
              </a:ext>
            </a:extLst>
          </p:cNvPr>
          <p:cNvCxnSpPr>
            <a:cxnSpLocks/>
          </p:cNvCxnSpPr>
          <p:nvPr/>
        </p:nvCxnSpPr>
        <p:spPr>
          <a:xfrm>
            <a:off x="5458096" y="5747208"/>
            <a:ext cx="0" cy="173001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7B0D37D4-9B8F-7524-FA65-EC4C1116AD54}"/>
              </a:ext>
            </a:extLst>
          </p:cNvPr>
          <p:cNvCxnSpPr>
            <a:cxnSpLocks/>
          </p:cNvCxnSpPr>
          <p:nvPr/>
        </p:nvCxnSpPr>
        <p:spPr>
          <a:xfrm>
            <a:off x="5229496" y="5792137"/>
            <a:ext cx="0" cy="128072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CC3A6994-D507-48BD-EB42-B929FD8C7F5B}"/>
              </a:ext>
            </a:extLst>
          </p:cNvPr>
          <p:cNvCxnSpPr>
            <a:cxnSpLocks/>
          </p:cNvCxnSpPr>
          <p:nvPr/>
        </p:nvCxnSpPr>
        <p:spPr>
          <a:xfrm>
            <a:off x="4965971" y="5810211"/>
            <a:ext cx="0" cy="109998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D8AC7A92-F963-6353-D518-9B954839FEE7}"/>
              </a:ext>
            </a:extLst>
          </p:cNvPr>
          <p:cNvCxnSpPr>
            <a:cxnSpLocks/>
          </p:cNvCxnSpPr>
          <p:nvPr/>
        </p:nvCxnSpPr>
        <p:spPr>
          <a:xfrm>
            <a:off x="4727846" y="5856172"/>
            <a:ext cx="0" cy="64036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32E802F4-4C31-0DEC-1B16-5E2E3475C327}"/>
              </a:ext>
            </a:extLst>
          </p:cNvPr>
          <p:cNvCxnSpPr>
            <a:cxnSpLocks/>
          </p:cNvCxnSpPr>
          <p:nvPr/>
        </p:nvCxnSpPr>
        <p:spPr>
          <a:xfrm>
            <a:off x="4473846" y="5865209"/>
            <a:ext cx="0" cy="64036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38379C41-5B2E-3F25-3DC2-F6202C3B3B2F}"/>
              </a:ext>
            </a:extLst>
          </p:cNvPr>
          <p:cNvCxnSpPr>
            <a:cxnSpLocks/>
          </p:cNvCxnSpPr>
          <p:nvPr/>
        </p:nvCxnSpPr>
        <p:spPr>
          <a:xfrm>
            <a:off x="4242071" y="5883800"/>
            <a:ext cx="0" cy="45445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9" name="Grafik 58" descr="Marke 1 Silhouette">
            <a:extLst>
              <a:ext uri="{FF2B5EF4-FFF2-40B4-BE49-F238E27FC236}">
                <a16:creationId xmlns:a16="http://schemas.microsoft.com/office/drawing/2014/main" id="{1694CE8A-5249-EA98-A7E8-114D866EAEC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971852" y="5590047"/>
            <a:ext cx="256145" cy="256145"/>
          </a:xfrm>
          <a:prstGeom prst="rect">
            <a:avLst/>
          </a:prstGeom>
        </p:spPr>
      </p:pic>
      <p:pic>
        <p:nvPicPr>
          <p:cNvPr id="66" name="Grafik 65" descr="Abzeichen Silhouette">
            <a:extLst>
              <a:ext uri="{FF2B5EF4-FFF2-40B4-BE49-F238E27FC236}">
                <a16:creationId xmlns:a16="http://schemas.microsoft.com/office/drawing/2014/main" id="{D7BE7491-F27C-D0AA-89B4-2DA4F8E78D1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242397" y="5499492"/>
            <a:ext cx="255600" cy="25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57584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3" grpId="0" animBg="1"/>
      <p:bldGraphic spid="8" grpId="0">
        <p:bldAsOne/>
      </p:bldGraphic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3EABEF-64B8-45C1-9574-9C9FF106A0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3600" b="1" i="0" u="none" dirty="0">
                <a:solidFill>
                  <a:schemeClr val="bg2">
                    <a:lumMod val="75000"/>
                  </a:schemeClr>
                </a:solidFill>
              </a:rPr>
              <a:t>03. Model </a:t>
            </a:r>
            <a:r>
              <a:rPr lang="de-DE" sz="3600" b="1" i="0" u="none" dirty="0" err="1">
                <a:solidFill>
                  <a:schemeClr val="bg2">
                    <a:lumMod val="75000"/>
                  </a:schemeClr>
                </a:solidFill>
              </a:rPr>
              <a:t>evaluation</a:t>
            </a:r>
            <a:r>
              <a:rPr lang="de-DE" sz="3600" b="1" i="0" u="none" dirty="0">
                <a:solidFill>
                  <a:schemeClr val="bg2">
                    <a:lumMod val="75000"/>
                  </a:schemeClr>
                </a:solidFill>
              </a:rPr>
              <a:t> Regression </a:t>
            </a:r>
            <a:r>
              <a:rPr lang="de-DE" sz="1600" b="1" i="0" u="none" dirty="0">
                <a:solidFill>
                  <a:schemeClr val="bg2">
                    <a:lumMod val="75000"/>
                  </a:schemeClr>
                </a:solidFill>
              </a:rPr>
              <a:t>(Mean Absolute </a:t>
            </a:r>
            <a:r>
              <a:rPr lang="de-DE" sz="1600" b="1" i="0" u="none" dirty="0" err="1">
                <a:solidFill>
                  <a:schemeClr val="bg2">
                    <a:lumMod val="75000"/>
                  </a:schemeClr>
                </a:solidFill>
              </a:rPr>
              <a:t>Percentage</a:t>
            </a:r>
            <a:r>
              <a:rPr lang="de-DE" sz="1600" b="1" i="0" u="none" dirty="0">
                <a:solidFill>
                  <a:schemeClr val="bg2">
                    <a:lumMod val="75000"/>
                  </a:schemeClr>
                </a:solidFill>
              </a:rPr>
              <a:t> Error „MAPE“)</a:t>
            </a:r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9A2EFE48-E64B-10CA-0DE2-A46F329B6B6A}"/>
              </a:ext>
            </a:extLst>
          </p:cNvPr>
          <p:cNvCxnSpPr>
            <a:cxnSpLocks/>
          </p:cNvCxnSpPr>
          <p:nvPr/>
        </p:nvCxnSpPr>
        <p:spPr>
          <a:xfrm>
            <a:off x="5562600" y="1395856"/>
            <a:ext cx="0" cy="5143543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11301A81-CBE9-5747-D738-246903AC4E59}"/>
              </a:ext>
            </a:extLst>
          </p:cNvPr>
          <p:cNvGrpSpPr/>
          <p:nvPr/>
        </p:nvGrpSpPr>
        <p:grpSpPr>
          <a:xfrm>
            <a:off x="956358" y="1395856"/>
            <a:ext cx="4367668" cy="4905609"/>
            <a:chOff x="956358" y="1395856"/>
            <a:chExt cx="4367668" cy="4905609"/>
          </a:xfrm>
        </p:grpSpPr>
        <p:sp>
          <p:nvSpPr>
            <p:cNvPr id="28" name="Off-page Connector 1">
              <a:extLst>
                <a:ext uri="{FF2B5EF4-FFF2-40B4-BE49-F238E27FC236}">
                  <a16:creationId xmlns:a16="http://schemas.microsoft.com/office/drawing/2014/main" id="{6F3ACACE-4576-33E2-48D4-B9A39468A683}"/>
                </a:ext>
              </a:extLst>
            </p:cNvPr>
            <p:cNvSpPr/>
            <p:nvPr/>
          </p:nvSpPr>
          <p:spPr>
            <a:xfrm>
              <a:off x="2538745" y="1969622"/>
              <a:ext cx="1392641" cy="560562"/>
            </a:xfrm>
            <a:prstGeom prst="flowChartOffpageConnector">
              <a:avLst/>
            </a:prstGeom>
            <a:ln w="3810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29" name="Off-page Connector 9">
              <a:extLst>
                <a:ext uri="{FF2B5EF4-FFF2-40B4-BE49-F238E27FC236}">
                  <a16:creationId xmlns:a16="http://schemas.microsoft.com/office/drawing/2014/main" id="{0A360505-A83A-3320-FEFA-51FD7F9704E6}"/>
                </a:ext>
              </a:extLst>
            </p:cNvPr>
            <p:cNvSpPr/>
            <p:nvPr/>
          </p:nvSpPr>
          <p:spPr>
            <a:xfrm>
              <a:off x="3931385" y="1969622"/>
              <a:ext cx="1392641" cy="560562"/>
            </a:xfrm>
            <a:prstGeom prst="flowChartOffpageConnector">
              <a:avLst/>
            </a:prstGeom>
            <a:solidFill>
              <a:schemeClr val="accent2"/>
            </a:solidFill>
            <a:ln w="3810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30" name="TextBox 14">
              <a:extLst>
                <a:ext uri="{FF2B5EF4-FFF2-40B4-BE49-F238E27FC236}">
                  <a16:creationId xmlns:a16="http://schemas.microsoft.com/office/drawing/2014/main" id="{F4C52D09-5FFE-1BD9-17AF-C7E0D9D9B958}"/>
                </a:ext>
              </a:extLst>
            </p:cNvPr>
            <p:cNvSpPr txBox="1"/>
            <p:nvPr/>
          </p:nvSpPr>
          <p:spPr>
            <a:xfrm>
              <a:off x="2543171" y="2083116"/>
              <a:ext cx="1383794" cy="258410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de-DE" sz="1600" b="1" dirty="0">
                  <a:solidFill>
                    <a:schemeClr val="bg1"/>
                  </a:solidFill>
                  <a:ea typeface="League Spartan" charset="0"/>
                  <a:cs typeface="Poppins" pitchFamily="2" charset="77"/>
                </a:rPr>
                <a:t>Random Forest</a:t>
              </a:r>
            </a:p>
          </p:txBody>
        </p:sp>
        <p:sp>
          <p:nvSpPr>
            <p:cNvPr id="31" name="TextBox 15">
              <a:extLst>
                <a:ext uri="{FF2B5EF4-FFF2-40B4-BE49-F238E27FC236}">
                  <a16:creationId xmlns:a16="http://schemas.microsoft.com/office/drawing/2014/main" id="{B416DEC5-0D08-607C-2013-E0116CAB008A}"/>
                </a:ext>
              </a:extLst>
            </p:cNvPr>
            <p:cNvSpPr txBox="1"/>
            <p:nvPr/>
          </p:nvSpPr>
          <p:spPr>
            <a:xfrm>
              <a:off x="4024576" y="2083116"/>
              <a:ext cx="1206265" cy="258410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de-DE" sz="1600" b="1" dirty="0" err="1">
                  <a:solidFill>
                    <a:schemeClr val="bg1"/>
                  </a:solidFill>
                  <a:ea typeface="League Spartan" charset="0"/>
                  <a:cs typeface="Poppins" pitchFamily="2" charset="77"/>
                </a:rPr>
                <a:t>Boosted</a:t>
              </a:r>
              <a:r>
                <a:rPr lang="de-DE" sz="1600" b="1" dirty="0">
                  <a:solidFill>
                    <a:schemeClr val="bg1"/>
                  </a:solidFill>
                  <a:ea typeface="League Spartan" charset="0"/>
                  <a:cs typeface="Poppins" pitchFamily="2" charset="77"/>
                </a:rPr>
                <a:t> </a:t>
              </a:r>
              <a:r>
                <a:rPr lang="de-DE" sz="1600" b="1" dirty="0" err="1">
                  <a:solidFill>
                    <a:schemeClr val="bg1"/>
                  </a:solidFill>
                  <a:ea typeface="League Spartan" charset="0"/>
                  <a:cs typeface="Poppins" pitchFamily="2" charset="77"/>
                </a:rPr>
                <a:t>Tree</a:t>
              </a:r>
              <a:endParaRPr lang="de-DE" sz="1600" b="1" dirty="0">
                <a:solidFill>
                  <a:schemeClr val="bg1"/>
                </a:solidFill>
                <a:ea typeface="League Spartan" charset="0"/>
                <a:cs typeface="Poppins" pitchFamily="2" charset="77"/>
              </a:endParaRPr>
            </a:p>
          </p:txBody>
        </p:sp>
        <p:sp>
          <p:nvSpPr>
            <p:cNvPr id="32" name="Rectangle 20">
              <a:extLst>
                <a:ext uri="{FF2B5EF4-FFF2-40B4-BE49-F238E27FC236}">
                  <a16:creationId xmlns:a16="http://schemas.microsoft.com/office/drawing/2014/main" id="{6321E74A-64C0-CC50-F377-F8C9D2804902}"/>
                </a:ext>
              </a:extLst>
            </p:cNvPr>
            <p:cNvSpPr/>
            <p:nvPr/>
          </p:nvSpPr>
          <p:spPr>
            <a:xfrm>
              <a:off x="956358" y="2586774"/>
              <a:ext cx="1582387" cy="465386"/>
            </a:xfrm>
            <a:prstGeom prst="rect">
              <a:avLst/>
            </a:prstGeom>
            <a:solidFill>
              <a:schemeClr val="lt2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33" name="Rectangle 21">
              <a:extLst>
                <a:ext uri="{FF2B5EF4-FFF2-40B4-BE49-F238E27FC236}">
                  <a16:creationId xmlns:a16="http://schemas.microsoft.com/office/drawing/2014/main" id="{5F02ADC5-3160-3378-050F-EC78276E9AA9}"/>
                </a:ext>
              </a:extLst>
            </p:cNvPr>
            <p:cNvSpPr/>
            <p:nvPr/>
          </p:nvSpPr>
          <p:spPr>
            <a:xfrm>
              <a:off x="956358" y="3052160"/>
              <a:ext cx="1582387" cy="465386"/>
            </a:xfrm>
            <a:prstGeom prst="rect">
              <a:avLst/>
            </a:prstGeom>
            <a:solidFill>
              <a:schemeClr val="lt2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34" name="Rectangle 22">
              <a:extLst>
                <a:ext uri="{FF2B5EF4-FFF2-40B4-BE49-F238E27FC236}">
                  <a16:creationId xmlns:a16="http://schemas.microsoft.com/office/drawing/2014/main" id="{82ACAC85-79B8-F63B-E2AD-7A4FB339EFDC}"/>
                </a:ext>
              </a:extLst>
            </p:cNvPr>
            <p:cNvSpPr/>
            <p:nvPr/>
          </p:nvSpPr>
          <p:spPr>
            <a:xfrm>
              <a:off x="956358" y="3517546"/>
              <a:ext cx="1582387" cy="465386"/>
            </a:xfrm>
            <a:prstGeom prst="rect">
              <a:avLst/>
            </a:prstGeom>
            <a:solidFill>
              <a:schemeClr val="lt2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35" name="Rectangle 23">
              <a:extLst>
                <a:ext uri="{FF2B5EF4-FFF2-40B4-BE49-F238E27FC236}">
                  <a16:creationId xmlns:a16="http://schemas.microsoft.com/office/drawing/2014/main" id="{01CF4E7C-F36E-2A27-0E0C-18BDC5B2E9A1}"/>
                </a:ext>
              </a:extLst>
            </p:cNvPr>
            <p:cNvSpPr/>
            <p:nvPr/>
          </p:nvSpPr>
          <p:spPr>
            <a:xfrm>
              <a:off x="956358" y="3982933"/>
              <a:ext cx="1582387" cy="465386"/>
            </a:xfrm>
            <a:prstGeom prst="rect">
              <a:avLst/>
            </a:prstGeom>
            <a:solidFill>
              <a:schemeClr val="lt2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36" name="Rectangle 24">
              <a:extLst>
                <a:ext uri="{FF2B5EF4-FFF2-40B4-BE49-F238E27FC236}">
                  <a16:creationId xmlns:a16="http://schemas.microsoft.com/office/drawing/2014/main" id="{FB3A2133-6B74-59A8-D2E1-9190B128C4FD}"/>
                </a:ext>
              </a:extLst>
            </p:cNvPr>
            <p:cNvSpPr/>
            <p:nvPr/>
          </p:nvSpPr>
          <p:spPr>
            <a:xfrm>
              <a:off x="956358" y="4448320"/>
              <a:ext cx="1582387" cy="465386"/>
            </a:xfrm>
            <a:prstGeom prst="rect">
              <a:avLst/>
            </a:prstGeom>
            <a:solidFill>
              <a:schemeClr val="lt2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37" name="Rectangle 25">
              <a:extLst>
                <a:ext uri="{FF2B5EF4-FFF2-40B4-BE49-F238E27FC236}">
                  <a16:creationId xmlns:a16="http://schemas.microsoft.com/office/drawing/2014/main" id="{30310F82-8BE5-6C16-15B6-BE27DB269DFD}"/>
                </a:ext>
              </a:extLst>
            </p:cNvPr>
            <p:cNvSpPr/>
            <p:nvPr/>
          </p:nvSpPr>
          <p:spPr>
            <a:xfrm>
              <a:off x="956358" y="4913706"/>
              <a:ext cx="1582387" cy="465386"/>
            </a:xfrm>
            <a:prstGeom prst="rect">
              <a:avLst/>
            </a:prstGeom>
            <a:solidFill>
              <a:schemeClr val="lt2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38" name="Rectangle 27">
              <a:extLst>
                <a:ext uri="{FF2B5EF4-FFF2-40B4-BE49-F238E27FC236}">
                  <a16:creationId xmlns:a16="http://schemas.microsoft.com/office/drawing/2014/main" id="{B81D46B8-5DA1-2763-E1CF-86FC115AD7BE}"/>
                </a:ext>
              </a:extLst>
            </p:cNvPr>
            <p:cNvSpPr/>
            <p:nvPr/>
          </p:nvSpPr>
          <p:spPr>
            <a:xfrm>
              <a:off x="956358" y="5379092"/>
              <a:ext cx="1582387" cy="465386"/>
            </a:xfrm>
            <a:prstGeom prst="rect">
              <a:avLst/>
            </a:prstGeom>
            <a:solidFill>
              <a:schemeClr val="lt2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39" name="TextBox 28">
              <a:extLst>
                <a:ext uri="{FF2B5EF4-FFF2-40B4-BE49-F238E27FC236}">
                  <a16:creationId xmlns:a16="http://schemas.microsoft.com/office/drawing/2014/main" id="{CA0AFA3C-BC70-4834-8730-95C76AFB27CC}"/>
                </a:ext>
              </a:extLst>
            </p:cNvPr>
            <p:cNvSpPr txBox="1"/>
            <p:nvPr/>
          </p:nvSpPr>
          <p:spPr>
            <a:xfrm>
              <a:off x="1332254" y="2692328"/>
              <a:ext cx="830600" cy="258410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de-DE" sz="1600" b="1" dirty="0">
                  <a:solidFill>
                    <a:schemeClr val="dk1"/>
                  </a:solidFill>
                  <a:ea typeface="League Spartan" charset="0"/>
                  <a:cs typeface="Poppins" pitchFamily="2" charset="77"/>
                </a:rPr>
                <a:t>Monday</a:t>
              </a:r>
            </a:p>
          </p:txBody>
        </p:sp>
        <p:sp>
          <p:nvSpPr>
            <p:cNvPr id="40" name="TextBox 29">
              <a:extLst>
                <a:ext uri="{FF2B5EF4-FFF2-40B4-BE49-F238E27FC236}">
                  <a16:creationId xmlns:a16="http://schemas.microsoft.com/office/drawing/2014/main" id="{1D3331FB-773A-69F4-6D1F-7B097A764A69}"/>
                </a:ext>
              </a:extLst>
            </p:cNvPr>
            <p:cNvSpPr txBox="1"/>
            <p:nvPr/>
          </p:nvSpPr>
          <p:spPr>
            <a:xfrm>
              <a:off x="1343366" y="3155649"/>
              <a:ext cx="808378" cy="258410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de-DE" sz="1600" b="1" dirty="0">
                  <a:solidFill>
                    <a:schemeClr val="dk1"/>
                  </a:solidFill>
                  <a:ea typeface="League Spartan" charset="0"/>
                  <a:cs typeface="Poppins" pitchFamily="2" charset="77"/>
                </a:rPr>
                <a:t>Tuesday</a:t>
              </a:r>
            </a:p>
          </p:txBody>
        </p:sp>
        <p:sp>
          <p:nvSpPr>
            <p:cNvPr id="41" name="TextBox 31">
              <a:extLst>
                <a:ext uri="{FF2B5EF4-FFF2-40B4-BE49-F238E27FC236}">
                  <a16:creationId xmlns:a16="http://schemas.microsoft.com/office/drawing/2014/main" id="{59F43BCC-38F4-CE5F-224D-F9384B5DFE46}"/>
                </a:ext>
              </a:extLst>
            </p:cNvPr>
            <p:cNvSpPr txBox="1"/>
            <p:nvPr/>
          </p:nvSpPr>
          <p:spPr>
            <a:xfrm>
              <a:off x="1195343" y="3618970"/>
              <a:ext cx="1104419" cy="258410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de-DE" sz="1600" b="1" dirty="0">
                  <a:solidFill>
                    <a:schemeClr val="dk1"/>
                  </a:solidFill>
                  <a:ea typeface="League Spartan" charset="0"/>
                  <a:cs typeface="Poppins" pitchFamily="2" charset="77"/>
                </a:rPr>
                <a:t>Wednesday</a:t>
              </a:r>
            </a:p>
          </p:txBody>
        </p:sp>
        <p:sp>
          <p:nvSpPr>
            <p:cNvPr id="42" name="TextBox 32">
              <a:extLst>
                <a:ext uri="{FF2B5EF4-FFF2-40B4-BE49-F238E27FC236}">
                  <a16:creationId xmlns:a16="http://schemas.microsoft.com/office/drawing/2014/main" id="{9C678949-38FA-9ABB-CE81-9400A88C34FA}"/>
                </a:ext>
              </a:extLst>
            </p:cNvPr>
            <p:cNvSpPr txBox="1"/>
            <p:nvPr/>
          </p:nvSpPr>
          <p:spPr>
            <a:xfrm>
              <a:off x="1295488" y="4086422"/>
              <a:ext cx="904132" cy="258410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de-DE" sz="1600" b="1" dirty="0" err="1">
                  <a:solidFill>
                    <a:schemeClr val="dk1"/>
                  </a:solidFill>
                  <a:ea typeface="League Spartan" charset="0"/>
                  <a:cs typeface="Poppins" pitchFamily="2" charset="77"/>
                </a:rPr>
                <a:t>Thursday</a:t>
              </a:r>
              <a:endParaRPr lang="de-DE" sz="1600" b="1" dirty="0">
                <a:solidFill>
                  <a:schemeClr val="dk1"/>
                </a:solidFill>
                <a:ea typeface="League Spartan" charset="0"/>
                <a:cs typeface="Poppins" pitchFamily="2" charset="77"/>
              </a:endParaRPr>
            </a:p>
          </p:txBody>
        </p:sp>
        <p:sp>
          <p:nvSpPr>
            <p:cNvPr id="43" name="TextBox 33">
              <a:extLst>
                <a:ext uri="{FF2B5EF4-FFF2-40B4-BE49-F238E27FC236}">
                  <a16:creationId xmlns:a16="http://schemas.microsoft.com/office/drawing/2014/main" id="{EB6C9762-2753-C8DF-3844-27885FCADE2C}"/>
                </a:ext>
              </a:extLst>
            </p:cNvPr>
            <p:cNvSpPr txBox="1"/>
            <p:nvPr/>
          </p:nvSpPr>
          <p:spPr>
            <a:xfrm>
              <a:off x="1421853" y="4551808"/>
              <a:ext cx="651398" cy="258410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de-DE" sz="1600" b="1" dirty="0">
                  <a:solidFill>
                    <a:schemeClr val="dk1"/>
                  </a:solidFill>
                  <a:ea typeface="League Spartan" charset="0"/>
                  <a:cs typeface="Poppins" pitchFamily="2" charset="77"/>
                </a:rPr>
                <a:t>Friday</a:t>
              </a:r>
            </a:p>
          </p:txBody>
        </p:sp>
        <p:sp>
          <p:nvSpPr>
            <p:cNvPr id="44" name="TextBox 34">
              <a:extLst>
                <a:ext uri="{FF2B5EF4-FFF2-40B4-BE49-F238E27FC236}">
                  <a16:creationId xmlns:a16="http://schemas.microsoft.com/office/drawing/2014/main" id="{A1A96415-6702-E390-1AFC-6B60ADFEA984}"/>
                </a:ext>
              </a:extLst>
            </p:cNvPr>
            <p:cNvSpPr txBox="1"/>
            <p:nvPr/>
          </p:nvSpPr>
          <p:spPr>
            <a:xfrm>
              <a:off x="1313258" y="5017194"/>
              <a:ext cx="868590" cy="258410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de-DE" sz="1600" b="1" dirty="0">
                  <a:solidFill>
                    <a:schemeClr val="dk1"/>
                  </a:solidFill>
                  <a:ea typeface="League Spartan" charset="0"/>
                  <a:cs typeface="Poppins" pitchFamily="2" charset="77"/>
                </a:rPr>
                <a:t>Saturday</a:t>
              </a:r>
            </a:p>
          </p:txBody>
        </p:sp>
        <p:sp>
          <p:nvSpPr>
            <p:cNvPr id="45" name="TextBox 35">
              <a:extLst>
                <a:ext uri="{FF2B5EF4-FFF2-40B4-BE49-F238E27FC236}">
                  <a16:creationId xmlns:a16="http://schemas.microsoft.com/office/drawing/2014/main" id="{0C2CA2B4-EAF9-1A32-324D-C5C31B3AE483}"/>
                </a:ext>
              </a:extLst>
            </p:cNvPr>
            <p:cNvSpPr txBox="1"/>
            <p:nvPr/>
          </p:nvSpPr>
          <p:spPr>
            <a:xfrm>
              <a:off x="1366601" y="5482581"/>
              <a:ext cx="761906" cy="258410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de-DE" sz="1600" b="1" dirty="0">
                  <a:solidFill>
                    <a:schemeClr val="dk1"/>
                  </a:solidFill>
                  <a:ea typeface="League Spartan" charset="0"/>
                  <a:cs typeface="Poppins" pitchFamily="2" charset="77"/>
                </a:rPr>
                <a:t>Sunday</a:t>
              </a:r>
            </a:p>
          </p:txBody>
        </p:sp>
        <p:sp>
          <p:nvSpPr>
            <p:cNvPr id="46" name="Rectangle 38">
              <a:extLst>
                <a:ext uri="{FF2B5EF4-FFF2-40B4-BE49-F238E27FC236}">
                  <a16:creationId xmlns:a16="http://schemas.microsoft.com/office/drawing/2014/main" id="{D33F9BAB-39C9-A831-63C2-779887334794}"/>
                </a:ext>
              </a:extLst>
            </p:cNvPr>
            <p:cNvSpPr/>
            <p:nvPr/>
          </p:nvSpPr>
          <p:spPr>
            <a:xfrm>
              <a:off x="2538745" y="2586774"/>
              <a:ext cx="1392641" cy="465386"/>
            </a:xfrm>
            <a:prstGeom prst="rect">
              <a:avLst/>
            </a:prstGeom>
            <a:noFill/>
            <a:ln w="38100" cap="flat" cmpd="sng" algn="ctr">
              <a:solidFill>
                <a:schemeClr val="l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47" name="Rectangle 39">
              <a:extLst>
                <a:ext uri="{FF2B5EF4-FFF2-40B4-BE49-F238E27FC236}">
                  <a16:creationId xmlns:a16="http://schemas.microsoft.com/office/drawing/2014/main" id="{FA470CD3-60C2-D2BB-7C91-C0C03BE14AC6}"/>
                </a:ext>
              </a:extLst>
            </p:cNvPr>
            <p:cNvSpPr/>
            <p:nvPr/>
          </p:nvSpPr>
          <p:spPr>
            <a:xfrm>
              <a:off x="2538745" y="3052160"/>
              <a:ext cx="1392641" cy="465386"/>
            </a:xfrm>
            <a:prstGeom prst="rect">
              <a:avLst/>
            </a:prstGeom>
            <a:noFill/>
            <a:ln w="38100" cap="flat" cmpd="sng" algn="ctr">
              <a:solidFill>
                <a:schemeClr val="l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48" name="Rectangle 40">
              <a:extLst>
                <a:ext uri="{FF2B5EF4-FFF2-40B4-BE49-F238E27FC236}">
                  <a16:creationId xmlns:a16="http://schemas.microsoft.com/office/drawing/2014/main" id="{09865495-CF3E-915E-21FA-D4131E87D81B}"/>
                </a:ext>
              </a:extLst>
            </p:cNvPr>
            <p:cNvSpPr/>
            <p:nvPr/>
          </p:nvSpPr>
          <p:spPr>
            <a:xfrm>
              <a:off x="2538745" y="3517546"/>
              <a:ext cx="1392641" cy="465386"/>
            </a:xfrm>
            <a:prstGeom prst="rect">
              <a:avLst/>
            </a:prstGeom>
            <a:noFill/>
            <a:ln w="38100" cap="flat" cmpd="sng" algn="ctr">
              <a:solidFill>
                <a:schemeClr val="l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49" name="Rectangle 41">
              <a:extLst>
                <a:ext uri="{FF2B5EF4-FFF2-40B4-BE49-F238E27FC236}">
                  <a16:creationId xmlns:a16="http://schemas.microsoft.com/office/drawing/2014/main" id="{0EAD1348-3F1D-92C8-0619-B948B584C4F3}"/>
                </a:ext>
              </a:extLst>
            </p:cNvPr>
            <p:cNvSpPr/>
            <p:nvPr/>
          </p:nvSpPr>
          <p:spPr>
            <a:xfrm>
              <a:off x="2538745" y="3982933"/>
              <a:ext cx="1392641" cy="465386"/>
            </a:xfrm>
            <a:prstGeom prst="rect">
              <a:avLst/>
            </a:prstGeom>
            <a:noFill/>
            <a:ln w="38100" cap="flat" cmpd="sng" algn="ctr">
              <a:solidFill>
                <a:schemeClr val="l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50" name="Rectangle 42">
              <a:extLst>
                <a:ext uri="{FF2B5EF4-FFF2-40B4-BE49-F238E27FC236}">
                  <a16:creationId xmlns:a16="http://schemas.microsoft.com/office/drawing/2014/main" id="{B73E8835-B359-F688-B13C-D677AFDF6A11}"/>
                </a:ext>
              </a:extLst>
            </p:cNvPr>
            <p:cNvSpPr/>
            <p:nvPr/>
          </p:nvSpPr>
          <p:spPr>
            <a:xfrm>
              <a:off x="2538745" y="4448320"/>
              <a:ext cx="1392641" cy="465386"/>
            </a:xfrm>
            <a:prstGeom prst="rect">
              <a:avLst/>
            </a:prstGeom>
            <a:noFill/>
            <a:ln w="38100" cap="flat" cmpd="sng" algn="ctr">
              <a:solidFill>
                <a:schemeClr val="l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51" name="Rectangle 43">
              <a:extLst>
                <a:ext uri="{FF2B5EF4-FFF2-40B4-BE49-F238E27FC236}">
                  <a16:creationId xmlns:a16="http://schemas.microsoft.com/office/drawing/2014/main" id="{4AB0C106-86FE-F0B2-BC2D-BA6E88CF5FB0}"/>
                </a:ext>
              </a:extLst>
            </p:cNvPr>
            <p:cNvSpPr/>
            <p:nvPr/>
          </p:nvSpPr>
          <p:spPr>
            <a:xfrm>
              <a:off x="2538745" y="4913706"/>
              <a:ext cx="1392641" cy="465386"/>
            </a:xfrm>
            <a:prstGeom prst="rect">
              <a:avLst/>
            </a:prstGeom>
            <a:noFill/>
            <a:ln w="38100" cap="flat" cmpd="sng" algn="ctr">
              <a:solidFill>
                <a:schemeClr val="l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52" name="Rectangle 44">
              <a:extLst>
                <a:ext uri="{FF2B5EF4-FFF2-40B4-BE49-F238E27FC236}">
                  <a16:creationId xmlns:a16="http://schemas.microsoft.com/office/drawing/2014/main" id="{C67EB714-3182-4AF7-4781-4D89950D0E31}"/>
                </a:ext>
              </a:extLst>
            </p:cNvPr>
            <p:cNvSpPr/>
            <p:nvPr/>
          </p:nvSpPr>
          <p:spPr>
            <a:xfrm>
              <a:off x="2538745" y="5379092"/>
              <a:ext cx="1392641" cy="465386"/>
            </a:xfrm>
            <a:prstGeom prst="rect">
              <a:avLst/>
            </a:prstGeom>
            <a:noFill/>
            <a:ln w="38100" cap="flat" cmpd="sng" algn="ctr">
              <a:solidFill>
                <a:schemeClr val="l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53" name="Rectangle 46">
              <a:extLst>
                <a:ext uri="{FF2B5EF4-FFF2-40B4-BE49-F238E27FC236}">
                  <a16:creationId xmlns:a16="http://schemas.microsoft.com/office/drawing/2014/main" id="{CF49FC8F-E56C-EE6C-EA03-AEC362685A74}"/>
                </a:ext>
              </a:extLst>
            </p:cNvPr>
            <p:cNvSpPr/>
            <p:nvPr/>
          </p:nvSpPr>
          <p:spPr>
            <a:xfrm>
              <a:off x="3931384" y="2586774"/>
              <a:ext cx="1392641" cy="465386"/>
            </a:xfrm>
            <a:prstGeom prst="rect">
              <a:avLst/>
            </a:prstGeom>
            <a:noFill/>
            <a:ln w="38100" cap="flat" cmpd="sng" algn="ctr">
              <a:solidFill>
                <a:schemeClr val="l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54" name="Rectangle 47">
              <a:extLst>
                <a:ext uri="{FF2B5EF4-FFF2-40B4-BE49-F238E27FC236}">
                  <a16:creationId xmlns:a16="http://schemas.microsoft.com/office/drawing/2014/main" id="{89020BD1-73DF-EBC9-BF2E-83278F78A014}"/>
                </a:ext>
              </a:extLst>
            </p:cNvPr>
            <p:cNvSpPr/>
            <p:nvPr/>
          </p:nvSpPr>
          <p:spPr>
            <a:xfrm>
              <a:off x="3931384" y="3052160"/>
              <a:ext cx="1392641" cy="465386"/>
            </a:xfrm>
            <a:prstGeom prst="rect">
              <a:avLst/>
            </a:prstGeom>
            <a:noFill/>
            <a:ln w="38100" cap="flat" cmpd="sng" algn="ctr">
              <a:solidFill>
                <a:schemeClr val="l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55" name="Rectangle 48">
              <a:extLst>
                <a:ext uri="{FF2B5EF4-FFF2-40B4-BE49-F238E27FC236}">
                  <a16:creationId xmlns:a16="http://schemas.microsoft.com/office/drawing/2014/main" id="{80774687-AF7F-E041-B224-1D3B98B421D5}"/>
                </a:ext>
              </a:extLst>
            </p:cNvPr>
            <p:cNvSpPr/>
            <p:nvPr/>
          </p:nvSpPr>
          <p:spPr>
            <a:xfrm>
              <a:off x="3931384" y="3517546"/>
              <a:ext cx="1392641" cy="465386"/>
            </a:xfrm>
            <a:prstGeom prst="rect">
              <a:avLst/>
            </a:prstGeom>
            <a:noFill/>
            <a:ln w="38100" cap="flat" cmpd="sng" algn="ctr">
              <a:solidFill>
                <a:schemeClr val="l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56" name="Rectangle 49">
              <a:extLst>
                <a:ext uri="{FF2B5EF4-FFF2-40B4-BE49-F238E27FC236}">
                  <a16:creationId xmlns:a16="http://schemas.microsoft.com/office/drawing/2014/main" id="{86E03BDF-2A92-C0DA-3C60-B7187DBC2640}"/>
                </a:ext>
              </a:extLst>
            </p:cNvPr>
            <p:cNvSpPr/>
            <p:nvPr/>
          </p:nvSpPr>
          <p:spPr>
            <a:xfrm>
              <a:off x="3931384" y="3982933"/>
              <a:ext cx="1392641" cy="465386"/>
            </a:xfrm>
            <a:prstGeom prst="rect">
              <a:avLst/>
            </a:prstGeom>
            <a:noFill/>
            <a:ln w="38100" cap="flat" cmpd="sng" algn="ctr">
              <a:solidFill>
                <a:schemeClr val="l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57" name="Rectangle 50">
              <a:extLst>
                <a:ext uri="{FF2B5EF4-FFF2-40B4-BE49-F238E27FC236}">
                  <a16:creationId xmlns:a16="http://schemas.microsoft.com/office/drawing/2014/main" id="{0AB54F33-E8EB-A8CE-6CB2-67FDFDFD0969}"/>
                </a:ext>
              </a:extLst>
            </p:cNvPr>
            <p:cNvSpPr/>
            <p:nvPr/>
          </p:nvSpPr>
          <p:spPr>
            <a:xfrm>
              <a:off x="3931384" y="4448320"/>
              <a:ext cx="1392641" cy="465386"/>
            </a:xfrm>
            <a:prstGeom prst="rect">
              <a:avLst/>
            </a:prstGeom>
            <a:noFill/>
            <a:ln w="38100" cap="flat" cmpd="sng" algn="ctr">
              <a:solidFill>
                <a:schemeClr val="l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58" name="Rectangle 51">
              <a:extLst>
                <a:ext uri="{FF2B5EF4-FFF2-40B4-BE49-F238E27FC236}">
                  <a16:creationId xmlns:a16="http://schemas.microsoft.com/office/drawing/2014/main" id="{6EC88B72-8E54-BC59-682B-CC7EAF5D6E40}"/>
                </a:ext>
              </a:extLst>
            </p:cNvPr>
            <p:cNvSpPr/>
            <p:nvPr/>
          </p:nvSpPr>
          <p:spPr>
            <a:xfrm>
              <a:off x="3931384" y="4913706"/>
              <a:ext cx="1392641" cy="465386"/>
            </a:xfrm>
            <a:prstGeom prst="rect">
              <a:avLst/>
            </a:prstGeom>
            <a:noFill/>
            <a:ln w="38100" cap="flat" cmpd="sng" algn="ctr">
              <a:solidFill>
                <a:schemeClr val="l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59" name="Rectangle 52">
              <a:extLst>
                <a:ext uri="{FF2B5EF4-FFF2-40B4-BE49-F238E27FC236}">
                  <a16:creationId xmlns:a16="http://schemas.microsoft.com/office/drawing/2014/main" id="{4E95AEA2-DEDE-63B0-3E01-0F8810F53A3D}"/>
                </a:ext>
              </a:extLst>
            </p:cNvPr>
            <p:cNvSpPr/>
            <p:nvPr/>
          </p:nvSpPr>
          <p:spPr>
            <a:xfrm>
              <a:off x="3931384" y="5379092"/>
              <a:ext cx="1392641" cy="465386"/>
            </a:xfrm>
            <a:prstGeom prst="rect">
              <a:avLst/>
            </a:prstGeom>
            <a:noFill/>
            <a:ln w="38100" cap="flat" cmpd="sng" algn="ctr">
              <a:solidFill>
                <a:schemeClr val="l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82" name="Textfeld 81">
              <a:extLst>
                <a:ext uri="{FF2B5EF4-FFF2-40B4-BE49-F238E27FC236}">
                  <a16:creationId xmlns:a16="http://schemas.microsoft.com/office/drawing/2014/main" id="{818FB26D-ACE9-CDE7-9F48-11F38220FBA1}"/>
                </a:ext>
              </a:extLst>
            </p:cNvPr>
            <p:cNvSpPr txBox="1"/>
            <p:nvPr/>
          </p:nvSpPr>
          <p:spPr>
            <a:xfrm>
              <a:off x="2691829" y="2743725"/>
              <a:ext cx="1377111" cy="424759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de-DE" sz="1600" b="0" i="0" u="none" dirty="0" err="1"/>
            </a:p>
          </p:txBody>
        </p:sp>
        <p:sp>
          <p:nvSpPr>
            <p:cNvPr id="83" name="Textfeld 82">
              <a:extLst>
                <a:ext uri="{FF2B5EF4-FFF2-40B4-BE49-F238E27FC236}">
                  <a16:creationId xmlns:a16="http://schemas.microsoft.com/office/drawing/2014/main" id="{6FFE5691-1A54-E301-E46D-92324B624307}"/>
                </a:ext>
              </a:extLst>
            </p:cNvPr>
            <p:cNvSpPr txBox="1"/>
            <p:nvPr/>
          </p:nvSpPr>
          <p:spPr>
            <a:xfrm>
              <a:off x="2549854" y="4023560"/>
              <a:ext cx="1377111" cy="424759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de-DE" sz="1600" b="0" i="0" u="none" dirty="0" err="1"/>
            </a:p>
          </p:txBody>
        </p:sp>
        <p:sp>
          <p:nvSpPr>
            <p:cNvPr id="84" name="TextBox 28">
              <a:extLst>
                <a:ext uri="{FF2B5EF4-FFF2-40B4-BE49-F238E27FC236}">
                  <a16:creationId xmlns:a16="http://schemas.microsoft.com/office/drawing/2014/main" id="{15C68B2F-0951-C560-2348-8CA1B238056F}"/>
                </a:ext>
              </a:extLst>
            </p:cNvPr>
            <p:cNvSpPr txBox="1"/>
            <p:nvPr/>
          </p:nvSpPr>
          <p:spPr>
            <a:xfrm>
              <a:off x="2849509" y="2648055"/>
              <a:ext cx="771365" cy="338554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de-DE" sz="1600" b="1" dirty="0">
                  <a:ea typeface="League Spartan" charset="0"/>
                  <a:cs typeface="Poppins" pitchFamily="2" charset="77"/>
                </a:rPr>
                <a:t>4.64 %</a:t>
              </a:r>
            </a:p>
          </p:txBody>
        </p:sp>
        <p:sp>
          <p:nvSpPr>
            <p:cNvPr id="85" name="TextBox 29">
              <a:extLst>
                <a:ext uri="{FF2B5EF4-FFF2-40B4-BE49-F238E27FC236}">
                  <a16:creationId xmlns:a16="http://schemas.microsoft.com/office/drawing/2014/main" id="{C51C8829-F2F3-C0CB-E175-2417494B392D}"/>
                </a:ext>
              </a:extLst>
            </p:cNvPr>
            <p:cNvSpPr txBox="1"/>
            <p:nvPr/>
          </p:nvSpPr>
          <p:spPr>
            <a:xfrm>
              <a:off x="2878880" y="3151448"/>
              <a:ext cx="712625" cy="258410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de-DE" sz="1600" b="1" dirty="0">
                  <a:solidFill>
                    <a:schemeClr val="dk1"/>
                  </a:solidFill>
                  <a:ea typeface="League Spartan" charset="0"/>
                  <a:cs typeface="Poppins" pitchFamily="2" charset="77"/>
                </a:rPr>
                <a:t>3.33 %</a:t>
              </a:r>
            </a:p>
          </p:txBody>
        </p:sp>
        <p:sp>
          <p:nvSpPr>
            <p:cNvPr id="86" name="TextBox 31">
              <a:extLst>
                <a:ext uri="{FF2B5EF4-FFF2-40B4-BE49-F238E27FC236}">
                  <a16:creationId xmlns:a16="http://schemas.microsoft.com/office/drawing/2014/main" id="{BA460E26-2F12-2781-98DF-9D9D13609D37}"/>
                </a:ext>
              </a:extLst>
            </p:cNvPr>
            <p:cNvSpPr txBox="1"/>
            <p:nvPr/>
          </p:nvSpPr>
          <p:spPr>
            <a:xfrm>
              <a:off x="2893811" y="3614770"/>
              <a:ext cx="682758" cy="258410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de-DE" sz="1600" b="1" dirty="0">
                  <a:solidFill>
                    <a:schemeClr val="dk1"/>
                  </a:solidFill>
                  <a:ea typeface="League Spartan" charset="0"/>
                  <a:cs typeface="Poppins" pitchFamily="2" charset="77"/>
                </a:rPr>
                <a:t>3.19 %</a:t>
              </a:r>
            </a:p>
          </p:txBody>
        </p:sp>
        <p:sp>
          <p:nvSpPr>
            <p:cNvPr id="87" name="TextBox 32">
              <a:extLst>
                <a:ext uri="{FF2B5EF4-FFF2-40B4-BE49-F238E27FC236}">
                  <a16:creationId xmlns:a16="http://schemas.microsoft.com/office/drawing/2014/main" id="{108E7D74-A86E-0CCD-533B-C9CE8E4B58BE}"/>
                </a:ext>
              </a:extLst>
            </p:cNvPr>
            <p:cNvSpPr txBox="1"/>
            <p:nvPr/>
          </p:nvSpPr>
          <p:spPr>
            <a:xfrm>
              <a:off x="2878879" y="4082221"/>
              <a:ext cx="712625" cy="258410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de-DE" sz="1600" b="1" dirty="0">
                  <a:solidFill>
                    <a:schemeClr val="dk1"/>
                  </a:solidFill>
                  <a:ea typeface="League Spartan" charset="0"/>
                  <a:cs typeface="Poppins" pitchFamily="2" charset="77"/>
                </a:rPr>
                <a:t>3.69 %</a:t>
              </a:r>
            </a:p>
          </p:txBody>
        </p:sp>
        <p:sp>
          <p:nvSpPr>
            <p:cNvPr id="88" name="TextBox 33">
              <a:extLst>
                <a:ext uri="{FF2B5EF4-FFF2-40B4-BE49-F238E27FC236}">
                  <a16:creationId xmlns:a16="http://schemas.microsoft.com/office/drawing/2014/main" id="{8BBC4861-AAB1-CBF8-C214-9F297E8775E0}"/>
                </a:ext>
              </a:extLst>
            </p:cNvPr>
            <p:cNvSpPr txBox="1"/>
            <p:nvPr/>
          </p:nvSpPr>
          <p:spPr>
            <a:xfrm>
              <a:off x="2878878" y="4547608"/>
              <a:ext cx="712625" cy="258410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de-DE" sz="1600" b="1" dirty="0">
                  <a:solidFill>
                    <a:schemeClr val="dk1"/>
                  </a:solidFill>
                  <a:ea typeface="League Spartan" charset="0"/>
                  <a:cs typeface="Poppins" pitchFamily="2" charset="77"/>
                </a:rPr>
                <a:t>3.86 %</a:t>
              </a:r>
            </a:p>
          </p:txBody>
        </p:sp>
        <p:sp>
          <p:nvSpPr>
            <p:cNvPr id="89" name="TextBox 34">
              <a:extLst>
                <a:ext uri="{FF2B5EF4-FFF2-40B4-BE49-F238E27FC236}">
                  <a16:creationId xmlns:a16="http://schemas.microsoft.com/office/drawing/2014/main" id="{825A795E-62C6-2517-D168-E2F222B9EB7C}"/>
                </a:ext>
              </a:extLst>
            </p:cNvPr>
            <p:cNvSpPr txBox="1"/>
            <p:nvPr/>
          </p:nvSpPr>
          <p:spPr>
            <a:xfrm>
              <a:off x="2925171" y="5012994"/>
              <a:ext cx="620037" cy="258410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de-DE" sz="1600" b="1" dirty="0">
                  <a:solidFill>
                    <a:schemeClr val="dk1"/>
                  </a:solidFill>
                  <a:ea typeface="League Spartan" charset="0"/>
                  <a:cs typeface="Poppins" pitchFamily="2" charset="77"/>
                </a:rPr>
                <a:t>4.4 %</a:t>
              </a:r>
            </a:p>
          </p:txBody>
        </p:sp>
        <p:sp>
          <p:nvSpPr>
            <p:cNvPr id="90" name="TextBox 35">
              <a:extLst>
                <a:ext uri="{FF2B5EF4-FFF2-40B4-BE49-F238E27FC236}">
                  <a16:creationId xmlns:a16="http://schemas.microsoft.com/office/drawing/2014/main" id="{422AC727-5D3D-3B5F-FB73-28F9176264EF}"/>
                </a:ext>
              </a:extLst>
            </p:cNvPr>
            <p:cNvSpPr txBox="1"/>
            <p:nvPr/>
          </p:nvSpPr>
          <p:spPr>
            <a:xfrm>
              <a:off x="2854318" y="5438309"/>
              <a:ext cx="761747" cy="338554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de-DE" sz="1600" b="1" dirty="0">
                  <a:ea typeface="League Spartan" charset="0"/>
                  <a:cs typeface="Poppins" pitchFamily="2" charset="77"/>
                </a:rPr>
                <a:t>6.67 %</a:t>
              </a:r>
            </a:p>
          </p:txBody>
        </p:sp>
        <p:sp>
          <p:nvSpPr>
            <p:cNvPr id="91" name="TextBox 28">
              <a:extLst>
                <a:ext uri="{FF2B5EF4-FFF2-40B4-BE49-F238E27FC236}">
                  <a16:creationId xmlns:a16="http://schemas.microsoft.com/office/drawing/2014/main" id="{EDD17356-7B4F-356A-F622-61646BF6B750}"/>
                </a:ext>
              </a:extLst>
            </p:cNvPr>
            <p:cNvSpPr txBox="1"/>
            <p:nvPr/>
          </p:nvSpPr>
          <p:spPr>
            <a:xfrm>
              <a:off x="4293151" y="2648055"/>
              <a:ext cx="659156" cy="338554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de-DE" sz="1600" b="1" dirty="0">
                  <a:ea typeface="League Spartan" charset="0"/>
                  <a:cs typeface="Poppins" pitchFamily="2" charset="77"/>
                </a:rPr>
                <a:t>8.2 %</a:t>
              </a:r>
            </a:p>
          </p:txBody>
        </p:sp>
        <p:sp>
          <p:nvSpPr>
            <p:cNvPr id="92" name="TextBox 29">
              <a:extLst>
                <a:ext uri="{FF2B5EF4-FFF2-40B4-BE49-F238E27FC236}">
                  <a16:creationId xmlns:a16="http://schemas.microsoft.com/office/drawing/2014/main" id="{C71BEE44-40FA-0AFF-6574-BFD3D0CDFCF2}"/>
                </a:ext>
              </a:extLst>
            </p:cNvPr>
            <p:cNvSpPr txBox="1"/>
            <p:nvPr/>
          </p:nvSpPr>
          <p:spPr>
            <a:xfrm>
              <a:off x="4293154" y="3111376"/>
              <a:ext cx="659155" cy="338554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de-DE" sz="1600" b="1" dirty="0">
                  <a:solidFill>
                    <a:schemeClr val="dk1"/>
                  </a:solidFill>
                  <a:ea typeface="League Spartan" charset="0"/>
                  <a:cs typeface="Poppins" pitchFamily="2" charset="77"/>
                </a:rPr>
                <a:t>3.5 %</a:t>
              </a:r>
            </a:p>
          </p:txBody>
        </p:sp>
        <p:sp>
          <p:nvSpPr>
            <p:cNvPr id="93" name="TextBox 31">
              <a:extLst>
                <a:ext uri="{FF2B5EF4-FFF2-40B4-BE49-F238E27FC236}">
                  <a16:creationId xmlns:a16="http://schemas.microsoft.com/office/drawing/2014/main" id="{5D2F5B72-3350-99B7-CE27-D063A0EBA4AF}"/>
                </a:ext>
              </a:extLst>
            </p:cNvPr>
            <p:cNvSpPr txBox="1"/>
            <p:nvPr/>
          </p:nvSpPr>
          <p:spPr>
            <a:xfrm>
              <a:off x="4240251" y="3574698"/>
              <a:ext cx="764954" cy="338554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de-DE" sz="1600" b="1" dirty="0">
                  <a:solidFill>
                    <a:schemeClr val="dk1"/>
                  </a:solidFill>
                  <a:ea typeface="League Spartan" charset="0"/>
                  <a:cs typeface="Poppins" pitchFamily="2" charset="77"/>
                </a:rPr>
                <a:t>3.59 %	</a:t>
              </a:r>
            </a:p>
          </p:txBody>
        </p:sp>
        <p:sp>
          <p:nvSpPr>
            <p:cNvPr id="94" name="TextBox 32">
              <a:extLst>
                <a:ext uri="{FF2B5EF4-FFF2-40B4-BE49-F238E27FC236}">
                  <a16:creationId xmlns:a16="http://schemas.microsoft.com/office/drawing/2014/main" id="{66A71B3D-6F75-7ACD-B2FD-41DE2FA8629A}"/>
                </a:ext>
              </a:extLst>
            </p:cNvPr>
            <p:cNvSpPr txBox="1"/>
            <p:nvPr/>
          </p:nvSpPr>
          <p:spPr>
            <a:xfrm>
              <a:off x="4241857" y="4042149"/>
              <a:ext cx="761748" cy="338554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de-DE" sz="1600" b="1" dirty="0">
                  <a:solidFill>
                    <a:schemeClr val="dk1"/>
                  </a:solidFill>
                  <a:ea typeface="League Spartan" charset="0"/>
                  <a:cs typeface="Poppins" pitchFamily="2" charset="77"/>
                </a:rPr>
                <a:t>3.75 %</a:t>
              </a:r>
            </a:p>
          </p:txBody>
        </p:sp>
        <p:sp>
          <p:nvSpPr>
            <p:cNvPr id="95" name="TextBox 33">
              <a:extLst>
                <a:ext uri="{FF2B5EF4-FFF2-40B4-BE49-F238E27FC236}">
                  <a16:creationId xmlns:a16="http://schemas.microsoft.com/office/drawing/2014/main" id="{4A3B751C-2F20-1F46-A282-BDFC124DF5B0}"/>
                </a:ext>
              </a:extLst>
            </p:cNvPr>
            <p:cNvSpPr txBox="1"/>
            <p:nvPr/>
          </p:nvSpPr>
          <p:spPr>
            <a:xfrm>
              <a:off x="4240252" y="4507536"/>
              <a:ext cx="764954" cy="338554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de-DE" sz="1600" b="1" dirty="0">
                  <a:solidFill>
                    <a:schemeClr val="dk1"/>
                  </a:solidFill>
                  <a:ea typeface="League Spartan" charset="0"/>
                  <a:cs typeface="Poppins" pitchFamily="2" charset="77"/>
                </a:rPr>
                <a:t>3.98 %</a:t>
              </a:r>
            </a:p>
          </p:txBody>
        </p:sp>
        <p:sp>
          <p:nvSpPr>
            <p:cNvPr id="96" name="TextBox 34">
              <a:extLst>
                <a:ext uri="{FF2B5EF4-FFF2-40B4-BE49-F238E27FC236}">
                  <a16:creationId xmlns:a16="http://schemas.microsoft.com/office/drawing/2014/main" id="{586ED1DC-92D3-F875-E302-D659CD67A942}"/>
                </a:ext>
              </a:extLst>
            </p:cNvPr>
            <p:cNvSpPr txBox="1"/>
            <p:nvPr/>
          </p:nvSpPr>
          <p:spPr>
            <a:xfrm>
              <a:off x="4291547" y="4972922"/>
              <a:ext cx="662362" cy="338554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de-DE" sz="1600" b="1" dirty="0">
                  <a:solidFill>
                    <a:schemeClr val="dk1"/>
                  </a:solidFill>
                  <a:ea typeface="League Spartan" charset="0"/>
                  <a:cs typeface="Poppins" pitchFamily="2" charset="77"/>
                </a:rPr>
                <a:t>4.5 %</a:t>
              </a:r>
            </a:p>
          </p:txBody>
        </p:sp>
        <p:sp>
          <p:nvSpPr>
            <p:cNvPr id="97" name="TextBox 35">
              <a:extLst>
                <a:ext uri="{FF2B5EF4-FFF2-40B4-BE49-F238E27FC236}">
                  <a16:creationId xmlns:a16="http://schemas.microsoft.com/office/drawing/2014/main" id="{3A1CCF6D-A273-688F-DB3B-50FA0A9CE43B}"/>
                </a:ext>
              </a:extLst>
            </p:cNvPr>
            <p:cNvSpPr txBox="1"/>
            <p:nvPr/>
          </p:nvSpPr>
          <p:spPr>
            <a:xfrm>
              <a:off x="4257885" y="5438309"/>
              <a:ext cx="729688" cy="338554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de-DE" sz="1600" b="1" dirty="0">
                  <a:ea typeface="League Spartan" charset="0"/>
                  <a:cs typeface="Poppins" pitchFamily="2" charset="77"/>
                </a:rPr>
                <a:t>7.12 %</a:t>
              </a:r>
            </a:p>
          </p:txBody>
        </p:sp>
        <p:sp>
          <p:nvSpPr>
            <p:cNvPr id="99" name="Rectangle 27">
              <a:extLst>
                <a:ext uri="{FF2B5EF4-FFF2-40B4-BE49-F238E27FC236}">
                  <a16:creationId xmlns:a16="http://schemas.microsoft.com/office/drawing/2014/main" id="{6F35DD0D-1926-B161-CB07-DBF798B0A0EB}"/>
                </a:ext>
              </a:extLst>
            </p:cNvPr>
            <p:cNvSpPr/>
            <p:nvPr/>
          </p:nvSpPr>
          <p:spPr>
            <a:xfrm>
              <a:off x="956358" y="5836079"/>
              <a:ext cx="1582387" cy="465386"/>
            </a:xfrm>
            <a:prstGeom prst="rect">
              <a:avLst/>
            </a:prstGeom>
            <a:solidFill>
              <a:schemeClr val="lt2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100" name="TextBox 35">
              <a:extLst>
                <a:ext uri="{FF2B5EF4-FFF2-40B4-BE49-F238E27FC236}">
                  <a16:creationId xmlns:a16="http://schemas.microsoft.com/office/drawing/2014/main" id="{312DCDB6-8BB8-3340-16B9-3FED80461022}"/>
                </a:ext>
              </a:extLst>
            </p:cNvPr>
            <p:cNvSpPr txBox="1"/>
            <p:nvPr/>
          </p:nvSpPr>
          <p:spPr>
            <a:xfrm>
              <a:off x="1331596" y="5926209"/>
              <a:ext cx="831913" cy="285127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de-DE" sz="1600" b="1" dirty="0">
                  <a:solidFill>
                    <a:schemeClr val="dk1"/>
                  </a:solidFill>
                  <a:ea typeface="League Spartan" charset="0"/>
                  <a:cs typeface="Poppins" pitchFamily="2" charset="77"/>
                </a:rPr>
                <a:t>Average</a:t>
              </a:r>
            </a:p>
          </p:txBody>
        </p:sp>
        <p:sp>
          <p:nvSpPr>
            <p:cNvPr id="101" name="Rectangle 44">
              <a:extLst>
                <a:ext uri="{FF2B5EF4-FFF2-40B4-BE49-F238E27FC236}">
                  <a16:creationId xmlns:a16="http://schemas.microsoft.com/office/drawing/2014/main" id="{F40392E4-34FC-C2F7-74FC-B22623217761}"/>
                </a:ext>
              </a:extLst>
            </p:cNvPr>
            <p:cNvSpPr/>
            <p:nvPr/>
          </p:nvSpPr>
          <p:spPr>
            <a:xfrm>
              <a:off x="2538745" y="5836079"/>
              <a:ext cx="1392641" cy="465386"/>
            </a:xfrm>
            <a:prstGeom prst="rect">
              <a:avLst/>
            </a:prstGeom>
            <a:noFill/>
            <a:ln w="38100" cap="flat" cmpd="sng" algn="ctr">
              <a:solidFill>
                <a:schemeClr val="l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102" name="Rectangle 52">
              <a:extLst>
                <a:ext uri="{FF2B5EF4-FFF2-40B4-BE49-F238E27FC236}">
                  <a16:creationId xmlns:a16="http://schemas.microsoft.com/office/drawing/2014/main" id="{BE3F01D1-7E33-C613-9321-D9F426C8CC68}"/>
                </a:ext>
              </a:extLst>
            </p:cNvPr>
            <p:cNvSpPr/>
            <p:nvPr/>
          </p:nvSpPr>
          <p:spPr>
            <a:xfrm>
              <a:off x="3931384" y="5836079"/>
              <a:ext cx="1392641" cy="465386"/>
            </a:xfrm>
            <a:prstGeom prst="rect">
              <a:avLst/>
            </a:prstGeom>
            <a:noFill/>
            <a:ln w="38100" cap="flat" cmpd="sng" algn="ctr">
              <a:solidFill>
                <a:schemeClr val="l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103" name="TextBox 35">
              <a:extLst>
                <a:ext uri="{FF2B5EF4-FFF2-40B4-BE49-F238E27FC236}">
                  <a16:creationId xmlns:a16="http://schemas.microsoft.com/office/drawing/2014/main" id="{5523D0DB-FF8B-FEEE-3549-5440B3CF8345}"/>
                </a:ext>
              </a:extLst>
            </p:cNvPr>
            <p:cNvSpPr txBox="1"/>
            <p:nvPr/>
          </p:nvSpPr>
          <p:spPr>
            <a:xfrm>
              <a:off x="2877384" y="5922008"/>
              <a:ext cx="715612" cy="285127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de-DE" sz="1600" b="1" dirty="0">
                  <a:solidFill>
                    <a:schemeClr val="dk1"/>
                  </a:solidFill>
                  <a:ea typeface="League Spartan" charset="0"/>
                  <a:cs typeface="Poppins" pitchFamily="2" charset="77"/>
                </a:rPr>
                <a:t>4.25 %</a:t>
              </a:r>
            </a:p>
          </p:txBody>
        </p:sp>
        <p:sp>
          <p:nvSpPr>
            <p:cNvPr id="104" name="TextBox 35">
              <a:extLst>
                <a:ext uri="{FF2B5EF4-FFF2-40B4-BE49-F238E27FC236}">
                  <a16:creationId xmlns:a16="http://schemas.microsoft.com/office/drawing/2014/main" id="{FA2B4D77-AD8C-BA08-E861-3123F37C95B7}"/>
                </a:ext>
              </a:extLst>
            </p:cNvPr>
            <p:cNvSpPr txBox="1"/>
            <p:nvPr/>
          </p:nvSpPr>
          <p:spPr>
            <a:xfrm>
              <a:off x="4238650" y="5895295"/>
              <a:ext cx="768160" cy="338554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de-DE" sz="1600" b="1" dirty="0">
                  <a:solidFill>
                    <a:schemeClr val="dk1"/>
                  </a:solidFill>
                  <a:ea typeface="League Spartan" charset="0"/>
                  <a:cs typeface="Poppins" pitchFamily="2" charset="77"/>
                </a:rPr>
                <a:t>4.95 %</a:t>
              </a: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89687576-1F2D-E1E7-4308-94D1523A6337}"/>
                </a:ext>
              </a:extLst>
            </p:cNvPr>
            <p:cNvSpPr/>
            <p:nvPr/>
          </p:nvSpPr>
          <p:spPr>
            <a:xfrm>
              <a:off x="956359" y="1395856"/>
              <a:ext cx="4367666" cy="445886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7200" tIns="97200" rIns="97200" bIns="97200" rtlCol="0" anchor="ctr"/>
            <a:lstStyle/>
            <a:p>
              <a:pPr algn="ctr" defTabSz="486000"/>
              <a:r>
                <a:rPr lang="de-DE" sz="1600" b="1" dirty="0" err="1">
                  <a:solidFill>
                    <a:schemeClr val="tx1"/>
                  </a:solidFill>
                </a:rPr>
                <a:t>Weekday</a:t>
              </a:r>
              <a:r>
                <a:rPr lang="de-DE" sz="1600" b="1" dirty="0">
                  <a:solidFill>
                    <a:schemeClr val="tx1"/>
                  </a:solidFill>
                </a:rPr>
                <a:t> </a:t>
              </a:r>
              <a:r>
                <a:rPr lang="de-DE" sz="1600" b="1" dirty="0" err="1">
                  <a:solidFill>
                    <a:schemeClr val="tx1"/>
                  </a:solidFill>
                </a:rPr>
                <a:t>training</a:t>
              </a:r>
              <a:r>
                <a:rPr lang="de-DE" sz="1600" b="1" dirty="0">
                  <a:solidFill>
                    <a:schemeClr val="tx1"/>
                  </a:solidFill>
                </a:rPr>
                <a:t> </a:t>
              </a:r>
              <a:r>
                <a:rPr lang="de-DE" sz="1600" b="1" dirty="0" err="1">
                  <a:solidFill>
                    <a:schemeClr val="tx1"/>
                  </a:solidFill>
                </a:rPr>
                <a:t>method</a:t>
              </a:r>
              <a:endParaRPr lang="de-DE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67" name="Gruppieren 66">
            <a:extLst>
              <a:ext uri="{FF2B5EF4-FFF2-40B4-BE49-F238E27FC236}">
                <a16:creationId xmlns:a16="http://schemas.microsoft.com/office/drawing/2014/main" id="{5EB34118-4147-FE3D-986F-B4D16E3A5510}"/>
              </a:ext>
            </a:extLst>
          </p:cNvPr>
          <p:cNvGrpSpPr/>
          <p:nvPr/>
        </p:nvGrpSpPr>
        <p:grpSpPr>
          <a:xfrm>
            <a:off x="5789519" y="1395856"/>
            <a:ext cx="5944077" cy="4905609"/>
            <a:chOff x="6294021" y="1395856"/>
            <a:chExt cx="5439575" cy="4905609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AD378574-62A8-9721-D907-137CC53AE8E6}"/>
                </a:ext>
              </a:extLst>
            </p:cNvPr>
            <p:cNvSpPr/>
            <p:nvPr/>
          </p:nvSpPr>
          <p:spPr>
            <a:xfrm>
              <a:off x="6294021" y="1395856"/>
              <a:ext cx="5439575" cy="445886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7200" tIns="97200" rIns="97200" bIns="97200" rtlCol="0" anchor="ctr"/>
            <a:lstStyle/>
            <a:p>
              <a:pPr algn="ctr" defTabSz="486000"/>
              <a:r>
                <a:rPr lang="de-DE" sz="1600" b="1" dirty="0" err="1">
                  <a:solidFill>
                    <a:schemeClr val="tx1"/>
                  </a:solidFill>
                </a:rPr>
                <a:t>Hourly</a:t>
              </a:r>
              <a:r>
                <a:rPr lang="de-DE" sz="1600" b="1" dirty="0">
                  <a:solidFill>
                    <a:schemeClr val="tx1"/>
                  </a:solidFill>
                </a:rPr>
                <a:t> </a:t>
              </a:r>
              <a:r>
                <a:rPr lang="de-DE" sz="1600" b="1" dirty="0" err="1">
                  <a:solidFill>
                    <a:schemeClr val="tx1"/>
                  </a:solidFill>
                </a:rPr>
                <a:t>training</a:t>
              </a:r>
              <a:r>
                <a:rPr lang="de-DE" sz="1600" b="1" dirty="0">
                  <a:solidFill>
                    <a:schemeClr val="tx1"/>
                  </a:solidFill>
                </a:rPr>
                <a:t> </a:t>
              </a:r>
              <a:r>
                <a:rPr lang="de-DE" sz="1600" b="1" dirty="0" err="1">
                  <a:solidFill>
                    <a:schemeClr val="tx1"/>
                  </a:solidFill>
                </a:rPr>
                <a:t>method</a:t>
              </a:r>
              <a:endParaRPr lang="de-DE" sz="1600" b="1" dirty="0">
                <a:solidFill>
                  <a:schemeClr val="tx1"/>
                </a:solidFill>
              </a:endParaRPr>
            </a:p>
          </p:txBody>
        </p:sp>
        <p:grpSp>
          <p:nvGrpSpPr>
            <p:cNvPr id="65" name="Gruppieren 64">
              <a:extLst>
                <a:ext uri="{FF2B5EF4-FFF2-40B4-BE49-F238E27FC236}">
                  <a16:creationId xmlns:a16="http://schemas.microsoft.com/office/drawing/2014/main" id="{5989254C-4A5B-E158-549B-320817826B40}"/>
                </a:ext>
              </a:extLst>
            </p:cNvPr>
            <p:cNvGrpSpPr/>
            <p:nvPr/>
          </p:nvGrpSpPr>
          <p:grpSpPr>
            <a:xfrm>
              <a:off x="6294021" y="5814689"/>
              <a:ext cx="5434674" cy="486776"/>
              <a:chOff x="6298921" y="5572851"/>
              <a:chExt cx="4728915" cy="486776"/>
            </a:xfrm>
          </p:grpSpPr>
          <p:sp>
            <p:nvSpPr>
              <p:cNvPr id="60" name="Rechteck 59">
                <a:extLst>
                  <a:ext uri="{FF2B5EF4-FFF2-40B4-BE49-F238E27FC236}">
                    <a16:creationId xmlns:a16="http://schemas.microsoft.com/office/drawing/2014/main" id="{7A7B77BE-9759-2D01-90A1-D79061C63DE3}"/>
                  </a:ext>
                </a:extLst>
              </p:cNvPr>
              <p:cNvSpPr/>
              <p:nvPr/>
            </p:nvSpPr>
            <p:spPr>
              <a:xfrm>
                <a:off x="7312858" y="5578021"/>
                <a:ext cx="1857489" cy="238218"/>
              </a:xfrm>
              <a:prstGeom prst="rect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7200" tIns="97200" rIns="97200" bIns="97200" rtlCol="0" anchor="ctr"/>
              <a:lstStyle/>
              <a:p>
                <a:pPr algn="ctr" defTabSz="486000"/>
                <a:r>
                  <a:rPr lang="de-DE" sz="1600" b="1" dirty="0"/>
                  <a:t>Random Forest</a:t>
                </a:r>
              </a:p>
            </p:txBody>
          </p:sp>
          <p:sp>
            <p:nvSpPr>
              <p:cNvPr id="61" name="Rechteck 60">
                <a:extLst>
                  <a:ext uri="{FF2B5EF4-FFF2-40B4-BE49-F238E27FC236}">
                    <a16:creationId xmlns:a16="http://schemas.microsoft.com/office/drawing/2014/main" id="{003DB445-1B04-06AB-5C97-2A280DAB0AF5}"/>
                  </a:ext>
                </a:extLst>
              </p:cNvPr>
              <p:cNvSpPr/>
              <p:nvPr/>
            </p:nvSpPr>
            <p:spPr>
              <a:xfrm>
                <a:off x="9170347" y="5572851"/>
                <a:ext cx="1857489" cy="238218"/>
              </a:xfrm>
              <a:prstGeom prst="rect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7200" tIns="97200" rIns="97200" bIns="97200" rtlCol="0" anchor="ctr"/>
              <a:lstStyle/>
              <a:p>
                <a:pPr algn="ctr" defTabSz="486000"/>
                <a:r>
                  <a:rPr lang="de-DE" sz="1600" b="1" dirty="0" err="1"/>
                  <a:t>Boosted</a:t>
                </a:r>
                <a:r>
                  <a:rPr lang="de-DE" sz="1600" b="1" dirty="0"/>
                  <a:t> </a:t>
                </a:r>
                <a:r>
                  <a:rPr lang="de-DE" sz="1600" b="1" dirty="0" err="1"/>
                  <a:t>Tree</a:t>
                </a:r>
                <a:endParaRPr lang="de-DE" sz="1600" b="1" dirty="0"/>
              </a:p>
            </p:txBody>
          </p:sp>
          <p:sp>
            <p:nvSpPr>
              <p:cNvPr id="62" name="Rechteck 61">
                <a:extLst>
                  <a:ext uri="{FF2B5EF4-FFF2-40B4-BE49-F238E27FC236}">
                    <a16:creationId xmlns:a16="http://schemas.microsoft.com/office/drawing/2014/main" id="{61043C36-806B-647E-0423-43351AA2D667}"/>
                  </a:ext>
                </a:extLst>
              </p:cNvPr>
              <p:cNvSpPr/>
              <p:nvPr/>
            </p:nvSpPr>
            <p:spPr>
              <a:xfrm>
                <a:off x="6298921" y="5821409"/>
                <a:ext cx="1013937" cy="238218"/>
              </a:xfrm>
              <a:prstGeom prst="rect">
                <a:avLst/>
              </a:prstGeom>
              <a:solidFill>
                <a:schemeClr val="lt2"/>
              </a:solidFill>
              <a:ln w="9525" cap="flat" cmpd="sng" algn="ctr">
                <a:solidFill>
                  <a:schemeClr val="accent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7200" tIns="97200" rIns="97200" bIns="97200" rtlCol="0" anchor="ctr"/>
              <a:lstStyle/>
              <a:p>
                <a:pPr algn="ctr" defTabSz="486000"/>
                <a:r>
                  <a:rPr lang="de-DE" sz="1600" b="1" dirty="0">
                    <a:solidFill>
                      <a:schemeClr val="dk1"/>
                    </a:solidFill>
                  </a:rPr>
                  <a:t>Average</a:t>
                </a:r>
              </a:p>
            </p:txBody>
          </p:sp>
          <p:sp>
            <p:nvSpPr>
              <p:cNvPr id="63" name="Rechteck 62">
                <a:extLst>
                  <a:ext uri="{FF2B5EF4-FFF2-40B4-BE49-F238E27FC236}">
                    <a16:creationId xmlns:a16="http://schemas.microsoft.com/office/drawing/2014/main" id="{0645C694-9ACC-AE5C-6ED5-B43D907151B5}"/>
                  </a:ext>
                </a:extLst>
              </p:cNvPr>
              <p:cNvSpPr/>
              <p:nvPr/>
            </p:nvSpPr>
            <p:spPr>
              <a:xfrm>
                <a:off x="7312857" y="5821409"/>
                <a:ext cx="1857489" cy="238218"/>
              </a:xfrm>
              <a:prstGeom prst="rect">
                <a:avLst/>
              </a:prstGeom>
              <a:solidFill>
                <a:schemeClr val="lt2"/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7200" tIns="97200" rIns="97200" bIns="97200" rtlCol="0" anchor="ctr"/>
              <a:lstStyle/>
              <a:p>
                <a:pPr algn="ctr" defTabSz="486000"/>
                <a:r>
                  <a:rPr lang="de-DE" sz="1600" b="1" dirty="0">
                    <a:solidFill>
                      <a:schemeClr val="dk1"/>
                    </a:solidFill>
                  </a:rPr>
                  <a:t>7.2 %</a:t>
                </a:r>
              </a:p>
            </p:txBody>
          </p:sp>
          <p:sp>
            <p:nvSpPr>
              <p:cNvPr id="64" name="Rechteck 63">
                <a:extLst>
                  <a:ext uri="{FF2B5EF4-FFF2-40B4-BE49-F238E27FC236}">
                    <a16:creationId xmlns:a16="http://schemas.microsoft.com/office/drawing/2014/main" id="{8C07B3BF-F7AD-6E29-EE8A-92A64ED78E46}"/>
                  </a:ext>
                </a:extLst>
              </p:cNvPr>
              <p:cNvSpPr/>
              <p:nvPr/>
            </p:nvSpPr>
            <p:spPr>
              <a:xfrm>
                <a:off x="9170347" y="5821409"/>
                <a:ext cx="1857489" cy="238218"/>
              </a:xfrm>
              <a:prstGeom prst="rect">
                <a:avLst/>
              </a:prstGeom>
              <a:solidFill>
                <a:schemeClr val="lt2"/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7200" tIns="97200" rIns="97200" bIns="97200" rtlCol="0" anchor="ctr"/>
              <a:lstStyle/>
              <a:p>
                <a:pPr algn="ctr" defTabSz="486000"/>
                <a:r>
                  <a:rPr lang="de-DE" sz="1600" b="1" dirty="0">
                    <a:solidFill>
                      <a:schemeClr val="dk1"/>
                    </a:solidFill>
                  </a:rPr>
                  <a:t>5.46 %</a:t>
                </a:r>
              </a:p>
            </p:txBody>
          </p:sp>
        </p:grpSp>
      </p:grpSp>
      <p:pic>
        <p:nvPicPr>
          <p:cNvPr id="9" name="Grafik 8">
            <a:extLst>
              <a:ext uri="{FF2B5EF4-FFF2-40B4-BE49-F238E27FC236}">
                <a16:creationId xmlns:a16="http://schemas.microsoft.com/office/drawing/2014/main" id="{64869A0C-BEBF-4BCD-EE9D-AB249BA64E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89519" y="1935707"/>
            <a:ext cx="5956308" cy="3779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95681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3EABEF-64B8-45C1-9574-9C9FF106A0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3600" b="1" i="0" u="none" dirty="0">
                <a:solidFill>
                  <a:schemeClr val="bg2">
                    <a:lumMod val="75000"/>
                  </a:schemeClr>
                </a:solidFill>
              </a:rPr>
              <a:t>03. Model </a:t>
            </a:r>
            <a:r>
              <a:rPr lang="de-DE" sz="3600" b="1" i="0" u="none" dirty="0" err="1">
                <a:solidFill>
                  <a:schemeClr val="bg2">
                    <a:lumMod val="75000"/>
                  </a:schemeClr>
                </a:solidFill>
              </a:rPr>
              <a:t>evaluation</a:t>
            </a:r>
            <a:r>
              <a:rPr lang="de-DE" sz="3600" b="1" i="0" u="none" dirty="0">
                <a:solidFill>
                  <a:schemeClr val="bg2">
                    <a:lumMod val="75000"/>
                  </a:schemeClr>
                </a:solidFill>
              </a:rPr>
              <a:t> </a:t>
            </a:r>
            <a:r>
              <a:rPr lang="de-DE" sz="1600" b="1" i="0" u="none" dirty="0">
                <a:solidFill>
                  <a:schemeClr val="bg2">
                    <a:lumMod val="75000"/>
                  </a:schemeClr>
                </a:solidFill>
              </a:rPr>
              <a:t>(</a:t>
            </a:r>
            <a:r>
              <a:rPr lang="de-DE" sz="1600" b="1" dirty="0">
                <a:solidFill>
                  <a:schemeClr val="bg2">
                    <a:lumMod val="75000"/>
                  </a:schemeClr>
                </a:solidFill>
              </a:rPr>
              <a:t>MAPE)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17E8DBCF-DA2A-F509-FA2C-CD4177DA1FDF}"/>
              </a:ext>
            </a:extLst>
          </p:cNvPr>
          <p:cNvGrpSpPr/>
          <p:nvPr/>
        </p:nvGrpSpPr>
        <p:grpSpPr>
          <a:xfrm>
            <a:off x="8442149" y="1990279"/>
            <a:ext cx="1392641" cy="446400"/>
            <a:chOff x="5150699" y="1647466"/>
            <a:chExt cx="1392641" cy="446400"/>
          </a:xfrm>
        </p:grpSpPr>
        <p:sp>
          <p:nvSpPr>
            <p:cNvPr id="101" name="Rectangle 44">
              <a:extLst>
                <a:ext uri="{FF2B5EF4-FFF2-40B4-BE49-F238E27FC236}">
                  <a16:creationId xmlns:a16="http://schemas.microsoft.com/office/drawing/2014/main" id="{F40392E4-34FC-C2F7-74FC-B22623217761}"/>
                </a:ext>
              </a:extLst>
            </p:cNvPr>
            <p:cNvSpPr/>
            <p:nvPr/>
          </p:nvSpPr>
          <p:spPr>
            <a:xfrm>
              <a:off x="5150699" y="1647466"/>
              <a:ext cx="1392641" cy="446400"/>
            </a:xfrm>
            <a:prstGeom prst="rect">
              <a:avLst/>
            </a:prstGeom>
            <a:noFill/>
            <a:ln w="28575" cap="flat" cmpd="sng" algn="ctr">
              <a:solidFill>
                <a:schemeClr val="bg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103" name="TextBox 35">
              <a:extLst>
                <a:ext uri="{FF2B5EF4-FFF2-40B4-BE49-F238E27FC236}">
                  <a16:creationId xmlns:a16="http://schemas.microsoft.com/office/drawing/2014/main" id="{5523D0DB-FF8B-FEEE-3549-5440B3CF8345}"/>
                </a:ext>
              </a:extLst>
            </p:cNvPr>
            <p:cNvSpPr txBox="1"/>
            <p:nvPr/>
          </p:nvSpPr>
          <p:spPr>
            <a:xfrm>
              <a:off x="5480698" y="1687696"/>
              <a:ext cx="732894" cy="338554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de-DE" sz="1600" b="1" dirty="0">
                  <a:solidFill>
                    <a:schemeClr val="dk1"/>
                  </a:solidFill>
                  <a:ea typeface="League Spartan" charset="0"/>
                  <a:cs typeface="Poppins" pitchFamily="2" charset="77"/>
                </a:rPr>
                <a:t>18.5 %</a:t>
              </a:r>
            </a:p>
          </p:txBody>
        </p:sp>
      </p:grpSp>
      <p:sp>
        <p:nvSpPr>
          <p:cNvPr id="10" name="Rechteck 9">
            <a:extLst>
              <a:ext uri="{FF2B5EF4-FFF2-40B4-BE49-F238E27FC236}">
                <a16:creationId xmlns:a16="http://schemas.microsoft.com/office/drawing/2014/main" id="{89687576-1F2D-E1E7-4308-94D1523A6337}"/>
              </a:ext>
            </a:extLst>
          </p:cNvPr>
          <p:cNvSpPr/>
          <p:nvPr/>
        </p:nvSpPr>
        <p:spPr>
          <a:xfrm>
            <a:off x="2357210" y="3132410"/>
            <a:ext cx="4367666" cy="44588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r>
              <a:rPr lang="de-DE" sz="1600" b="1" dirty="0">
                <a:solidFill>
                  <a:schemeClr val="tx1"/>
                </a:solidFill>
              </a:rPr>
              <a:t>Naive </a:t>
            </a:r>
            <a:r>
              <a:rPr lang="de-DE" sz="1600" b="1" dirty="0" err="1">
                <a:solidFill>
                  <a:schemeClr val="tx1"/>
                </a:solidFill>
              </a:rPr>
              <a:t>method</a:t>
            </a:r>
            <a:r>
              <a:rPr lang="de-DE" sz="1600" b="1" dirty="0">
                <a:solidFill>
                  <a:schemeClr val="tx1"/>
                </a:solidFill>
              </a:rPr>
              <a:t> </a:t>
            </a:r>
            <a:r>
              <a:rPr lang="de-DE" sz="1200" dirty="0">
                <a:solidFill>
                  <a:schemeClr val="tx1"/>
                </a:solidFill>
              </a:rPr>
              <a:t>(ID3 </a:t>
            </a:r>
            <a:r>
              <a:rPr lang="de-DE" sz="1200" dirty="0" err="1">
                <a:solidFill>
                  <a:schemeClr val="tx1"/>
                </a:solidFill>
              </a:rPr>
              <a:t>price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dirty="0" err="1">
                <a:solidFill>
                  <a:schemeClr val="tx1"/>
                </a:solidFill>
              </a:rPr>
              <a:t>from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dirty="0" err="1">
                <a:solidFill>
                  <a:schemeClr val="tx1"/>
                </a:solidFill>
              </a:rPr>
              <a:t>day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dirty="0" err="1">
                <a:solidFill>
                  <a:schemeClr val="tx1"/>
                </a:solidFill>
              </a:rPr>
              <a:t>before</a:t>
            </a:r>
            <a:r>
              <a:rPr lang="de-DE" sz="1200" dirty="0">
                <a:solidFill>
                  <a:schemeClr val="tx1"/>
                </a:solidFill>
              </a:rPr>
              <a:t>)</a:t>
            </a:r>
            <a:endParaRPr lang="de-DE" sz="1200" b="1" dirty="0">
              <a:solidFill>
                <a:schemeClr val="tx1"/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AD378574-62A8-9721-D907-137CC53AE8E6}"/>
              </a:ext>
            </a:extLst>
          </p:cNvPr>
          <p:cNvSpPr/>
          <p:nvPr/>
        </p:nvSpPr>
        <p:spPr>
          <a:xfrm>
            <a:off x="2357210" y="1990279"/>
            <a:ext cx="4367666" cy="44588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r>
              <a:rPr lang="de-DE" sz="1600" b="1" dirty="0">
                <a:solidFill>
                  <a:schemeClr val="tx1"/>
                </a:solidFill>
              </a:rPr>
              <a:t>Regression </a:t>
            </a:r>
            <a:r>
              <a:rPr lang="de-DE" sz="1600" b="1" dirty="0" err="1">
                <a:solidFill>
                  <a:schemeClr val="tx1"/>
                </a:solidFill>
              </a:rPr>
              <a:t>Weekday</a:t>
            </a:r>
            <a:r>
              <a:rPr lang="de-DE" sz="1600" b="1" dirty="0">
                <a:solidFill>
                  <a:schemeClr val="tx1"/>
                </a:solidFill>
              </a:rPr>
              <a:t> + Hour</a:t>
            </a:r>
            <a:endParaRPr lang="de-DE" sz="1200" dirty="0">
              <a:solidFill>
                <a:schemeClr val="tx1"/>
              </a:solidFill>
            </a:endParaRPr>
          </a:p>
        </p:txBody>
      </p: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362DDC8C-2E22-27CE-634D-F130E1046D2C}"/>
              </a:ext>
            </a:extLst>
          </p:cNvPr>
          <p:cNvGrpSpPr/>
          <p:nvPr/>
        </p:nvGrpSpPr>
        <p:grpSpPr>
          <a:xfrm>
            <a:off x="7783928" y="3130888"/>
            <a:ext cx="1392641" cy="446400"/>
            <a:chOff x="5940209" y="5234431"/>
            <a:chExt cx="1392641" cy="446400"/>
          </a:xfrm>
        </p:grpSpPr>
        <p:sp>
          <p:nvSpPr>
            <p:cNvPr id="7" name="Rectangle 44">
              <a:extLst>
                <a:ext uri="{FF2B5EF4-FFF2-40B4-BE49-F238E27FC236}">
                  <a16:creationId xmlns:a16="http://schemas.microsoft.com/office/drawing/2014/main" id="{94FD5AE8-57D6-E695-A5DA-EAC65E170682}"/>
                </a:ext>
              </a:extLst>
            </p:cNvPr>
            <p:cNvSpPr/>
            <p:nvPr/>
          </p:nvSpPr>
          <p:spPr>
            <a:xfrm>
              <a:off x="5940209" y="5234431"/>
              <a:ext cx="1392641" cy="446400"/>
            </a:xfrm>
            <a:prstGeom prst="rect">
              <a:avLst/>
            </a:prstGeom>
            <a:noFill/>
            <a:ln w="28575" cap="flat" cmpd="sng" algn="ctr">
              <a:solidFill>
                <a:schemeClr val="bg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8" name="TextBox 35">
              <a:extLst>
                <a:ext uri="{FF2B5EF4-FFF2-40B4-BE49-F238E27FC236}">
                  <a16:creationId xmlns:a16="http://schemas.microsoft.com/office/drawing/2014/main" id="{113F9195-3746-FFF2-C416-DB7B1C1A729E}"/>
                </a:ext>
              </a:extLst>
            </p:cNvPr>
            <p:cNvSpPr txBox="1"/>
            <p:nvPr/>
          </p:nvSpPr>
          <p:spPr>
            <a:xfrm>
              <a:off x="6201278" y="5274661"/>
              <a:ext cx="870752" cy="338554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de-DE" sz="1600" b="1" dirty="0">
                  <a:solidFill>
                    <a:schemeClr val="dk1"/>
                  </a:solidFill>
                  <a:ea typeface="League Spartan" charset="0"/>
                  <a:cs typeface="Poppins" pitchFamily="2" charset="77"/>
                </a:rPr>
                <a:t>39.52 %</a:t>
              </a:r>
            </a:p>
          </p:txBody>
        </p:sp>
      </p:grpSp>
      <p:sp>
        <p:nvSpPr>
          <p:cNvPr id="4" name="Off-page Connector 1">
            <a:extLst>
              <a:ext uri="{FF2B5EF4-FFF2-40B4-BE49-F238E27FC236}">
                <a16:creationId xmlns:a16="http://schemas.microsoft.com/office/drawing/2014/main" id="{8DA08B50-EF7B-6B13-E172-30059C1B21C2}"/>
              </a:ext>
            </a:extLst>
          </p:cNvPr>
          <p:cNvSpPr/>
          <p:nvPr/>
        </p:nvSpPr>
        <p:spPr>
          <a:xfrm>
            <a:off x="7049509" y="1392080"/>
            <a:ext cx="1392641" cy="560562"/>
          </a:xfrm>
          <a:prstGeom prst="flowChartOffpageConnector">
            <a:avLst/>
          </a:prstGeom>
          <a:ln w="381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900" dirty="0"/>
          </a:p>
        </p:txBody>
      </p:sp>
      <p:sp>
        <p:nvSpPr>
          <p:cNvPr id="9" name="Off-page Connector 9">
            <a:extLst>
              <a:ext uri="{FF2B5EF4-FFF2-40B4-BE49-F238E27FC236}">
                <a16:creationId xmlns:a16="http://schemas.microsoft.com/office/drawing/2014/main" id="{10EA5AE0-C1DD-44E7-3B4D-DC55132B5296}"/>
              </a:ext>
            </a:extLst>
          </p:cNvPr>
          <p:cNvSpPr/>
          <p:nvPr/>
        </p:nvSpPr>
        <p:spPr>
          <a:xfrm>
            <a:off x="8442149" y="1392080"/>
            <a:ext cx="1392641" cy="560562"/>
          </a:xfrm>
          <a:prstGeom prst="flowChartOffpageConnector">
            <a:avLst/>
          </a:prstGeom>
          <a:solidFill>
            <a:schemeClr val="accent2"/>
          </a:solidFill>
          <a:ln w="381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900" dirty="0"/>
          </a:p>
        </p:txBody>
      </p:sp>
      <p:sp>
        <p:nvSpPr>
          <p:cNvPr id="12" name="TextBox 14">
            <a:extLst>
              <a:ext uri="{FF2B5EF4-FFF2-40B4-BE49-F238E27FC236}">
                <a16:creationId xmlns:a16="http://schemas.microsoft.com/office/drawing/2014/main" id="{50327CE7-3469-2022-8F3E-E69D51718CD4}"/>
              </a:ext>
            </a:extLst>
          </p:cNvPr>
          <p:cNvSpPr txBox="1"/>
          <p:nvPr/>
        </p:nvSpPr>
        <p:spPr>
          <a:xfrm>
            <a:off x="7053935" y="1505574"/>
            <a:ext cx="1383794" cy="258410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de-DE" sz="1600" b="1" dirty="0">
                <a:solidFill>
                  <a:schemeClr val="bg1"/>
                </a:solidFill>
                <a:ea typeface="League Spartan" charset="0"/>
                <a:cs typeface="Poppins" pitchFamily="2" charset="77"/>
              </a:rPr>
              <a:t>Random Forest</a:t>
            </a:r>
          </a:p>
        </p:txBody>
      </p:sp>
      <p:sp>
        <p:nvSpPr>
          <p:cNvPr id="13" name="TextBox 15">
            <a:extLst>
              <a:ext uri="{FF2B5EF4-FFF2-40B4-BE49-F238E27FC236}">
                <a16:creationId xmlns:a16="http://schemas.microsoft.com/office/drawing/2014/main" id="{9A762022-D0ED-3697-9B19-0493EFA3249A}"/>
              </a:ext>
            </a:extLst>
          </p:cNvPr>
          <p:cNvSpPr txBox="1"/>
          <p:nvPr/>
        </p:nvSpPr>
        <p:spPr>
          <a:xfrm>
            <a:off x="8535340" y="1505574"/>
            <a:ext cx="1206265" cy="258410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de-DE" sz="1600" b="1" dirty="0" err="1">
                <a:solidFill>
                  <a:schemeClr val="bg1"/>
                </a:solidFill>
                <a:ea typeface="League Spartan" charset="0"/>
                <a:cs typeface="Poppins" pitchFamily="2" charset="77"/>
              </a:rPr>
              <a:t>Boosted</a:t>
            </a:r>
            <a:r>
              <a:rPr lang="de-DE" sz="1600" b="1" dirty="0">
                <a:solidFill>
                  <a:schemeClr val="bg1"/>
                </a:solidFill>
                <a:ea typeface="League Spartan" charset="0"/>
                <a:cs typeface="Poppins" pitchFamily="2" charset="77"/>
              </a:rPr>
              <a:t> </a:t>
            </a:r>
            <a:r>
              <a:rPr lang="de-DE" sz="1600" b="1" dirty="0" err="1">
                <a:solidFill>
                  <a:schemeClr val="bg1"/>
                </a:solidFill>
                <a:ea typeface="League Spartan" charset="0"/>
                <a:cs typeface="Poppins" pitchFamily="2" charset="77"/>
              </a:rPr>
              <a:t>Tree</a:t>
            </a:r>
            <a:endParaRPr lang="de-DE" sz="1600" b="1" dirty="0">
              <a:solidFill>
                <a:schemeClr val="bg1"/>
              </a:solidFill>
              <a:ea typeface="League Spartan" charset="0"/>
              <a:cs typeface="Poppins" pitchFamily="2" charset="77"/>
            </a:endParaRP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0BED1F77-48F4-612D-41AB-D7CEC97FCAB3}"/>
              </a:ext>
            </a:extLst>
          </p:cNvPr>
          <p:cNvGrpSpPr/>
          <p:nvPr/>
        </p:nvGrpSpPr>
        <p:grpSpPr>
          <a:xfrm>
            <a:off x="7049509" y="1990279"/>
            <a:ext cx="1392641" cy="446400"/>
            <a:chOff x="5150699" y="1647466"/>
            <a:chExt cx="1392641" cy="446400"/>
          </a:xfrm>
        </p:grpSpPr>
        <p:sp>
          <p:nvSpPr>
            <p:cNvPr id="22" name="Rectangle 44">
              <a:extLst>
                <a:ext uri="{FF2B5EF4-FFF2-40B4-BE49-F238E27FC236}">
                  <a16:creationId xmlns:a16="http://schemas.microsoft.com/office/drawing/2014/main" id="{942DBDD3-7D15-CEC5-3616-BD741B4B8CC9}"/>
                </a:ext>
              </a:extLst>
            </p:cNvPr>
            <p:cNvSpPr/>
            <p:nvPr/>
          </p:nvSpPr>
          <p:spPr>
            <a:xfrm>
              <a:off x="5150699" y="1647466"/>
              <a:ext cx="1392641" cy="446400"/>
            </a:xfrm>
            <a:prstGeom prst="rect">
              <a:avLst/>
            </a:prstGeom>
            <a:noFill/>
            <a:ln w="28575" cap="flat" cmpd="sng" algn="ctr">
              <a:solidFill>
                <a:schemeClr val="bg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23" name="TextBox 35">
              <a:extLst>
                <a:ext uri="{FF2B5EF4-FFF2-40B4-BE49-F238E27FC236}">
                  <a16:creationId xmlns:a16="http://schemas.microsoft.com/office/drawing/2014/main" id="{AA40FD83-2338-1568-BFE1-D30A3A2475D1}"/>
                </a:ext>
              </a:extLst>
            </p:cNvPr>
            <p:cNvSpPr txBox="1"/>
            <p:nvPr/>
          </p:nvSpPr>
          <p:spPr>
            <a:xfrm>
              <a:off x="5408564" y="1687696"/>
              <a:ext cx="877163" cy="338554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de-DE" sz="1600" b="1" dirty="0">
                  <a:solidFill>
                    <a:schemeClr val="dk1"/>
                  </a:solidFill>
                  <a:ea typeface="League Spartan" charset="0"/>
                  <a:cs typeface="Poppins" pitchFamily="2" charset="77"/>
                </a:rPr>
                <a:t>24.64 %</a:t>
              </a:r>
            </a:p>
          </p:txBody>
        </p:sp>
      </p:grpSp>
      <p:sp>
        <p:nvSpPr>
          <p:cNvPr id="27" name="Rechteck 26">
            <a:extLst>
              <a:ext uri="{FF2B5EF4-FFF2-40B4-BE49-F238E27FC236}">
                <a16:creationId xmlns:a16="http://schemas.microsoft.com/office/drawing/2014/main" id="{8E46ADE5-D8A0-0C1B-9F70-B8BDD83CAA6D}"/>
              </a:ext>
            </a:extLst>
          </p:cNvPr>
          <p:cNvSpPr/>
          <p:nvPr/>
        </p:nvSpPr>
        <p:spPr>
          <a:xfrm>
            <a:off x="2357210" y="2561779"/>
            <a:ext cx="4367666" cy="44588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r>
              <a:rPr lang="de-DE" sz="1600" b="1" dirty="0">
                <a:solidFill>
                  <a:schemeClr val="tx1"/>
                </a:solidFill>
              </a:rPr>
              <a:t>Classification </a:t>
            </a:r>
            <a:r>
              <a:rPr lang="de-DE" sz="1600" b="1" dirty="0" err="1">
                <a:solidFill>
                  <a:schemeClr val="tx1"/>
                </a:solidFill>
              </a:rPr>
              <a:t>Weekday</a:t>
            </a:r>
            <a:endParaRPr lang="de-DE" sz="1200" dirty="0">
              <a:solidFill>
                <a:schemeClr val="tx1"/>
              </a:solidFill>
            </a:endParaRPr>
          </a:p>
        </p:txBody>
      </p: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EC38F726-E561-EEDE-744D-9CE292D5424F}"/>
              </a:ext>
            </a:extLst>
          </p:cNvPr>
          <p:cNvGrpSpPr/>
          <p:nvPr/>
        </p:nvGrpSpPr>
        <p:grpSpPr>
          <a:xfrm>
            <a:off x="7049509" y="2563134"/>
            <a:ext cx="1392641" cy="446400"/>
            <a:chOff x="5150699" y="1647466"/>
            <a:chExt cx="1392641" cy="446400"/>
          </a:xfrm>
        </p:grpSpPr>
        <p:sp>
          <p:nvSpPr>
            <p:cNvPr id="29" name="Rectangle 44">
              <a:extLst>
                <a:ext uri="{FF2B5EF4-FFF2-40B4-BE49-F238E27FC236}">
                  <a16:creationId xmlns:a16="http://schemas.microsoft.com/office/drawing/2014/main" id="{99E9280E-FA8C-A5B2-35A8-3FFA73F98154}"/>
                </a:ext>
              </a:extLst>
            </p:cNvPr>
            <p:cNvSpPr/>
            <p:nvPr/>
          </p:nvSpPr>
          <p:spPr>
            <a:xfrm>
              <a:off x="5150699" y="1647466"/>
              <a:ext cx="1392641" cy="446400"/>
            </a:xfrm>
            <a:prstGeom prst="rect">
              <a:avLst/>
            </a:prstGeom>
            <a:noFill/>
            <a:ln w="28575" cap="flat" cmpd="sng" algn="ctr">
              <a:solidFill>
                <a:schemeClr val="bg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30" name="TextBox 35">
              <a:extLst>
                <a:ext uri="{FF2B5EF4-FFF2-40B4-BE49-F238E27FC236}">
                  <a16:creationId xmlns:a16="http://schemas.microsoft.com/office/drawing/2014/main" id="{3F6925E7-6B1E-70AD-CF97-F34201AA6588}"/>
                </a:ext>
              </a:extLst>
            </p:cNvPr>
            <p:cNvSpPr txBox="1"/>
            <p:nvPr/>
          </p:nvSpPr>
          <p:spPr>
            <a:xfrm>
              <a:off x="5413374" y="1687696"/>
              <a:ext cx="867546" cy="338554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de-DE" sz="1600" b="1" dirty="0">
                  <a:solidFill>
                    <a:schemeClr val="dk1"/>
                  </a:solidFill>
                  <a:ea typeface="League Spartan" charset="0"/>
                  <a:cs typeface="Poppins" pitchFamily="2" charset="77"/>
                </a:rPr>
                <a:t>25.72 %</a:t>
              </a:r>
            </a:p>
          </p:txBody>
        </p:sp>
      </p:grp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744865D5-11DC-579E-92FB-513977802A28}"/>
              </a:ext>
            </a:extLst>
          </p:cNvPr>
          <p:cNvGrpSpPr/>
          <p:nvPr/>
        </p:nvGrpSpPr>
        <p:grpSpPr>
          <a:xfrm>
            <a:off x="8442148" y="2563134"/>
            <a:ext cx="1392641" cy="446400"/>
            <a:chOff x="5150699" y="1647466"/>
            <a:chExt cx="1392641" cy="446400"/>
          </a:xfrm>
        </p:grpSpPr>
        <p:sp>
          <p:nvSpPr>
            <p:cNvPr id="33" name="Rectangle 44">
              <a:extLst>
                <a:ext uri="{FF2B5EF4-FFF2-40B4-BE49-F238E27FC236}">
                  <a16:creationId xmlns:a16="http://schemas.microsoft.com/office/drawing/2014/main" id="{77972BD0-DA48-6B07-9992-67A30DA265A6}"/>
                </a:ext>
              </a:extLst>
            </p:cNvPr>
            <p:cNvSpPr/>
            <p:nvPr/>
          </p:nvSpPr>
          <p:spPr>
            <a:xfrm>
              <a:off x="5150699" y="1647466"/>
              <a:ext cx="1392641" cy="446400"/>
            </a:xfrm>
            <a:prstGeom prst="rect">
              <a:avLst/>
            </a:prstGeom>
            <a:noFill/>
            <a:ln w="28575" cap="flat" cmpd="sng" algn="ctr">
              <a:solidFill>
                <a:schemeClr val="bg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34" name="TextBox 35">
              <a:extLst>
                <a:ext uri="{FF2B5EF4-FFF2-40B4-BE49-F238E27FC236}">
                  <a16:creationId xmlns:a16="http://schemas.microsoft.com/office/drawing/2014/main" id="{D0A04A48-B08A-EBAB-82EF-112C35C4A0F5}"/>
                </a:ext>
              </a:extLst>
            </p:cNvPr>
            <p:cNvSpPr txBox="1"/>
            <p:nvPr/>
          </p:nvSpPr>
          <p:spPr>
            <a:xfrm>
              <a:off x="5411771" y="1687696"/>
              <a:ext cx="870752" cy="338554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de-DE" sz="1600" b="1" dirty="0">
                  <a:solidFill>
                    <a:schemeClr val="dk1"/>
                  </a:solidFill>
                  <a:ea typeface="League Spartan" charset="0"/>
                  <a:cs typeface="Poppins" pitchFamily="2" charset="77"/>
                </a:rPr>
                <a:t>23.58 %</a:t>
              </a:r>
            </a:p>
          </p:txBody>
        </p:sp>
      </p:grp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DCA7525E-CC32-58C1-46B8-A56CEC643B94}"/>
              </a:ext>
            </a:extLst>
          </p:cNvPr>
          <p:cNvGrpSpPr/>
          <p:nvPr/>
        </p:nvGrpSpPr>
        <p:grpSpPr>
          <a:xfrm>
            <a:off x="2785949" y="3848467"/>
            <a:ext cx="6620103" cy="738415"/>
            <a:chOff x="2357210" y="4847564"/>
            <a:chExt cx="6620103" cy="738415"/>
          </a:xfrm>
        </p:grpSpPr>
        <p:pic>
          <p:nvPicPr>
            <p:cNvPr id="92" name="Grafik 91" descr="Ziel Silhouette">
              <a:extLst>
                <a:ext uri="{FF2B5EF4-FFF2-40B4-BE49-F238E27FC236}">
                  <a16:creationId xmlns:a16="http://schemas.microsoft.com/office/drawing/2014/main" id="{EDE7C8F5-E035-0665-1D24-E38911E4813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357210" y="4847564"/>
              <a:ext cx="738415" cy="738415"/>
            </a:xfrm>
            <a:prstGeom prst="rect">
              <a:avLst/>
            </a:prstGeom>
          </p:spPr>
        </p:pic>
        <p:sp>
          <p:nvSpPr>
            <p:cNvPr id="93" name="Textfeld 92">
              <a:extLst>
                <a:ext uri="{FF2B5EF4-FFF2-40B4-BE49-F238E27FC236}">
                  <a16:creationId xmlns:a16="http://schemas.microsoft.com/office/drawing/2014/main" id="{CD6DAA88-8E5F-85C6-60FC-07FC12E6A652}"/>
                </a:ext>
              </a:extLst>
            </p:cNvPr>
            <p:cNvSpPr txBox="1"/>
            <p:nvPr/>
          </p:nvSpPr>
          <p:spPr>
            <a:xfrm>
              <a:off x="3214688" y="5052248"/>
              <a:ext cx="5762625" cy="329046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2000" b="1" i="0" u="none" dirty="0"/>
                <a:t>Best </a:t>
              </a:r>
              <a:r>
                <a:rPr lang="de-DE" sz="2000" b="1" i="0" u="none" dirty="0" err="1"/>
                <a:t>model</a:t>
              </a:r>
              <a:r>
                <a:rPr lang="de-DE" sz="2000" b="1" i="0" u="none" dirty="0"/>
                <a:t>: </a:t>
              </a:r>
              <a:r>
                <a:rPr lang="de-DE" sz="2000" b="1" i="0" u="none" dirty="0" err="1"/>
                <a:t>regression</a:t>
              </a:r>
              <a:r>
                <a:rPr lang="de-DE" sz="2000" b="1" i="0" u="none" dirty="0"/>
                <a:t> </a:t>
              </a:r>
              <a:r>
                <a:rPr lang="de-DE" sz="2000" b="1" i="0" u="none" dirty="0" err="1"/>
                <a:t>with</a:t>
              </a:r>
              <a:r>
                <a:rPr lang="de-DE" sz="2000" b="1" i="0" u="none" dirty="0"/>
                <a:t> </a:t>
              </a:r>
              <a:r>
                <a:rPr lang="de-DE" sz="2000" b="1" i="0" u="none" dirty="0" err="1"/>
                <a:t>weekday</a:t>
              </a:r>
              <a:r>
                <a:rPr lang="de-DE" sz="2000" b="1" i="0" u="none" dirty="0"/>
                <a:t> </a:t>
              </a:r>
              <a:r>
                <a:rPr lang="de-DE" sz="2000" b="1" i="0" u="none" dirty="0" err="1"/>
                <a:t>training</a:t>
              </a:r>
              <a:r>
                <a:rPr lang="de-DE" sz="2000" b="1" i="0" u="none" dirty="0"/>
                <a:t> </a:t>
              </a:r>
              <a:r>
                <a:rPr lang="de-DE" sz="2000" b="1" i="0" u="none" dirty="0" err="1"/>
                <a:t>metho</a:t>
              </a:r>
              <a:r>
                <a:rPr lang="de-DE" sz="2000" b="1" dirty="0" err="1"/>
                <a:t>d</a:t>
              </a:r>
              <a:r>
                <a:rPr lang="de-DE" sz="2000" b="1" dirty="0"/>
                <a:t> </a:t>
              </a:r>
            </a:p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400" b="1" dirty="0"/>
                <a:t>	        (Mondays </a:t>
              </a:r>
              <a:r>
                <a:rPr lang="de-DE" sz="1400" b="1" dirty="0" err="1"/>
                <a:t>are</a:t>
              </a:r>
              <a:r>
                <a:rPr lang="de-DE" sz="1400" b="1" dirty="0"/>
                <a:t> </a:t>
              </a:r>
              <a:r>
                <a:rPr lang="de-DE" sz="1400" b="1" dirty="0" err="1"/>
                <a:t>trained</a:t>
              </a:r>
              <a:r>
                <a:rPr lang="de-DE" sz="1400" b="1" dirty="0"/>
                <a:t> </a:t>
              </a:r>
              <a:r>
                <a:rPr lang="de-DE" sz="1400" b="1" dirty="0" err="1"/>
                <a:t>with</a:t>
              </a:r>
              <a:r>
                <a:rPr lang="de-DE" sz="1400" b="1" dirty="0"/>
                <a:t> Mondays, …)</a:t>
              </a:r>
              <a:endParaRPr lang="de-DE" sz="1400" b="1" i="0" u="none" dirty="0"/>
            </a:p>
          </p:txBody>
        </p:sp>
      </p:grpSp>
    </p:spTree>
    <p:extLst>
      <p:ext uri="{BB962C8B-B14F-4D97-AF65-F5344CB8AC3E}">
        <p14:creationId xmlns:p14="http://schemas.microsoft.com/office/powerpoint/2010/main" val="35800580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27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D1C2DCC-0949-48FF-ADA8-5968120D6C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401" y="318601"/>
            <a:ext cx="11275199" cy="583200"/>
          </a:xfrm>
        </p:spPr>
        <p:txBody>
          <a:bodyPr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3600" b="1" i="0" u="none" dirty="0">
                <a:solidFill>
                  <a:schemeClr val="accent4"/>
                </a:solidFill>
              </a:rPr>
              <a:t>04. </a:t>
            </a:r>
            <a:r>
              <a:rPr lang="de-DE" sz="3600" b="1" i="0" u="none" dirty="0" err="1">
                <a:solidFill>
                  <a:schemeClr val="accent4"/>
                </a:solidFill>
              </a:rPr>
              <a:t>Apply</a:t>
            </a:r>
            <a:r>
              <a:rPr lang="de-DE" sz="3600" b="1" i="0" u="none" dirty="0">
                <a:solidFill>
                  <a:schemeClr val="accent4"/>
                </a:solidFill>
              </a:rPr>
              <a:t> </a:t>
            </a:r>
            <a:r>
              <a:rPr lang="de-DE" sz="3600" b="1" i="0" u="none" dirty="0" err="1">
                <a:solidFill>
                  <a:schemeClr val="accent4"/>
                </a:solidFill>
              </a:rPr>
              <a:t>trading</a:t>
            </a:r>
            <a:r>
              <a:rPr lang="de-DE" sz="3600" b="1" i="0" u="none" dirty="0">
                <a:solidFill>
                  <a:schemeClr val="accent4"/>
                </a:solidFill>
              </a:rPr>
              <a:t> </a:t>
            </a:r>
            <a:r>
              <a:rPr lang="de-DE" sz="3600" b="1" i="0" u="none" dirty="0" err="1">
                <a:solidFill>
                  <a:schemeClr val="accent4"/>
                </a:solidFill>
              </a:rPr>
              <a:t>strategy</a:t>
            </a:r>
            <a:r>
              <a:rPr lang="de-DE" sz="3600" b="1" i="0" u="none" dirty="0">
                <a:solidFill>
                  <a:schemeClr val="accent4"/>
                </a:solidFill>
              </a:rPr>
              <a:t> </a:t>
            </a:r>
            <a:r>
              <a:rPr lang="de-DE" sz="1600" b="1" i="0" u="none" dirty="0">
                <a:solidFill>
                  <a:schemeClr val="accent4"/>
                </a:solidFill>
              </a:rPr>
              <a:t>(</a:t>
            </a:r>
            <a:r>
              <a:rPr lang="de-DE" sz="1600" b="1" i="0" u="none" dirty="0" err="1">
                <a:solidFill>
                  <a:schemeClr val="accent4"/>
                </a:solidFill>
              </a:rPr>
              <a:t>buy</a:t>
            </a:r>
            <a:r>
              <a:rPr lang="de-DE" sz="1600" b="1" dirty="0">
                <a:solidFill>
                  <a:schemeClr val="accent4"/>
                </a:solidFill>
              </a:rPr>
              <a:t>/</a:t>
            </a:r>
            <a:r>
              <a:rPr lang="de-DE" sz="1600" b="1" dirty="0" err="1">
                <a:solidFill>
                  <a:schemeClr val="accent4"/>
                </a:solidFill>
              </a:rPr>
              <a:t>sell</a:t>
            </a:r>
            <a:r>
              <a:rPr lang="de-DE" sz="1600" b="1" dirty="0">
                <a:solidFill>
                  <a:schemeClr val="accent4"/>
                </a:solidFill>
              </a:rPr>
              <a:t> </a:t>
            </a:r>
            <a:r>
              <a:rPr lang="de-DE" sz="1600" b="1" dirty="0" err="1">
                <a:solidFill>
                  <a:schemeClr val="accent4"/>
                </a:solidFill>
              </a:rPr>
              <a:t>everything</a:t>
            </a:r>
            <a:r>
              <a:rPr lang="de-DE" sz="1600" b="1" dirty="0">
                <a:solidFill>
                  <a:schemeClr val="accent4"/>
                </a:solidFill>
              </a:rPr>
              <a:t> </a:t>
            </a:r>
            <a:r>
              <a:rPr lang="de-DE" sz="1600" b="1" dirty="0" err="1">
                <a:solidFill>
                  <a:schemeClr val="accent4"/>
                </a:solidFill>
              </a:rPr>
              <a:t>that</a:t>
            </a:r>
            <a:r>
              <a:rPr lang="de-DE" sz="1600" b="1" dirty="0">
                <a:solidFill>
                  <a:schemeClr val="accent4"/>
                </a:solidFill>
              </a:rPr>
              <a:t> </a:t>
            </a:r>
            <a:r>
              <a:rPr lang="de-DE" sz="1600" b="1" dirty="0" err="1">
                <a:solidFill>
                  <a:schemeClr val="accent4"/>
                </a:solidFill>
              </a:rPr>
              <a:t>is</a:t>
            </a:r>
            <a:r>
              <a:rPr lang="de-DE" sz="1600" b="1" dirty="0">
                <a:solidFill>
                  <a:schemeClr val="accent4"/>
                </a:solidFill>
              </a:rPr>
              <a:t> </a:t>
            </a:r>
            <a:r>
              <a:rPr lang="de-DE" sz="1600" b="1" dirty="0" err="1">
                <a:solidFill>
                  <a:schemeClr val="accent4"/>
                </a:solidFill>
              </a:rPr>
              <a:t>lower</a:t>
            </a:r>
            <a:r>
              <a:rPr lang="de-DE" sz="1600" b="1" dirty="0">
                <a:solidFill>
                  <a:schemeClr val="accent4"/>
                </a:solidFill>
              </a:rPr>
              <a:t>/</a:t>
            </a:r>
            <a:r>
              <a:rPr lang="de-DE" sz="1600" b="1" dirty="0" err="1">
                <a:solidFill>
                  <a:schemeClr val="accent4"/>
                </a:solidFill>
              </a:rPr>
              <a:t>higher</a:t>
            </a:r>
            <a:r>
              <a:rPr lang="de-DE" sz="1600" b="1" dirty="0">
                <a:solidFill>
                  <a:schemeClr val="accent4"/>
                </a:solidFill>
              </a:rPr>
              <a:t> </a:t>
            </a:r>
            <a:r>
              <a:rPr lang="de-DE" sz="1600" b="1" dirty="0" err="1">
                <a:solidFill>
                  <a:schemeClr val="accent4"/>
                </a:solidFill>
              </a:rPr>
              <a:t>than</a:t>
            </a:r>
            <a:r>
              <a:rPr lang="de-DE" sz="1600" b="1" dirty="0">
                <a:solidFill>
                  <a:schemeClr val="accent4"/>
                </a:solidFill>
              </a:rPr>
              <a:t> </a:t>
            </a:r>
            <a:r>
              <a:rPr lang="de-DE" sz="1600" b="1" dirty="0" err="1">
                <a:solidFill>
                  <a:schemeClr val="accent4"/>
                </a:solidFill>
              </a:rPr>
              <a:t>pred</a:t>
            </a:r>
            <a:r>
              <a:rPr lang="de-DE" sz="1600" b="1" dirty="0">
                <a:solidFill>
                  <a:schemeClr val="accent4"/>
                </a:solidFill>
              </a:rPr>
              <a:t>. ID3)</a:t>
            </a:r>
            <a:endParaRPr lang="de-DE" sz="1600" b="1" i="0" u="none" dirty="0">
              <a:solidFill>
                <a:schemeClr val="accent4"/>
              </a:solidFill>
            </a:endParaRPr>
          </a:p>
        </p:txBody>
      </p:sp>
      <p:sp>
        <p:nvSpPr>
          <p:cNvPr id="6" name="EMPOWER_LAYOUTTOOLS_FIT_TO_AREA" hidden="1">
            <a:extLst>
              <a:ext uri="{FF2B5EF4-FFF2-40B4-BE49-F238E27FC236}">
                <a16:creationId xmlns:a16="http://schemas.microsoft.com/office/drawing/2014/main" id="{21B2B8C2-6F15-45FC-8070-AC6E07EA2DF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0" cy="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E57FE1A5-576E-3E58-453C-535B81EC224D}"/>
              </a:ext>
            </a:extLst>
          </p:cNvPr>
          <p:cNvSpPr/>
          <p:nvPr/>
        </p:nvSpPr>
        <p:spPr>
          <a:xfrm>
            <a:off x="886665" y="1204961"/>
            <a:ext cx="5048295" cy="5832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r>
              <a:rPr lang="de-DE" sz="1600" b="1" dirty="0">
                <a:solidFill>
                  <a:schemeClr val="tx1"/>
                </a:solidFill>
              </a:rPr>
              <a:t>Random Forest (</a:t>
            </a:r>
            <a:r>
              <a:rPr lang="de-DE" sz="1600" b="1" dirty="0" err="1">
                <a:solidFill>
                  <a:schemeClr val="tx1"/>
                </a:solidFill>
              </a:rPr>
              <a:t>weekday</a:t>
            </a:r>
            <a:r>
              <a:rPr lang="de-DE" sz="1600" b="1" dirty="0">
                <a:solidFill>
                  <a:schemeClr val="tx1"/>
                </a:solidFill>
              </a:rPr>
              <a:t> </a:t>
            </a:r>
            <a:r>
              <a:rPr lang="de-DE" sz="1600" b="1" dirty="0" err="1">
                <a:solidFill>
                  <a:schemeClr val="tx1"/>
                </a:solidFill>
              </a:rPr>
              <a:t>training</a:t>
            </a:r>
            <a:r>
              <a:rPr lang="de-DE" sz="1600" b="1" dirty="0">
                <a:solidFill>
                  <a:schemeClr val="tx1"/>
                </a:solidFill>
              </a:rPr>
              <a:t> </a:t>
            </a:r>
            <a:r>
              <a:rPr lang="de-DE" sz="1600" b="1" dirty="0" err="1">
                <a:solidFill>
                  <a:schemeClr val="tx1"/>
                </a:solidFill>
              </a:rPr>
              <a:t>method</a:t>
            </a:r>
            <a:r>
              <a:rPr lang="de-DE" sz="1600" b="1" dirty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CFD813C7-6B15-1478-94B7-2E860FAE2E33}"/>
              </a:ext>
            </a:extLst>
          </p:cNvPr>
          <p:cNvSpPr/>
          <p:nvPr/>
        </p:nvSpPr>
        <p:spPr>
          <a:xfrm rot="16200000">
            <a:off x="-550922" y="2642549"/>
            <a:ext cx="2291975" cy="5832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r>
              <a:rPr lang="de-DE" sz="1600" b="1" dirty="0">
                <a:solidFill>
                  <a:schemeClr val="tx1"/>
                </a:solidFill>
              </a:rPr>
              <a:t>Buy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0ACF515-5CFE-BAE6-666A-CEA10E419A1F}"/>
              </a:ext>
            </a:extLst>
          </p:cNvPr>
          <p:cNvSpPr/>
          <p:nvPr/>
        </p:nvSpPr>
        <p:spPr>
          <a:xfrm rot="16200000">
            <a:off x="-550922" y="5101812"/>
            <a:ext cx="2291975" cy="5832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r>
              <a:rPr lang="de-DE" sz="1600" b="1" dirty="0">
                <a:solidFill>
                  <a:schemeClr val="tx1"/>
                </a:solidFill>
              </a:rPr>
              <a:t>Sell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5A554F9-5064-35BD-8D58-CBDAC2D1EDBC}"/>
              </a:ext>
            </a:extLst>
          </p:cNvPr>
          <p:cNvSpPr/>
          <p:nvPr/>
        </p:nvSpPr>
        <p:spPr>
          <a:xfrm>
            <a:off x="6257041" y="1204961"/>
            <a:ext cx="5048294" cy="5832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r>
              <a:rPr lang="de-DE" sz="1600" b="1" dirty="0">
                <a:solidFill>
                  <a:schemeClr val="tx1"/>
                </a:solidFill>
              </a:rPr>
              <a:t>Naive </a:t>
            </a:r>
            <a:r>
              <a:rPr lang="de-DE" sz="1600" b="1" dirty="0" err="1">
                <a:solidFill>
                  <a:schemeClr val="tx1"/>
                </a:solidFill>
              </a:rPr>
              <a:t>method</a:t>
            </a:r>
            <a:endParaRPr lang="de-DE" sz="1600" b="1" dirty="0">
              <a:solidFill>
                <a:schemeClr val="tx1"/>
              </a:solidFill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AA0DAA80-8F5F-88C2-05AD-BD759D09950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80932" y="1788002"/>
            <a:ext cx="5054022" cy="2292295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8CAD1C03-4DA4-ED77-D8E7-8A396346CCF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80932" y="4246199"/>
            <a:ext cx="5054022" cy="2292295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44D74072-FF9D-BC86-7B7D-19A9A30F0DC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57032" y="1788002"/>
            <a:ext cx="5054022" cy="2292295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C9A4983F-97E8-2C0D-A05E-6AB8289469C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096000" y="4246199"/>
            <a:ext cx="5054022" cy="229229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76402945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5" grpId="0" animBg="1"/>
      <p:bldP spid="7" grpId="0" animBg="1"/>
      <p:bldP spid="9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1">
            <a:extLst>
              <a:ext uri="{FF2B5EF4-FFF2-40B4-BE49-F238E27FC236}">
                <a16:creationId xmlns:a16="http://schemas.microsoft.com/office/drawing/2014/main" id="{90F0FCC2-0FC8-3F41-9E29-3BFB187DB443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-200024" y="3429000"/>
            <a:ext cx="3352800" cy="3799736"/>
            <a:chOff x="6067960" y="798756"/>
            <a:chExt cx="10409636" cy="12249016"/>
          </a:xfrm>
        </p:grpSpPr>
        <p:sp>
          <p:nvSpPr>
            <p:cNvPr id="37" name="Freeform 2">
              <a:extLst>
                <a:ext uri="{FF2B5EF4-FFF2-40B4-BE49-F238E27FC236}">
                  <a16:creationId xmlns:a16="http://schemas.microsoft.com/office/drawing/2014/main" id="{4585680D-13CD-554E-8C64-303ABF1D35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67960" y="798756"/>
              <a:ext cx="9562175" cy="12231080"/>
            </a:xfrm>
            <a:custGeom>
              <a:avLst/>
              <a:gdLst>
                <a:gd name="connsiteX0" fmla="*/ 3600848 w 9562175"/>
                <a:gd name="connsiteY0" fmla="*/ 0 h 12231080"/>
                <a:gd name="connsiteX1" fmla="*/ 4496122 w 9562175"/>
                <a:gd name="connsiteY1" fmla="*/ 627521 h 12231080"/>
                <a:gd name="connsiteX2" fmla="*/ 5998308 w 9562175"/>
                <a:gd name="connsiteY2" fmla="*/ 1595633 h 12231080"/>
                <a:gd name="connsiteX3" fmla="*/ 8062832 w 9562175"/>
                <a:gd name="connsiteY3" fmla="*/ 1176249 h 12231080"/>
                <a:gd name="connsiteX4" fmla="*/ 8116388 w 9562175"/>
                <a:gd name="connsiteY4" fmla="*/ 3999583 h 12231080"/>
                <a:gd name="connsiteX5" fmla="*/ 8937365 w 9562175"/>
                <a:gd name="connsiteY5" fmla="*/ 8352169 h 12231080"/>
                <a:gd name="connsiteX6" fmla="*/ 8559246 w 9562175"/>
                <a:gd name="connsiteY6" fmla="*/ 8559315 h 12231080"/>
                <a:gd name="connsiteX7" fmla="*/ 8508054 w 9562175"/>
                <a:gd name="connsiteY7" fmla="*/ 8582243 h 12231080"/>
                <a:gd name="connsiteX8" fmla="*/ 8593241 w 9562175"/>
                <a:gd name="connsiteY8" fmla="*/ 8631261 h 12231080"/>
                <a:gd name="connsiteX9" fmla="*/ 8591281 w 9562175"/>
                <a:gd name="connsiteY9" fmla="*/ 8822646 h 12231080"/>
                <a:gd name="connsiteX10" fmla="*/ 6429098 w 9562175"/>
                <a:gd name="connsiteY10" fmla="*/ 10120278 h 12231080"/>
                <a:gd name="connsiteX11" fmla="*/ 6498497 w 9562175"/>
                <a:gd name="connsiteY11" fmla="*/ 10129969 h 12231080"/>
                <a:gd name="connsiteX12" fmla="*/ 7420314 w 9562175"/>
                <a:gd name="connsiteY12" fmla="*/ 10546695 h 12231080"/>
                <a:gd name="connsiteX13" fmla="*/ 7447440 w 9562175"/>
                <a:gd name="connsiteY13" fmla="*/ 10580981 h 12231080"/>
                <a:gd name="connsiteX14" fmla="*/ 7527912 w 9562175"/>
                <a:gd name="connsiteY14" fmla="*/ 10564954 h 12231080"/>
                <a:gd name="connsiteX15" fmla="*/ 7994178 w 9562175"/>
                <a:gd name="connsiteY15" fmla="*/ 10526594 h 12231080"/>
                <a:gd name="connsiteX16" fmla="*/ 9562175 w 9562175"/>
                <a:gd name="connsiteY16" fmla="*/ 11379490 h 12231080"/>
                <a:gd name="connsiteX17" fmla="*/ 7994178 w 9562175"/>
                <a:gd name="connsiteY17" fmla="*/ 12231080 h 12231080"/>
                <a:gd name="connsiteX18" fmla="*/ 6693976 w 9562175"/>
                <a:gd name="connsiteY18" fmla="*/ 11855571 h 12231080"/>
                <a:gd name="connsiteX19" fmla="*/ 6580039 w 9562175"/>
                <a:gd name="connsiteY19" fmla="*/ 11741570 h 12231080"/>
                <a:gd name="connsiteX20" fmla="*/ 6498497 w 9562175"/>
                <a:gd name="connsiteY20" fmla="*/ 11757799 h 12231080"/>
                <a:gd name="connsiteX21" fmla="*/ 6032037 w 9562175"/>
                <a:gd name="connsiteY21" fmla="*/ 11796155 h 12231080"/>
                <a:gd name="connsiteX22" fmla="*/ 4587855 w 9562175"/>
                <a:gd name="connsiteY22" fmla="*/ 11275442 h 12231080"/>
                <a:gd name="connsiteX23" fmla="*/ 4563810 w 9562175"/>
                <a:gd name="connsiteY23" fmla="*/ 11239729 h 12231080"/>
                <a:gd name="connsiteX24" fmla="*/ 3250582 w 9562175"/>
                <a:gd name="connsiteY24" fmla="*/ 12027861 h 12231080"/>
                <a:gd name="connsiteX25" fmla="*/ 2978190 w 9562175"/>
                <a:gd name="connsiteY25" fmla="*/ 12023942 h 12231080"/>
                <a:gd name="connsiteX26" fmla="*/ 234027 w 9562175"/>
                <a:gd name="connsiteY26" fmla="*/ 10500044 h 12231080"/>
                <a:gd name="connsiteX27" fmla="*/ 236640 w 9562175"/>
                <a:gd name="connsiteY27" fmla="*/ 10309312 h 12231080"/>
                <a:gd name="connsiteX28" fmla="*/ 1618263 w 9562175"/>
                <a:gd name="connsiteY28" fmla="*/ 9455658 h 12231080"/>
                <a:gd name="connsiteX29" fmla="*/ 1409994 w 9562175"/>
                <a:gd name="connsiteY29" fmla="*/ 9246116 h 12231080"/>
                <a:gd name="connsiteX30" fmla="*/ 971866 w 9562175"/>
                <a:gd name="connsiteY30" fmla="*/ 6535488 h 12231080"/>
                <a:gd name="connsiteX31" fmla="*/ 870631 w 9562175"/>
                <a:gd name="connsiteY31" fmla="*/ 3083730 h 12231080"/>
                <a:gd name="connsiteX32" fmla="*/ 1780433 w 9562175"/>
                <a:gd name="connsiteY32" fmla="*/ 1610005 h 12231080"/>
                <a:gd name="connsiteX33" fmla="*/ 3600848 w 9562175"/>
                <a:gd name="connsiteY33" fmla="*/ 0 h 12231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9562175" h="12231080">
                  <a:moveTo>
                    <a:pt x="3600848" y="0"/>
                  </a:moveTo>
                  <a:cubicBezTo>
                    <a:pt x="3949565" y="-170"/>
                    <a:pt x="4274060" y="178210"/>
                    <a:pt x="4496122" y="627521"/>
                  </a:cubicBezTo>
                  <a:cubicBezTo>
                    <a:pt x="5130959" y="1913112"/>
                    <a:pt x="5333427" y="1941854"/>
                    <a:pt x="5998308" y="1595633"/>
                  </a:cubicBezTo>
                  <a:cubicBezTo>
                    <a:pt x="6662534" y="1248759"/>
                    <a:pt x="7098821" y="736613"/>
                    <a:pt x="8062832" y="1176249"/>
                  </a:cubicBezTo>
                  <a:cubicBezTo>
                    <a:pt x="8816537" y="1519857"/>
                    <a:pt x="9399777" y="3049762"/>
                    <a:pt x="8116388" y="3999583"/>
                  </a:cubicBezTo>
                  <a:cubicBezTo>
                    <a:pt x="7626545" y="4362135"/>
                    <a:pt x="9662986" y="7833490"/>
                    <a:pt x="8937365" y="8352169"/>
                  </a:cubicBezTo>
                  <a:cubicBezTo>
                    <a:pt x="8848867" y="8415371"/>
                    <a:pt x="8719732" y="8485095"/>
                    <a:pt x="8559246" y="8559315"/>
                  </a:cubicBezTo>
                  <a:lnTo>
                    <a:pt x="8508054" y="8582243"/>
                  </a:lnTo>
                  <a:lnTo>
                    <a:pt x="8593241" y="8631261"/>
                  </a:lnTo>
                  <a:cubicBezTo>
                    <a:pt x="8666401" y="8674372"/>
                    <a:pt x="8665094" y="8780189"/>
                    <a:pt x="8591281" y="8822646"/>
                  </a:cubicBezTo>
                  <a:lnTo>
                    <a:pt x="6429098" y="10120278"/>
                  </a:lnTo>
                  <a:lnTo>
                    <a:pt x="6498497" y="10129969"/>
                  </a:lnTo>
                  <a:cubicBezTo>
                    <a:pt x="6897586" y="10197385"/>
                    <a:pt x="7228358" y="10349036"/>
                    <a:pt x="7420314" y="10546695"/>
                  </a:cubicBezTo>
                  <a:lnTo>
                    <a:pt x="7447440" y="10580981"/>
                  </a:lnTo>
                  <a:lnTo>
                    <a:pt x="7527912" y="10564954"/>
                  </a:lnTo>
                  <a:cubicBezTo>
                    <a:pt x="7675206" y="10540025"/>
                    <a:pt x="7831811" y="10526594"/>
                    <a:pt x="7994178" y="10526594"/>
                  </a:cubicBezTo>
                  <a:cubicBezTo>
                    <a:pt x="8860788" y="10526594"/>
                    <a:pt x="9562175" y="10908634"/>
                    <a:pt x="9562175" y="11379490"/>
                  </a:cubicBezTo>
                  <a:cubicBezTo>
                    <a:pt x="9562175" y="11849693"/>
                    <a:pt x="8860788" y="12231080"/>
                    <a:pt x="7994178" y="12231080"/>
                  </a:cubicBezTo>
                  <a:cubicBezTo>
                    <a:pt x="7452954" y="12231080"/>
                    <a:pt x="6975761" y="12082101"/>
                    <a:pt x="6693976" y="11855571"/>
                  </a:cubicBezTo>
                  <a:lnTo>
                    <a:pt x="6580039" y="11741570"/>
                  </a:lnTo>
                  <a:lnTo>
                    <a:pt x="6498497" y="11757799"/>
                  </a:lnTo>
                  <a:cubicBezTo>
                    <a:pt x="6351141" y="11782724"/>
                    <a:pt x="6194472" y="11796155"/>
                    <a:pt x="6032037" y="11796155"/>
                  </a:cubicBezTo>
                  <a:cubicBezTo>
                    <a:pt x="5382787" y="11796155"/>
                    <a:pt x="4825781" y="11581257"/>
                    <a:pt x="4587855" y="11275442"/>
                  </a:cubicBezTo>
                  <a:lnTo>
                    <a:pt x="4563810" y="11239729"/>
                  </a:lnTo>
                  <a:lnTo>
                    <a:pt x="3250582" y="12027861"/>
                  </a:lnTo>
                  <a:cubicBezTo>
                    <a:pt x="3165663" y="12075544"/>
                    <a:pt x="3061149" y="12074238"/>
                    <a:pt x="2978190" y="12023942"/>
                  </a:cubicBezTo>
                  <a:lnTo>
                    <a:pt x="234027" y="10500044"/>
                  </a:lnTo>
                  <a:cubicBezTo>
                    <a:pt x="161520" y="10456280"/>
                    <a:pt x="162827" y="10351116"/>
                    <a:pt x="236640" y="10309312"/>
                  </a:cubicBezTo>
                  <a:lnTo>
                    <a:pt x="1618263" y="9455658"/>
                  </a:lnTo>
                  <a:lnTo>
                    <a:pt x="1409994" y="9246116"/>
                  </a:lnTo>
                  <a:cubicBezTo>
                    <a:pt x="900484" y="8658575"/>
                    <a:pt x="629833" y="7767268"/>
                    <a:pt x="971866" y="6535488"/>
                  </a:cubicBezTo>
                  <a:cubicBezTo>
                    <a:pt x="1173028" y="5812997"/>
                    <a:pt x="-1238306" y="4253696"/>
                    <a:pt x="870631" y="3083730"/>
                  </a:cubicBezTo>
                  <a:cubicBezTo>
                    <a:pt x="1429705" y="2773438"/>
                    <a:pt x="1611274" y="2356666"/>
                    <a:pt x="1780433" y="1610005"/>
                  </a:cubicBezTo>
                  <a:cubicBezTo>
                    <a:pt x="1949266" y="864936"/>
                    <a:pt x="2833672" y="376"/>
                    <a:pt x="3600848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2" name="Freeform 3">
              <a:extLst>
                <a:ext uri="{FF2B5EF4-FFF2-40B4-BE49-F238E27FC236}">
                  <a16:creationId xmlns:a16="http://schemas.microsoft.com/office/drawing/2014/main" id="{78B9F721-5D7B-0949-9A52-A86825CAC3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84671" y="8113815"/>
              <a:ext cx="1716660" cy="4496151"/>
            </a:xfrm>
            <a:custGeom>
              <a:avLst/>
              <a:gdLst>
                <a:gd name="T0" fmla="*/ 1355 w 2628"/>
                <a:gd name="T1" fmla="*/ 434 h 6882"/>
                <a:gd name="T2" fmla="*/ 2627 w 2628"/>
                <a:gd name="T3" fmla="*/ 0 h 6882"/>
                <a:gd name="T4" fmla="*/ 385 w 2628"/>
                <a:gd name="T5" fmla="*/ 6657 h 6882"/>
                <a:gd name="T6" fmla="*/ 0 w 2628"/>
                <a:gd name="T7" fmla="*/ 6881 h 6882"/>
                <a:gd name="T8" fmla="*/ 1355 w 2628"/>
                <a:gd name="T9" fmla="*/ 434 h 6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8" h="6882">
                  <a:moveTo>
                    <a:pt x="1355" y="434"/>
                  </a:moveTo>
                  <a:lnTo>
                    <a:pt x="2627" y="0"/>
                  </a:lnTo>
                  <a:lnTo>
                    <a:pt x="385" y="6657"/>
                  </a:lnTo>
                  <a:lnTo>
                    <a:pt x="0" y="6881"/>
                  </a:lnTo>
                  <a:lnTo>
                    <a:pt x="1355" y="434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88DC408B-ECEB-9E4B-AE7B-CFB6D27425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47486" y="6855121"/>
              <a:ext cx="1716660" cy="4496153"/>
            </a:xfrm>
            <a:custGeom>
              <a:avLst/>
              <a:gdLst>
                <a:gd name="T0" fmla="*/ 1354 w 2627"/>
                <a:gd name="T1" fmla="*/ 434 h 6882"/>
                <a:gd name="T2" fmla="*/ 2626 w 2627"/>
                <a:gd name="T3" fmla="*/ 0 h 6882"/>
                <a:gd name="T4" fmla="*/ 384 w 2627"/>
                <a:gd name="T5" fmla="*/ 6657 h 6882"/>
                <a:gd name="T6" fmla="*/ 0 w 2627"/>
                <a:gd name="T7" fmla="*/ 6881 h 6882"/>
                <a:gd name="T8" fmla="*/ 1354 w 2627"/>
                <a:gd name="T9" fmla="*/ 434 h 6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7" h="6882">
                  <a:moveTo>
                    <a:pt x="1354" y="434"/>
                  </a:moveTo>
                  <a:lnTo>
                    <a:pt x="2626" y="0"/>
                  </a:lnTo>
                  <a:lnTo>
                    <a:pt x="384" y="6657"/>
                  </a:lnTo>
                  <a:lnTo>
                    <a:pt x="0" y="6881"/>
                  </a:lnTo>
                  <a:lnTo>
                    <a:pt x="1354" y="434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2" name="Freeform 8">
              <a:extLst>
                <a:ext uri="{FF2B5EF4-FFF2-40B4-BE49-F238E27FC236}">
                  <a16:creationId xmlns:a16="http://schemas.microsoft.com/office/drawing/2014/main" id="{78964C59-E4FF-9D45-A7E8-7005B9D6CC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73686" y="4061227"/>
              <a:ext cx="167058" cy="241945"/>
            </a:xfrm>
            <a:custGeom>
              <a:avLst/>
              <a:gdLst>
                <a:gd name="T0" fmla="*/ 253 w 254"/>
                <a:gd name="T1" fmla="*/ 370 h 371"/>
                <a:gd name="T2" fmla="*/ 0 w 254"/>
                <a:gd name="T3" fmla="*/ 219 h 371"/>
                <a:gd name="T4" fmla="*/ 157 w 254"/>
                <a:gd name="T5" fmla="*/ 0 h 371"/>
                <a:gd name="T6" fmla="*/ 253 w 254"/>
                <a:gd name="T7" fmla="*/ 58 h 371"/>
                <a:gd name="T8" fmla="*/ 253 w 254"/>
                <a:gd name="T9" fmla="*/ 370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4" h="371">
                  <a:moveTo>
                    <a:pt x="253" y="370"/>
                  </a:moveTo>
                  <a:lnTo>
                    <a:pt x="0" y="219"/>
                  </a:lnTo>
                  <a:lnTo>
                    <a:pt x="157" y="0"/>
                  </a:lnTo>
                  <a:lnTo>
                    <a:pt x="253" y="58"/>
                  </a:lnTo>
                  <a:lnTo>
                    <a:pt x="253" y="370"/>
                  </a:lnTo>
                </a:path>
              </a:pathLst>
            </a:custGeom>
            <a:solidFill>
              <a:srgbClr val="2D999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:a16="http://schemas.microsoft.com/office/drawing/2014/main" id="{00AF84BB-ADE1-2149-ABC9-097B85A91B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17062" y="4041066"/>
              <a:ext cx="1486236" cy="2373369"/>
            </a:xfrm>
            <a:custGeom>
              <a:avLst/>
              <a:gdLst>
                <a:gd name="T0" fmla="*/ 1999 w 2275"/>
                <a:gd name="T1" fmla="*/ 2319 h 3635"/>
                <a:gd name="T2" fmla="*/ 119 w 2275"/>
                <a:gd name="T3" fmla="*/ 3602 h 3635"/>
                <a:gd name="T4" fmla="*/ 119 w 2275"/>
                <a:gd name="T5" fmla="*/ 3602 h 3635"/>
                <a:gd name="T6" fmla="*/ 0 w 2275"/>
                <a:gd name="T7" fmla="*/ 3534 h 3635"/>
                <a:gd name="T8" fmla="*/ 0 w 2275"/>
                <a:gd name="T9" fmla="*/ 1428 h 3635"/>
                <a:gd name="T10" fmla="*/ 0 w 2275"/>
                <a:gd name="T11" fmla="*/ 1428 h 3635"/>
                <a:gd name="T12" fmla="*/ 118 w 2275"/>
                <a:gd name="T13" fmla="*/ 1222 h 3635"/>
                <a:gd name="T14" fmla="*/ 2155 w 2275"/>
                <a:gd name="T15" fmla="*/ 31 h 3635"/>
                <a:gd name="T16" fmla="*/ 2155 w 2275"/>
                <a:gd name="T17" fmla="*/ 31 h 3635"/>
                <a:gd name="T18" fmla="*/ 2274 w 2275"/>
                <a:gd name="T19" fmla="*/ 99 h 3635"/>
                <a:gd name="T20" fmla="*/ 2117 w 2275"/>
                <a:gd name="T21" fmla="*/ 2113 h 3635"/>
                <a:gd name="T22" fmla="*/ 2117 w 2275"/>
                <a:gd name="T23" fmla="*/ 2113 h 3635"/>
                <a:gd name="T24" fmla="*/ 1999 w 2275"/>
                <a:gd name="T25" fmla="*/ 2319 h 3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75" h="3635">
                  <a:moveTo>
                    <a:pt x="1999" y="2319"/>
                  </a:moveTo>
                  <a:lnTo>
                    <a:pt x="119" y="3602"/>
                  </a:lnTo>
                  <a:lnTo>
                    <a:pt x="119" y="3602"/>
                  </a:lnTo>
                  <a:cubicBezTo>
                    <a:pt x="66" y="3634"/>
                    <a:pt x="0" y="3596"/>
                    <a:pt x="0" y="3534"/>
                  </a:cubicBezTo>
                  <a:lnTo>
                    <a:pt x="0" y="1428"/>
                  </a:lnTo>
                  <a:lnTo>
                    <a:pt x="0" y="1428"/>
                  </a:lnTo>
                  <a:cubicBezTo>
                    <a:pt x="0" y="1344"/>
                    <a:pt x="44" y="1265"/>
                    <a:pt x="118" y="1222"/>
                  </a:cubicBezTo>
                  <a:lnTo>
                    <a:pt x="2155" y="31"/>
                  </a:lnTo>
                  <a:lnTo>
                    <a:pt x="2155" y="31"/>
                  </a:lnTo>
                  <a:cubicBezTo>
                    <a:pt x="2208" y="0"/>
                    <a:pt x="2274" y="38"/>
                    <a:pt x="2274" y="99"/>
                  </a:cubicBezTo>
                  <a:lnTo>
                    <a:pt x="2117" y="2113"/>
                  </a:lnTo>
                  <a:lnTo>
                    <a:pt x="2117" y="2113"/>
                  </a:lnTo>
                  <a:cubicBezTo>
                    <a:pt x="2117" y="2198"/>
                    <a:pt x="2072" y="2276"/>
                    <a:pt x="1999" y="2319"/>
                  </a:cubicBezTo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6" name="Freeform 10">
              <a:extLst>
                <a:ext uri="{FF2B5EF4-FFF2-40B4-BE49-F238E27FC236}">
                  <a16:creationId xmlns:a16="http://schemas.microsoft.com/office/drawing/2014/main" id="{93BBC96F-76E5-C84F-9ACF-707ED55DE2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77549" y="4078509"/>
              <a:ext cx="1486236" cy="2373369"/>
            </a:xfrm>
            <a:custGeom>
              <a:avLst/>
              <a:gdLst>
                <a:gd name="T0" fmla="*/ 2156 w 2275"/>
                <a:gd name="T1" fmla="*/ 2412 h 3635"/>
                <a:gd name="T2" fmla="*/ 119 w 2275"/>
                <a:gd name="T3" fmla="*/ 3603 h 3635"/>
                <a:gd name="T4" fmla="*/ 119 w 2275"/>
                <a:gd name="T5" fmla="*/ 3603 h 3635"/>
                <a:gd name="T6" fmla="*/ 0 w 2275"/>
                <a:gd name="T7" fmla="*/ 3535 h 3635"/>
                <a:gd name="T8" fmla="*/ 0 w 2275"/>
                <a:gd name="T9" fmla="*/ 1429 h 3635"/>
                <a:gd name="T10" fmla="*/ 0 w 2275"/>
                <a:gd name="T11" fmla="*/ 1429 h 3635"/>
                <a:gd name="T12" fmla="*/ 118 w 2275"/>
                <a:gd name="T13" fmla="*/ 1222 h 3635"/>
                <a:gd name="T14" fmla="*/ 2155 w 2275"/>
                <a:gd name="T15" fmla="*/ 31 h 3635"/>
                <a:gd name="T16" fmla="*/ 2155 w 2275"/>
                <a:gd name="T17" fmla="*/ 31 h 3635"/>
                <a:gd name="T18" fmla="*/ 2274 w 2275"/>
                <a:gd name="T19" fmla="*/ 99 h 3635"/>
                <a:gd name="T20" fmla="*/ 2274 w 2275"/>
                <a:gd name="T21" fmla="*/ 2206 h 3635"/>
                <a:gd name="T22" fmla="*/ 2274 w 2275"/>
                <a:gd name="T23" fmla="*/ 2206 h 3635"/>
                <a:gd name="T24" fmla="*/ 2156 w 2275"/>
                <a:gd name="T25" fmla="*/ 2412 h 3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75" h="3635">
                  <a:moveTo>
                    <a:pt x="2156" y="2412"/>
                  </a:moveTo>
                  <a:lnTo>
                    <a:pt x="119" y="3603"/>
                  </a:lnTo>
                  <a:lnTo>
                    <a:pt x="119" y="3603"/>
                  </a:lnTo>
                  <a:cubicBezTo>
                    <a:pt x="67" y="3634"/>
                    <a:pt x="0" y="3597"/>
                    <a:pt x="0" y="3535"/>
                  </a:cubicBezTo>
                  <a:lnTo>
                    <a:pt x="0" y="1429"/>
                  </a:lnTo>
                  <a:lnTo>
                    <a:pt x="0" y="1429"/>
                  </a:lnTo>
                  <a:cubicBezTo>
                    <a:pt x="0" y="1344"/>
                    <a:pt x="45" y="1265"/>
                    <a:pt x="118" y="1222"/>
                  </a:cubicBezTo>
                  <a:lnTo>
                    <a:pt x="2155" y="31"/>
                  </a:lnTo>
                  <a:lnTo>
                    <a:pt x="2155" y="31"/>
                  </a:lnTo>
                  <a:cubicBezTo>
                    <a:pt x="2208" y="0"/>
                    <a:pt x="2274" y="38"/>
                    <a:pt x="2274" y="99"/>
                  </a:cubicBezTo>
                  <a:lnTo>
                    <a:pt x="2274" y="2206"/>
                  </a:lnTo>
                  <a:lnTo>
                    <a:pt x="2274" y="2206"/>
                  </a:lnTo>
                  <a:cubicBezTo>
                    <a:pt x="2274" y="2291"/>
                    <a:pt x="2229" y="2369"/>
                    <a:pt x="2156" y="2412"/>
                  </a:cubicBezTo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7" name="Freeform 11">
              <a:extLst>
                <a:ext uri="{FF2B5EF4-FFF2-40B4-BE49-F238E27FC236}">
                  <a16:creationId xmlns:a16="http://schemas.microsoft.com/office/drawing/2014/main" id="{D4C12628-F717-7F43-B297-21CF93D7D5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9007" y="5003088"/>
              <a:ext cx="1163642" cy="751758"/>
            </a:xfrm>
            <a:custGeom>
              <a:avLst/>
              <a:gdLst>
                <a:gd name="T0" fmla="*/ 1748 w 1781"/>
                <a:gd name="T1" fmla="*/ 157 h 1149"/>
                <a:gd name="T2" fmla="*/ 51 w 1781"/>
                <a:gd name="T3" fmla="*/ 1135 h 1149"/>
                <a:gd name="T4" fmla="*/ 51 w 1781"/>
                <a:gd name="T5" fmla="*/ 1135 h 1149"/>
                <a:gd name="T6" fmla="*/ 0 w 1781"/>
                <a:gd name="T7" fmla="*/ 1107 h 1149"/>
                <a:gd name="T8" fmla="*/ 0 w 1781"/>
                <a:gd name="T9" fmla="*/ 1057 h 1149"/>
                <a:gd name="T10" fmla="*/ 0 w 1781"/>
                <a:gd name="T11" fmla="*/ 1057 h 1149"/>
                <a:gd name="T12" fmla="*/ 41 w 1781"/>
                <a:gd name="T13" fmla="*/ 985 h 1149"/>
                <a:gd name="T14" fmla="*/ 1727 w 1781"/>
                <a:gd name="T15" fmla="*/ 14 h 1149"/>
                <a:gd name="T16" fmla="*/ 1727 w 1781"/>
                <a:gd name="T17" fmla="*/ 14 h 1149"/>
                <a:gd name="T18" fmla="*/ 1780 w 1781"/>
                <a:gd name="T19" fmla="*/ 44 h 1149"/>
                <a:gd name="T20" fmla="*/ 1780 w 1781"/>
                <a:gd name="T21" fmla="*/ 101 h 1149"/>
                <a:gd name="T22" fmla="*/ 1780 w 1781"/>
                <a:gd name="T23" fmla="*/ 101 h 1149"/>
                <a:gd name="T24" fmla="*/ 1748 w 1781"/>
                <a:gd name="T25" fmla="*/ 157 h 1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81" h="1149">
                  <a:moveTo>
                    <a:pt x="1748" y="157"/>
                  </a:moveTo>
                  <a:lnTo>
                    <a:pt x="51" y="1135"/>
                  </a:lnTo>
                  <a:lnTo>
                    <a:pt x="51" y="1135"/>
                  </a:lnTo>
                  <a:cubicBezTo>
                    <a:pt x="28" y="1148"/>
                    <a:pt x="0" y="1132"/>
                    <a:pt x="0" y="1107"/>
                  </a:cubicBezTo>
                  <a:lnTo>
                    <a:pt x="0" y="1057"/>
                  </a:lnTo>
                  <a:lnTo>
                    <a:pt x="0" y="1057"/>
                  </a:lnTo>
                  <a:cubicBezTo>
                    <a:pt x="0" y="1027"/>
                    <a:pt x="16" y="1000"/>
                    <a:pt x="41" y="985"/>
                  </a:cubicBezTo>
                  <a:lnTo>
                    <a:pt x="1727" y="14"/>
                  </a:lnTo>
                  <a:lnTo>
                    <a:pt x="1727" y="14"/>
                  </a:lnTo>
                  <a:cubicBezTo>
                    <a:pt x="1750" y="0"/>
                    <a:pt x="1780" y="17"/>
                    <a:pt x="1780" y="44"/>
                  </a:cubicBezTo>
                  <a:lnTo>
                    <a:pt x="1780" y="101"/>
                  </a:lnTo>
                  <a:lnTo>
                    <a:pt x="1780" y="101"/>
                  </a:lnTo>
                  <a:cubicBezTo>
                    <a:pt x="1780" y="125"/>
                    <a:pt x="1768" y="145"/>
                    <a:pt x="1748" y="157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58" name="Freeform 12">
              <a:extLst>
                <a:ext uri="{FF2B5EF4-FFF2-40B4-BE49-F238E27FC236}">
                  <a16:creationId xmlns:a16="http://schemas.microsoft.com/office/drawing/2014/main" id="{997868EC-B971-5040-92CC-F54D8FE623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9007" y="5201827"/>
              <a:ext cx="1163642" cy="751760"/>
            </a:xfrm>
            <a:custGeom>
              <a:avLst/>
              <a:gdLst>
                <a:gd name="T0" fmla="*/ 1748 w 1781"/>
                <a:gd name="T1" fmla="*/ 158 h 1150"/>
                <a:gd name="T2" fmla="*/ 51 w 1781"/>
                <a:gd name="T3" fmla="*/ 1136 h 1150"/>
                <a:gd name="T4" fmla="*/ 51 w 1781"/>
                <a:gd name="T5" fmla="*/ 1136 h 1150"/>
                <a:gd name="T6" fmla="*/ 0 w 1781"/>
                <a:gd name="T7" fmla="*/ 1107 h 1150"/>
                <a:gd name="T8" fmla="*/ 0 w 1781"/>
                <a:gd name="T9" fmla="*/ 1058 h 1150"/>
                <a:gd name="T10" fmla="*/ 0 w 1781"/>
                <a:gd name="T11" fmla="*/ 1058 h 1150"/>
                <a:gd name="T12" fmla="*/ 41 w 1781"/>
                <a:gd name="T13" fmla="*/ 985 h 1150"/>
                <a:gd name="T14" fmla="*/ 1727 w 1781"/>
                <a:gd name="T15" fmla="*/ 15 h 1150"/>
                <a:gd name="T16" fmla="*/ 1727 w 1781"/>
                <a:gd name="T17" fmla="*/ 15 h 1150"/>
                <a:gd name="T18" fmla="*/ 1780 w 1781"/>
                <a:gd name="T19" fmla="*/ 45 h 1150"/>
                <a:gd name="T20" fmla="*/ 1780 w 1781"/>
                <a:gd name="T21" fmla="*/ 102 h 1150"/>
                <a:gd name="T22" fmla="*/ 1780 w 1781"/>
                <a:gd name="T23" fmla="*/ 102 h 1150"/>
                <a:gd name="T24" fmla="*/ 1748 w 1781"/>
                <a:gd name="T25" fmla="*/ 158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81" h="1150">
                  <a:moveTo>
                    <a:pt x="1748" y="158"/>
                  </a:moveTo>
                  <a:lnTo>
                    <a:pt x="51" y="1136"/>
                  </a:lnTo>
                  <a:lnTo>
                    <a:pt x="51" y="1136"/>
                  </a:lnTo>
                  <a:cubicBezTo>
                    <a:pt x="28" y="1149"/>
                    <a:pt x="0" y="1133"/>
                    <a:pt x="0" y="1107"/>
                  </a:cubicBezTo>
                  <a:lnTo>
                    <a:pt x="0" y="1058"/>
                  </a:lnTo>
                  <a:lnTo>
                    <a:pt x="0" y="1058"/>
                  </a:lnTo>
                  <a:cubicBezTo>
                    <a:pt x="0" y="1028"/>
                    <a:pt x="16" y="1001"/>
                    <a:pt x="41" y="985"/>
                  </a:cubicBezTo>
                  <a:lnTo>
                    <a:pt x="1727" y="15"/>
                  </a:lnTo>
                  <a:lnTo>
                    <a:pt x="1727" y="15"/>
                  </a:lnTo>
                  <a:cubicBezTo>
                    <a:pt x="1750" y="0"/>
                    <a:pt x="1780" y="18"/>
                    <a:pt x="1780" y="45"/>
                  </a:cubicBezTo>
                  <a:lnTo>
                    <a:pt x="1780" y="102"/>
                  </a:lnTo>
                  <a:lnTo>
                    <a:pt x="1780" y="102"/>
                  </a:lnTo>
                  <a:cubicBezTo>
                    <a:pt x="1780" y="125"/>
                    <a:pt x="1768" y="146"/>
                    <a:pt x="1748" y="158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0" name="Freeform 13">
              <a:extLst>
                <a:ext uri="{FF2B5EF4-FFF2-40B4-BE49-F238E27FC236}">
                  <a16:creationId xmlns:a16="http://schemas.microsoft.com/office/drawing/2014/main" id="{501102D7-9C13-DA44-A76C-9FBCFD7E11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9007" y="5397688"/>
              <a:ext cx="1163642" cy="751760"/>
            </a:xfrm>
            <a:custGeom>
              <a:avLst/>
              <a:gdLst>
                <a:gd name="T0" fmla="*/ 1748 w 1781"/>
                <a:gd name="T1" fmla="*/ 157 h 1150"/>
                <a:gd name="T2" fmla="*/ 51 w 1781"/>
                <a:gd name="T3" fmla="*/ 1136 h 1150"/>
                <a:gd name="T4" fmla="*/ 51 w 1781"/>
                <a:gd name="T5" fmla="*/ 1136 h 1150"/>
                <a:gd name="T6" fmla="*/ 0 w 1781"/>
                <a:gd name="T7" fmla="*/ 1107 h 1150"/>
                <a:gd name="T8" fmla="*/ 0 w 1781"/>
                <a:gd name="T9" fmla="*/ 1057 h 1150"/>
                <a:gd name="T10" fmla="*/ 0 w 1781"/>
                <a:gd name="T11" fmla="*/ 1057 h 1150"/>
                <a:gd name="T12" fmla="*/ 41 w 1781"/>
                <a:gd name="T13" fmla="*/ 985 h 1150"/>
                <a:gd name="T14" fmla="*/ 1727 w 1781"/>
                <a:gd name="T15" fmla="*/ 14 h 1150"/>
                <a:gd name="T16" fmla="*/ 1727 w 1781"/>
                <a:gd name="T17" fmla="*/ 14 h 1150"/>
                <a:gd name="T18" fmla="*/ 1780 w 1781"/>
                <a:gd name="T19" fmla="*/ 45 h 1150"/>
                <a:gd name="T20" fmla="*/ 1780 w 1781"/>
                <a:gd name="T21" fmla="*/ 102 h 1150"/>
                <a:gd name="T22" fmla="*/ 1780 w 1781"/>
                <a:gd name="T23" fmla="*/ 102 h 1150"/>
                <a:gd name="T24" fmla="*/ 1748 w 1781"/>
                <a:gd name="T25" fmla="*/ 157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81" h="1150">
                  <a:moveTo>
                    <a:pt x="1748" y="157"/>
                  </a:moveTo>
                  <a:lnTo>
                    <a:pt x="51" y="1136"/>
                  </a:lnTo>
                  <a:lnTo>
                    <a:pt x="51" y="1136"/>
                  </a:lnTo>
                  <a:cubicBezTo>
                    <a:pt x="28" y="1149"/>
                    <a:pt x="0" y="1133"/>
                    <a:pt x="0" y="1107"/>
                  </a:cubicBezTo>
                  <a:lnTo>
                    <a:pt x="0" y="1057"/>
                  </a:lnTo>
                  <a:lnTo>
                    <a:pt x="0" y="1057"/>
                  </a:lnTo>
                  <a:cubicBezTo>
                    <a:pt x="0" y="1028"/>
                    <a:pt x="16" y="1000"/>
                    <a:pt x="41" y="985"/>
                  </a:cubicBezTo>
                  <a:lnTo>
                    <a:pt x="1727" y="14"/>
                  </a:lnTo>
                  <a:lnTo>
                    <a:pt x="1727" y="14"/>
                  </a:lnTo>
                  <a:cubicBezTo>
                    <a:pt x="1750" y="0"/>
                    <a:pt x="1780" y="18"/>
                    <a:pt x="1780" y="45"/>
                  </a:cubicBezTo>
                  <a:lnTo>
                    <a:pt x="1780" y="102"/>
                  </a:lnTo>
                  <a:lnTo>
                    <a:pt x="1780" y="102"/>
                  </a:lnTo>
                  <a:cubicBezTo>
                    <a:pt x="1780" y="125"/>
                    <a:pt x="1768" y="146"/>
                    <a:pt x="1748" y="157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2" name="Freeform 14">
              <a:extLst>
                <a:ext uri="{FF2B5EF4-FFF2-40B4-BE49-F238E27FC236}">
                  <a16:creationId xmlns:a16="http://schemas.microsoft.com/office/drawing/2014/main" id="{47A243C0-2A51-0349-B6B6-B6E6FB9955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998728" y="2802536"/>
              <a:ext cx="63367" cy="241945"/>
            </a:xfrm>
            <a:custGeom>
              <a:avLst/>
              <a:gdLst>
                <a:gd name="T0" fmla="*/ 96 w 97"/>
                <a:gd name="T1" fmla="*/ 371 h 372"/>
                <a:gd name="T2" fmla="*/ 0 w 97"/>
                <a:gd name="T3" fmla="*/ 312 h 372"/>
                <a:gd name="T4" fmla="*/ 0 w 97"/>
                <a:gd name="T5" fmla="*/ 0 h 372"/>
                <a:gd name="T6" fmla="*/ 96 w 97"/>
                <a:gd name="T7" fmla="*/ 58 h 372"/>
                <a:gd name="T8" fmla="*/ 96 w 97"/>
                <a:gd name="T9" fmla="*/ 371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372">
                  <a:moveTo>
                    <a:pt x="96" y="371"/>
                  </a:moveTo>
                  <a:lnTo>
                    <a:pt x="0" y="312"/>
                  </a:lnTo>
                  <a:lnTo>
                    <a:pt x="0" y="0"/>
                  </a:lnTo>
                  <a:lnTo>
                    <a:pt x="96" y="58"/>
                  </a:lnTo>
                  <a:lnTo>
                    <a:pt x="96" y="371"/>
                  </a:lnTo>
                </a:path>
              </a:pathLst>
            </a:custGeom>
            <a:solidFill>
              <a:srgbClr val="CD50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3" name="Freeform 15">
              <a:extLst>
                <a:ext uri="{FF2B5EF4-FFF2-40B4-BE49-F238E27FC236}">
                  <a16:creationId xmlns:a16="http://schemas.microsoft.com/office/drawing/2014/main" id="{B39B8A92-224C-1540-95FE-5C33A7A3BD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326546" y="904417"/>
              <a:ext cx="167058" cy="285151"/>
            </a:xfrm>
            <a:custGeom>
              <a:avLst/>
              <a:gdLst>
                <a:gd name="T0" fmla="*/ 254 w 255"/>
                <a:gd name="T1" fmla="*/ 434 h 435"/>
                <a:gd name="T2" fmla="*/ 0 w 255"/>
                <a:gd name="T3" fmla="*/ 219 h 435"/>
                <a:gd name="T4" fmla="*/ 158 w 255"/>
                <a:gd name="T5" fmla="*/ 0 h 435"/>
                <a:gd name="T6" fmla="*/ 254 w 255"/>
                <a:gd name="T7" fmla="*/ 58 h 435"/>
                <a:gd name="T8" fmla="*/ 254 w 255"/>
                <a:gd name="T9" fmla="*/ 434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5" h="435">
                  <a:moveTo>
                    <a:pt x="254" y="434"/>
                  </a:moveTo>
                  <a:lnTo>
                    <a:pt x="0" y="219"/>
                  </a:lnTo>
                  <a:lnTo>
                    <a:pt x="158" y="0"/>
                  </a:lnTo>
                  <a:lnTo>
                    <a:pt x="254" y="58"/>
                  </a:lnTo>
                  <a:lnTo>
                    <a:pt x="254" y="434"/>
                  </a:lnTo>
                </a:path>
              </a:pathLst>
            </a:custGeom>
            <a:solidFill>
              <a:srgbClr val="CD50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4" name="Freeform 16">
              <a:extLst>
                <a:ext uri="{FF2B5EF4-FFF2-40B4-BE49-F238E27FC236}">
                  <a16:creationId xmlns:a16="http://schemas.microsoft.com/office/drawing/2014/main" id="{5E6F0335-1157-244A-B691-C03675ABD2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972803" y="884255"/>
              <a:ext cx="1486236" cy="2142945"/>
            </a:xfrm>
            <a:custGeom>
              <a:avLst/>
              <a:gdLst>
                <a:gd name="T0" fmla="*/ 1998 w 2275"/>
                <a:gd name="T1" fmla="*/ 1963 h 3279"/>
                <a:gd name="T2" fmla="*/ 118 w 2275"/>
                <a:gd name="T3" fmla="*/ 3247 h 3279"/>
                <a:gd name="T4" fmla="*/ 118 w 2275"/>
                <a:gd name="T5" fmla="*/ 3247 h 3279"/>
                <a:gd name="T6" fmla="*/ 0 w 2275"/>
                <a:gd name="T7" fmla="*/ 3179 h 3279"/>
                <a:gd name="T8" fmla="*/ 0 w 2275"/>
                <a:gd name="T9" fmla="*/ 1429 h 3279"/>
                <a:gd name="T10" fmla="*/ 0 w 2275"/>
                <a:gd name="T11" fmla="*/ 1429 h 3279"/>
                <a:gd name="T12" fmla="*/ 117 w 2275"/>
                <a:gd name="T13" fmla="*/ 1222 h 3279"/>
                <a:gd name="T14" fmla="*/ 2154 w 2275"/>
                <a:gd name="T15" fmla="*/ 31 h 3279"/>
                <a:gd name="T16" fmla="*/ 2154 w 2275"/>
                <a:gd name="T17" fmla="*/ 31 h 3279"/>
                <a:gd name="T18" fmla="*/ 2274 w 2275"/>
                <a:gd name="T19" fmla="*/ 99 h 3279"/>
                <a:gd name="T20" fmla="*/ 2116 w 2275"/>
                <a:gd name="T21" fmla="*/ 1757 h 3279"/>
                <a:gd name="T22" fmla="*/ 2116 w 2275"/>
                <a:gd name="T23" fmla="*/ 1757 h 3279"/>
                <a:gd name="T24" fmla="*/ 1998 w 2275"/>
                <a:gd name="T25" fmla="*/ 1963 h 3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75" h="3279">
                  <a:moveTo>
                    <a:pt x="1998" y="1963"/>
                  </a:moveTo>
                  <a:lnTo>
                    <a:pt x="118" y="3247"/>
                  </a:lnTo>
                  <a:lnTo>
                    <a:pt x="118" y="3247"/>
                  </a:lnTo>
                  <a:cubicBezTo>
                    <a:pt x="66" y="3278"/>
                    <a:pt x="0" y="3240"/>
                    <a:pt x="0" y="3179"/>
                  </a:cubicBezTo>
                  <a:lnTo>
                    <a:pt x="0" y="1429"/>
                  </a:lnTo>
                  <a:lnTo>
                    <a:pt x="0" y="1429"/>
                  </a:lnTo>
                  <a:cubicBezTo>
                    <a:pt x="0" y="1343"/>
                    <a:pt x="44" y="1265"/>
                    <a:pt x="117" y="1222"/>
                  </a:cubicBezTo>
                  <a:lnTo>
                    <a:pt x="2154" y="31"/>
                  </a:lnTo>
                  <a:lnTo>
                    <a:pt x="2154" y="31"/>
                  </a:lnTo>
                  <a:cubicBezTo>
                    <a:pt x="2207" y="0"/>
                    <a:pt x="2274" y="38"/>
                    <a:pt x="2274" y="99"/>
                  </a:cubicBezTo>
                  <a:lnTo>
                    <a:pt x="2116" y="1757"/>
                  </a:lnTo>
                  <a:lnTo>
                    <a:pt x="2116" y="1757"/>
                  </a:lnTo>
                  <a:cubicBezTo>
                    <a:pt x="2116" y="1842"/>
                    <a:pt x="2071" y="1920"/>
                    <a:pt x="1998" y="1963"/>
                  </a:cubicBezTo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5" name="Freeform 17">
              <a:extLst>
                <a:ext uri="{FF2B5EF4-FFF2-40B4-BE49-F238E27FC236}">
                  <a16:creationId xmlns:a16="http://schemas.microsoft.com/office/drawing/2014/main" id="{F522F55B-D9D3-B74C-8EDA-72C1DA49DC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33291" y="921698"/>
              <a:ext cx="1486236" cy="2142945"/>
            </a:xfrm>
            <a:custGeom>
              <a:avLst/>
              <a:gdLst>
                <a:gd name="T0" fmla="*/ 2156 w 2275"/>
                <a:gd name="T1" fmla="*/ 2055 h 3279"/>
                <a:gd name="T2" fmla="*/ 119 w 2275"/>
                <a:gd name="T3" fmla="*/ 3247 h 3279"/>
                <a:gd name="T4" fmla="*/ 119 w 2275"/>
                <a:gd name="T5" fmla="*/ 3247 h 3279"/>
                <a:gd name="T6" fmla="*/ 0 w 2275"/>
                <a:gd name="T7" fmla="*/ 3178 h 3279"/>
                <a:gd name="T8" fmla="*/ 0 w 2275"/>
                <a:gd name="T9" fmla="*/ 1428 h 3279"/>
                <a:gd name="T10" fmla="*/ 0 w 2275"/>
                <a:gd name="T11" fmla="*/ 1428 h 3279"/>
                <a:gd name="T12" fmla="*/ 118 w 2275"/>
                <a:gd name="T13" fmla="*/ 1222 h 3279"/>
                <a:gd name="T14" fmla="*/ 2154 w 2275"/>
                <a:gd name="T15" fmla="*/ 31 h 3279"/>
                <a:gd name="T16" fmla="*/ 2154 w 2275"/>
                <a:gd name="T17" fmla="*/ 31 h 3279"/>
                <a:gd name="T18" fmla="*/ 2274 w 2275"/>
                <a:gd name="T19" fmla="*/ 99 h 3279"/>
                <a:gd name="T20" fmla="*/ 2274 w 2275"/>
                <a:gd name="T21" fmla="*/ 1849 h 3279"/>
                <a:gd name="T22" fmla="*/ 2274 w 2275"/>
                <a:gd name="T23" fmla="*/ 1849 h 3279"/>
                <a:gd name="T24" fmla="*/ 2156 w 2275"/>
                <a:gd name="T25" fmla="*/ 2055 h 3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75" h="3279">
                  <a:moveTo>
                    <a:pt x="2156" y="2055"/>
                  </a:moveTo>
                  <a:lnTo>
                    <a:pt x="119" y="3247"/>
                  </a:lnTo>
                  <a:lnTo>
                    <a:pt x="119" y="3247"/>
                  </a:lnTo>
                  <a:cubicBezTo>
                    <a:pt x="66" y="3278"/>
                    <a:pt x="0" y="3239"/>
                    <a:pt x="0" y="3178"/>
                  </a:cubicBezTo>
                  <a:lnTo>
                    <a:pt x="0" y="1428"/>
                  </a:lnTo>
                  <a:lnTo>
                    <a:pt x="0" y="1428"/>
                  </a:lnTo>
                  <a:cubicBezTo>
                    <a:pt x="0" y="1344"/>
                    <a:pt x="44" y="1265"/>
                    <a:pt x="118" y="1222"/>
                  </a:cubicBezTo>
                  <a:lnTo>
                    <a:pt x="2154" y="31"/>
                  </a:lnTo>
                  <a:lnTo>
                    <a:pt x="2154" y="31"/>
                  </a:lnTo>
                  <a:cubicBezTo>
                    <a:pt x="2207" y="0"/>
                    <a:pt x="2274" y="38"/>
                    <a:pt x="2274" y="99"/>
                  </a:cubicBezTo>
                  <a:lnTo>
                    <a:pt x="2274" y="1849"/>
                  </a:lnTo>
                  <a:lnTo>
                    <a:pt x="2274" y="1849"/>
                  </a:lnTo>
                  <a:cubicBezTo>
                    <a:pt x="2274" y="1934"/>
                    <a:pt x="2229" y="2012"/>
                    <a:pt x="2156" y="2055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6" name="Freeform 15">
              <a:extLst>
                <a:ext uri="{FF2B5EF4-FFF2-40B4-BE49-F238E27FC236}">
                  <a16:creationId xmlns:a16="http://schemas.microsoft.com/office/drawing/2014/main" id="{6EF53726-CB27-594B-9FCD-AF6D7553B5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14748" y="1224265"/>
              <a:ext cx="1162990" cy="1528941"/>
            </a:xfrm>
            <a:custGeom>
              <a:avLst/>
              <a:gdLst>
                <a:gd name="connsiteX0" fmla="*/ 811619 w 1162990"/>
                <a:gd name="connsiteY0" fmla="*/ 988059 h 1528941"/>
                <a:gd name="connsiteX1" fmla="*/ 823115 w 1162990"/>
                <a:gd name="connsiteY1" fmla="*/ 1007877 h 1528941"/>
                <a:gd name="connsiteX2" fmla="*/ 823115 w 1162990"/>
                <a:gd name="connsiteY2" fmla="*/ 1045720 h 1528941"/>
                <a:gd name="connsiteX3" fmla="*/ 802243 w 1162990"/>
                <a:gd name="connsiteY3" fmla="*/ 1081606 h 1528941"/>
                <a:gd name="connsiteX4" fmla="*/ 32612 w 1162990"/>
                <a:gd name="connsiteY4" fmla="*/ 1525932 h 1528941"/>
                <a:gd name="connsiteX5" fmla="*/ 1 w 1162990"/>
                <a:gd name="connsiteY5" fmla="*/ 1507010 h 1528941"/>
                <a:gd name="connsiteX6" fmla="*/ 1 w 1162990"/>
                <a:gd name="connsiteY6" fmla="*/ 1475040 h 1528941"/>
                <a:gd name="connsiteX7" fmla="*/ 26742 w 1162990"/>
                <a:gd name="connsiteY7" fmla="*/ 1427410 h 1528941"/>
                <a:gd name="connsiteX8" fmla="*/ 787894 w 1162990"/>
                <a:gd name="connsiteY8" fmla="*/ 988304 h 1528941"/>
                <a:gd name="connsiteX9" fmla="*/ 811619 w 1162990"/>
                <a:gd name="connsiteY9" fmla="*/ 988059 h 1528941"/>
                <a:gd name="connsiteX10" fmla="*/ 327960 w 1162990"/>
                <a:gd name="connsiteY10" fmla="*/ 861188 h 1528941"/>
                <a:gd name="connsiteX11" fmla="*/ 350746 w 1162990"/>
                <a:gd name="connsiteY11" fmla="*/ 884679 h 1528941"/>
                <a:gd name="connsiteX12" fmla="*/ 350746 w 1162990"/>
                <a:gd name="connsiteY12" fmla="*/ 921872 h 1528941"/>
                <a:gd name="connsiteX13" fmla="*/ 329923 w 1162990"/>
                <a:gd name="connsiteY13" fmla="*/ 957761 h 1528941"/>
                <a:gd name="connsiteX14" fmla="*/ 32537 w 1162990"/>
                <a:gd name="connsiteY14" fmla="*/ 1130678 h 1528941"/>
                <a:gd name="connsiteX15" fmla="*/ 0 w 1162990"/>
                <a:gd name="connsiteY15" fmla="*/ 1111755 h 1528941"/>
                <a:gd name="connsiteX16" fmla="*/ 0 w 1162990"/>
                <a:gd name="connsiteY16" fmla="*/ 1079782 h 1528941"/>
                <a:gd name="connsiteX17" fmla="*/ 26680 w 1162990"/>
                <a:gd name="connsiteY17" fmla="*/ 1032800 h 1528941"/>
                <a:gd name="connsiteX18" fmla="*/ 316257 w 1162990"/>
                <a:gd name="connsiteY18" fmla="*/ 864450 h 1528941"/>
                <a:gd name="connsiteX19" fmla="*/ 327960 w 1162990"/>
                <a:gd name="connsiteY19" fmla="*/ 861188 h 1528941"/>
                <a:gd name="connsiteX20" fmla="*/ 1128457 w 1162990"/>
                <a:gd name="connsiteY20" fmla="*/ 780271 h 1528941"/>
                <a:gd name="connsiteX21" fmla="*/ 1162990 w 1162990"/>
                <a:gd name="connsiteY21" fmla="*/ 800504 h 1528941"/>
                <a:gd name="connsiteX22" fmla="*/ 1162990 w 1162990"/>
                <a:gd name="connsiteY22" fmla="*/ 838359 h 1528941"/>
                <a:gd name="connsiteX23" fmla="*/ 1142140 w 1162990"/>
                <a:gd name="connsiteY23" fmla="*/ 874257 h 1528941"/>
                <a:gd name="connsiteX24" fmla="*/ 888681 w 1162990"/>
                <a:gd name="connsiteY24" fmla="*/ 1027637 h 1528941"/>
                <a:gd name="connsiteX25" fmla="*/ 855451 w 1162990"/>
                <a:gd name="connsiteY25" fmla="*/ 1008709 h 1528941"/>
                <a:gd name="connsiteX26" fmla="*/ 855451 w 1162990"/>
                <a:gd name="connsiteY26" fmla="*/ 976075 h 1528941"/>
                <a:gd name="connsiteX27" fmla="*/ 882165 w 1162990"/>
                <a:gd name="connsiteY27" fmla="*/ 929082 h 1528941"/>
                <a:gd name="connsiteX28" fmla="*/ 1128341 w 1162990"/>
                <a:gd name="connsiteY28" fmla="*/ 595954 h 1528941"/>
                <a:gd name="connsiteX29" fmla="*/ 1162988 w 1162990"/>
                <a:gd name="connsiteY29" fmla="*/ 616236 h 1528941"/>
                <a:gd name="connsiteX30" fmla="*/ 1162988 w 1162990"/>
                <a:gd name="connsiteY30" fmla="*/ 654184 h 1528941"/>
                <a:gd name="connsiteX31" fmla="*/ 1142723 w 1162990"/>
                <a:gd name="connsiteY31" fmla="*/ 690169 h 1528941"/>
                <a:gd name="connsiteX32" fmla="*/ 32687 w 1162990"/>
                <a:gd name="connsiteY32" fmla="*/ 1330046 h 1528941"/>
                <a:gd name="connsiteX33" fmla="*/ 0 w 1162990"/>
                <a:gd name="connsiteY33" fmla="*/ 1311072 h 1528941"/>
                <a:gd name="connsiteX34" fmla="*/ 0 w 1162990"/>
                <a:gd name="connsiteY34" fmla="*/ 1278359 h 1528941"/>
                <a:gd name="connsiteX35" fmla="*/ 26803 w 1162990"/>
                <a:gd name="connsiteY35" fmla="*/ 1231906 h 1528941"/>
                <a:gd name="connsiteX36" fmla="*/ 823212 w 1162990"/>
                <a:gd name="connsiteY36" fmla="*/ 581796 h 1528941"/>
                <a:gd name="connsiteX37" fmla="*/ 846153 w 1162990"/>
                <a:gd name="connsiteY37" fmla="*/ 604675 h 1528941"/>
                <a:gd name="connsiteX38" fmla="*/ 846153 w 1162990"/>
                <a:gd name="connsiteY38" fmla="*/ 642570 h 1528941"/>
                <a:gd name="connsiteX39" fmla="*/ 825187 w 1162990"/>
                <a:gd name="connsiteY39" fmla="*/ 678506 h 1528941"/>
                <a:gd name="connsiteX40" fmla="*/ 421600 w 1162990"/>
                <a:gd name="connsiteY40" fmla="*/ 912415 h 1528941"/>
                <a:gd name="connsiteX41" fmla="*/ 388841 w 1162990"/>
                <a:gd name="connsiteY41" fmla="*/ 893467 h 1528941"/>
                <a:gd name="connsiteX42" fmla="*/ 388841 w 1162990"/>
                <a:gd name="connsiteY42" fmla="*/ 860798 h 1528941"/>
                <a:gd name="connsiteX43" fmla="*/ 415703 w 1162990"/>
                <a:gd name="connsiteY43" fmla="*/ 814408 h 1528941"/>
                <a:gd name="connsiteX44" fmla="*/ 811429 w 1162990"/>
                <a:gd name="connsiteY44" fmla="*/ 585073 h 1528941"/>
                <a:gd name="connsiteX45" fmla="*/ 823212 w 1162990"/>
                <a:gd name="connsiteY45" fmla="*/ 581796 h 1528941"/>
                <a:gd name="connsiteX46" fmla="*/ 1134380 w 1162990"/>
                <a:gd name="connsiteY46" fmla="*/ 400324 h 1528941"/>
                <a:gd name="connsiteX47" fmla="*/ 1157229 w 1162990"/>
                <a:gd name="connsiteY47" fmla="*/ 423149 h 1528941"/>
                <a:gd name="connsiteX48" fmla="*/ 1157229 w 1162990"/>
                <a:gd name="connsiteY48" fmla="*/ 460957 h 1528941"/>
                <a:gd name="connsiteX49" fmla="*/ 1136348 w 1162990"/>
                <a:gd name="connsiteY49" fmla="*/ 496809 h 1528941"/>
                <a:gd name="connsiteX50" fmla="*/ 905358 w 1162990"/>
                <a:gd name="connsiteY50" fmla="*/ 633047 h 1528941"/>
                <a:gd name="connsiteX51" fmla="*/ 872732 w 1162990"/>
                <a:gd name="connsiteY51" fmla="*/ 614143 h 1528941"/>
                <a:gd name="connsiteX52" fmla="*/ 872732 w 1162990"/>
                <a:gd name="connsiteY52" fmla="*/ 581550 h 1528941"/>
                <a:gd name="connsiteX53" fmla="*/ 898833 w 1162990"/>
                <a:gd name="connsiteY53" fmla="*/ 535268 h 1528941"/>
                <a:gd name="connsiteX54" fmla="*/ 1122645 w 1162990"/>
                <a:gd name="connsiteY54" fmla="*/ 403593 h 1528941"/>
                <a:gd name="connsiteX55" fmla="*/ 1134380 w 1162990"/>
                <a:gd name="connsiteY55" fmla="*/ 400324 h 1528941"/>
                <a:gd name="connsiteX56" fmla="*/ 523986 w 1162990"/>
                <a:gd name="connsiteY56" fmla="*/ 360306 h 1528941"/>
                <a:gd name="connsiteX57" fmla="*/ 546604 w 1162990"/>
                <a:gd name="connsiteY57" fmla="*/ 383581 h 1528941"/>
                <a:gd name="connsiteX58" fmla="*/ 546604 w 1162990"/>
                <a:gd name="connsiteY58" fmla="*/ 420869 h 1528941"/>
                <a:gd name="connsiteX59" fmla="*/ 525682 w 1162990"/>
                <a:gd name="connsiteY59" fmla="*/ 456850 h 1528941"/>
                <a:gd name="connsiteX60" fmla="*/ 32693 w 1162990"/>
                <a:gd name="connsiteY60" fmla="*/ 744692 h 1528941"/>
                <a:gd name="connsiteX61" fmla="*/ 1 w 1162990"/>
                <a:gd name="connsiteY61" fmla="*/ 725721 h 1528941"/>
                <a:gd name="connsiteX62" fmla="*/ 1 w 1162990"/>
                <a:gd name="connsiteY62" fmla="*/ 693666 h 1528941"/>
                <a:gd name="connsiteX63" fmla="*/ 26808 w 1162990"/>
                <a:gd name="connsiteY63" fmla="*/ 646564 h 1528941"/>
                <a:gd name="connsiteX64" fmla="*/ 511951 w 1162990"/>
                <a:gd name="connsiteY64" fmla="*/ 363955 h 1528941"/>
                <a:gd name="connsiteX65" fmla="*/ 523986 w 1162990"/>
                <a:gd name="connsiteY65" fmla="*/ 360306 h 1528941"/>
                <a:gd name="connsiteX66" fmla="*/ 1140373 w 1162990"/>
                <a:gd name="connsiteY66" fmla="*/ 201610 h 1528941"/>
                <a:gd name="connsiteX67" fmla="*/ 1162988 w 1162990"/>
                <a:gd name="connsiteY67" fmla="*/ 225144 h 1528941"/>
                <a:gd name="connsiteX68" fmla="*/ 1162988 w 1162990"/>
                <a:gd name="connsiteY68" fmla="*/ 262405 h 1528941"/>
                <a:gd name="connsiteX69" fmla="*/ 1142723 w 1162990"/>
                <a:gd name="connsiteY69" fmla="*/ 298358 h 1528941"/>
                <a:gd name="connsiteX70" fmla="*/ 32687 w 1162990"/>
                <a:gd name="connsiteY70" fmla="*/ 938333 h 1528941"/>
                <a:gd name="connsiteX71" fmla="*/ 0 w 1162990"/>
                <a:gd name="connsiteY71" fmla="*/ 919376 h 1528941"/>
                <a:gd name="connsiteX72" fmla="*/ 0 w 1162990"/>
                <a:gd name="connsiteY72" fmla="*/ 886691 h 1528941"/>
                <a:gd name="connsiteX73" fmla="*/ 26803 w 1162990"/>
                <a:gd name="connsiteY73" fmla="*/ 840278 h 1528941"/>
                <a:gd name="connsiteX74" fmla="*/ 1128341 w 1162990"/>
                <a:gd name="connsiteY74" fmla="*/ 204879 h 1528941"/>
                <a:gd name="connsiteX75" fmla="*/ 1140373 w 1162990"/>
                <a:gd name="connsiteY75" fmla="*/ 201610 h 1528941"/>
                <a:gd name="connsiteX76" fmla="*/ 1131532 w 1162990"/>
                <a:gd name="connsiteY76" fmla="*/ 1 h 1528941"/>
                <a:gd name="connsiteX77" fmla="*/ 1154350 w 1162990"/>
                <a:gd name="connsiteY77" fmla="*/ 23582 h 1528941"/>
                <a:gd name="connsiteX78" fmla="*/ 1154350 w 1162990"/>
                <a:gd name="connsiteY78" fmla="*/ 60918 h 1528941"/>
                <a:gd name="connsiteX79" fmla="*/ 1133497 w 1162990"/>
                <a:gd name="connsiteY79" fmla="*/ 97599 h 1528941"/>
                <a:gd name="connsiteX80" fmla="*/ 612176 w 1162990"/>
                <a:gd name="connsiteY80" fmla="*/ 405460 h 1528941"/>
                <a:gd name="connsiteX81" fmla="*/ 578942 w 1162990"/>
                <a:gd name="connsiteY81" fmla="*/ 386464 h 1528941"/>
                <a:gd name="connsiteX82" fmla="*/ 578942 w 1162990"/>
                <a:gd name="connsiteY82" fmla="*/ 353713 h 1528941"/>
                <a:gd name="connsiteX83" fmla="*/ 606311 w 1162990"/>
                <a:gd name="connsiteY83" fmla="*/ 307206 h 1528941"/>
                <a:gd name="connsiteX84" fmla="*/ 1119813 w 1162990"/>
                <a:gd name="connsiteY84" fmla="*/ 3276 h 1528941"/>
                <a:gd name="connsiteX85" fmla="*/ 1131532 w 1162990"/>
                <a:gd name="connsiteY85" fmla="*/ 1 h 1528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</a:cxnLst>
              <a:rect l="l" t="t" r="r" b="b"/>
              <a:pathLst>
                <a:path w="1162990" h="1528941">
                  <a:moveTo>
                    <a:pt x="811619" y="988059"/>
                  </a:moveTo>
                  <a:cubicBezTo>
                    <a:pt x="818386" y="991892"/>
                    <a:pt x="823115" y="999069"/>
                    <a:pt x="823115" y="1007877"/>
                  </a:cubicBezTo>
                  <a:lnTo>
                    <a:pt x="823115" y="1045720"/>
                  </a:lnTo>
                  <a:cubicBezTo>
                    <a:pt x="823115" y="1060074"/>
                    <a:pt x="815288" y="1073776"/>
                    <a:pt x="802243" y="1081606"/>
                  </a:cubicBezTo>
                  <a:lnTo>
                    <a:pt x="32612" y="1525932"/>
                  </a:lnTo>
                  <a:cubicBezTo>
                    <a:pt x="18263" y="1534414"/>
                    <a:pt x="1" y="1523974"/>
                    <a:pt x="1" y="1507010"/>
                  </a:cubicBezTo>
                  <a:lnTo>
                    <a:pt x="1" y="1475040"/>
                  </a:lnTo>
                  <a:cubicBezTo>
                    <a:pt x="1" y="1455466"/>
                    <a:pt x="9784" y="1437849"/>
                    <a:pt x="26742" y="1427410"/>
                  </a:cubicBezTo>
                  <a:lnTo>
                    <a:pt x="787894" y="988304"/>
                  </a:lnTo>
                  <a:cubicBezTo>
                    <a:pt x="796047" y="983736"/>
                    <a:pt x="804852" y="984226"/>
                    <a:pt x="811619" y="988059"/>
                  </a:cubicBezTo>
                  <a:close/>
                  <a:moveTo>
                    <a:pt x="327960" y="861188"/>
                  </a:moveTo>
                  <a:cubicBezTo>
                    <a:pt x="339765" y="861310"/>
                    <a:pt x="350746" y="870976"/>
                    <a:pt x="350746" y="884679"/>
                  </a:cubicBezTo>
                  <a:lnTo>
                    <a:pt x="350746" y="921872"/>
                  </a:lnTo>
                  <a:cubicBezTo>
                    <a:pt x="350746" y="936880"/>
                    <a:pt x="342937" y="950583"/>
                    <a:pt x="329923" y="957761"/>
                  </a:cubicBezTo>
                  <a:lnTo>
                    <a:pt x="32537" y="1130678"/>
                  </a:lnTo>
                  <a:cubicBezTo>
                    <a:pt x="18221" y="1139814"/>
                    <a:pt x="0" y="1128721"/>
                    <a:pt x="0" y="1111755"/>
                  </a:cubicBezTo>
                  <a:lnTo>
                    <a:pt x="0" y="1079782"/>
                  </a:lnTo>
                  <a:cubicBezTo>
                    <a:pt x="0" y="1060206"/>
                    <a:pt x="9761" y="1042588"/>
                    <a:pt x="26680" y="1032800"/>
                  </a:cubicBezTo>
                  <a:lnTo>
                    <a:pt x="316257" y="864450"/>
                  </a:lnTo>
                  <a:cubicBezTo>
                    <a:pt x="319999" y="862166"/>
                    <a:pt x="324025" y="861147"/>
                    <a:pt x="327960" y="861188"/>
                  </a:cubicBezTo>
                  <a:close/>
                  <a:moveTo>
                    <a:pt x="1128457" y="780271"/>
                  </a:moveTo>
                  <a:cubicBezTo>
                    <a:pt x="1143443" y="771786"/>
                    <a:pt x="1162990" y="782882"/>
                    <a:pt x="1162990" y="800504"/>
                  </a:cubicBezTo>
                  <a:lnTo>
                    <a:pt x="1162990" y="838359"/>
                  </a:lnTo>
                  <a:cubicBezTo>
                    <a:pt x="1162990" y="852718"/>
                    <a:pt x="1155172" y="866425"/>
                    <a:pt x="1142140" y="874257"/>
                  </a:cubicBezTo>
                  <a:lnTo>
                    <a:pt x="888681" y="1027637"/>
                  </a:lnTo>
                  <a:cubicBezTo>
                    <a:pt x="873695" y="1036121"/>
                    <a:pt x="855451" y="1025679"/>
                    <a:pt x="855451" y="1008709"/>
                  </a:cubicBezTo>
                  <a:lnTo>
                    <a:pt x="855451" y="976075"/>
                  </a:lnTo>
                  <a:cubicBezTo>
                    <a:pt x="855451" y="957147"/>
                    <a:pt x="865224" y="938872"/>
                    <a:pt x="882165" y="929082"/>
                  </a:cubicBezTo>
                  <a:close/>
                  <a:moveTo>
                    <a:pt x="1128341" y="595954"/>
                  </a:moveTo>
                  <a:cubicBezTo>
                    <a:pt x="1144030" y="587448"/>
                    <a:pt x="1162988" y="598571"/>
                    <a:pt x="1162988" y="616236"/>
                  </a:cubicBezTo>
                  <a:lnTo>
                    <a:pt x="1162988" y="654184"/>
                  </a:lnTo>
                  <a:cubicBezTo>
                    <a:pt x="1162988" y="668578"/>
                    <a:pt x="1155797" y="682317"/>
                    <a:pt x="1142723" y="690169"/>
                  </a:cubicBezTo>
                  <a:lnTo>
                    <a:pt x="32687" y="1330046"/>
                  </a:lnTo>
                  <a:cubicBezTo>
                    <a:pt x="18304" y="1338552"/>
                    <a:pt x="0" y="1328084"/>
                    <a:pt x="0" y="1311072"/>
                  </a:cubicBezTo>
                  <a:lnTo>
                    <a:pt x="0" y="1278359"/>
                  </a:lnTo>
                  <a:cubicBezTo>
                    <a:pt x="0" y="1259385"/>
                    <a:pt x="9806" y="1241720"/>
                    <a:pt x="26803" y="1231906"/>
                  </a:cubicBezTo>
                  <a:close/>
                  <a:moveTo>
                    <a:pt x="823212" y="581796"/>
                  </a:moveTo>
                  <a:cubicBezTo>
                    <a:pt x="835097" y="581888"/>
                    <a:pt x="846153" y="591444"/>
                    <a:pt x="846153" y="604675"/>
                  </a:cubicBezTo>
                  <a:lnTo>
                    <a:pt x="846153" y="642570"/>
                  </a:lnTo>
                  <a:cubicBezTo>
                    <a:pt x="846153" y="657598"/>
                    <a:pt x="838291" y="670666"/>
                    <a:pt x="825187" y="678506"/>
                  </a:cubicBezTo>
                  <a:lnTo>
                    <a:pt x="421600" y="912415"/>
                  </a:lnTo>
                  <a:cubicBezTo>
                    <a:pt x="407186" y="920909"/>
                    <a:pt x="388841" y="910455"/>
                    <a:pt x="388841" y="893467"/>
                  </a:cubicBezTo>
                  <a:lnTo>
                    <a:pt x="388841" y="860798"/>
                  </a:lnTo>
                  <a:cubicBezTo>
                    <a:pt x="388841" y="841850"/>
                    <a:pt x="399324" y="823556"/>
                    <a:pt x="415703" y="814408"/>
                  </a:cubicBezTo>
                  <a:lnTo>
                    <a:pt x="811429" y="585073"/>
                  </a:lnTo>
                  <a:cubicBezTo>
                    <a:pt x="815196" y="582787"/>
                    <a:pt x="819250" y="581766"/>
                    <a:pt x="823212" y="581796"/>
                  </a:cubicBezTo>
                  <a:close/>
                  <a:moveTo>
                    <a:pt x="1134380" y="400324"/>
                  </a:moveTo>
                  <a:cubicBezTo>
                    <a:pt x="1146218" y="400415"/>
                    <a:pt x="1157229" y="409949"/>
                    <a:pt x="1157229" y="423149"/>
                  </a:cubicBezTo>
                  <a:lnTo>
                    <a:pt x="1157229" y="460957"/>
                  </a:lnTo>
                  <a:cubicBezTo>
                    <a:pt x="1157229" y="475949"/>
                    <a:pt x="1149398" y="489638"/>
                    <a:pt x="1136348" y="496809"/>
                  </a:cubicBezTo>
                  <a:lnTo>
                    <a:pt x="905358" y="633047"/>
                  </a:lnTo>
                  <a:cubicBezTo>
                    <a:pt x="891002" y="641521"/>
                    <a:pt x="872732" y="631091"/>
                    <a:pt x="872732" y="614143"/>
                  </a:cubicBezTo>
                  <a:lnTo>
                    <a:pt x="872732" y="581550"/>
                  </a:lnTo>
                  <a:cubicBezTo>
                    <a:pt x="872732" y="562646"/>
                    <a:pt x="882520" y="544394"/>
                    <a:pt x="898833" y="535268"/>
                  </a:cubicBezTo>
                  <a:lnTo>
                    <a:pt x="1122645" y="403593"/>
                  </a:lnTo>
                  <a:cubicBezTo>
                    <a:pt x="1126397" y="401312"/>
                    <a:pt x="1130435" y="400293"/>
                    <a:pt x="1134380" y="400324"/>
                  </a:cubicBezTo>
                  <a:close/>
                  <a:moveTo>
                    <a:pt x="523986" y="360306"/>
                  </a:moveTo>
                  <a:cubicBezTo>
                    <a:pt x="535938" y="360152"/>
                    <a:pt x="546604" y="369843"/>
                    <a:pt x="546604" y="383581"/>
                  </a:cubicBezTo>
                  <a:lnTo>
                    <a:pt x="546604" y="420869"/>
                  </a:lnTo>
                  <a:cubicBezTo>
                    <a:pt x="546604" y="435916"/>
                    <a:pt x="538758" y="449654"/>
                    <a:pt x="525682" y="456850"/>
                  </a:cubicBezTo>
                  <a:lnTo>
                    <a:pt x="32693" y="744692"/>
                  </a:lnTo>
                  <a:cubicBezTo>
                    <a:pt x="18308" y="753851"/>
                    <a:pt x="1" y="742730"/>
                    <a:pt x="1" y="725721"/>
                  </a:cubicBezTo>
                  <a:lnTo>
                    <a:pt x="1" y="693666"/>
                  </a:lnTo>
                  <a:cubicBezTo>
                    <a:pt x="1" y="674040"/>
                    <a:pt x="9808" y="656377"/>
                    <a:pt x="26808" y="646564"/>
                  </a:cubicBezTo>
                  <a:lnTo>
                    <a:pt x="511951" y="363955"/>
                  </a:lnTo>
                  <a:cubicBezTo>
                    <a:pt x="515874" y="361502"/>
                    <a:pt x="520001" y="360357"/>
                    <a:pt x="523986" y="360306"/>
                  </a:cubicBezTo>
                  <a:close/>
                  <a:moveTo>
                    <a:pt x="1140373" y="201610"/>
                  </a:moveTo>
                  <a:cubicBezTo>
                    <a:pt x="1152324" y="201733"/>
                    <a:pt x="1162988" y="211416"/>
                    <a:pt x="1162988" y="225144"/>
                  </a:cubicBezTo>
                  <a:lnTo>
                    <a:pt x="1162988" y="262405"/>
                  </a:lnTo>
                  <a:cubicBezTo>
                    <a:pt x="1162988" y="277440"/>
                    <a:pt x="1155797" y="291168"/>
                    <a:pt x="1142723" y="298358"/>
                  </a:cubicBezTo>
                  <a:lnTo>
                    <a:pt x="32687" y="938333"/>
                  </a:lnTo>
                  <a:cubicBezTo>
                    <a:pt x="18304" y="946831"/>
                    <a:pt x="0" y="936372"/>
                    <a:pt x="0" y="919376"/>
                  </a:cubicBezTo>
                  <a:lnTo>
                    <a:pt x="0" y="886691"/>
                  </a:lnTo>
                  <a:cubicBezTo>
                    <a:pt x="0" y="867733"/>
                    <a:pt x="9806" y="849430"/>
                    <a:pt x="26803" y="840278"/>
                  </a:cubicBezTo>
                  <a:lnTo>
                    <a:pt x="1128341" y="204879"/>
                  </a:lnTo>
                  <a:cubicBezTo>
                    <a:pt x="1132263" y="202591"/>
                    <a:pt x="1136390" y="201569"/>
                    <a:pt x="1140373" y="201610"/>
                  </a:cubicBezTo>
                  <a:close/>
                  <a:moveTo>
                    <a:pt x="1131532" y="1"/>
                  </a:moveTo>
                  <a:cubicBezTo>
                    <a:pt x="1143354" y="124"/>
                    <a:pt x="1154350" y="9826"/>
                    <a:pt x="1154350" y="23582"/>
                  </a:cubicBezTo>
                  <a:lnTo>
                    <a:pt x="1154350" y="60918"/>
                  </a:lnTo>
                  <a:cubicBezTo>
                    <a:pt x="1154350" y="75984"/>
                    <a:pt x="1146531" y="89739"/>
                    <a:pt x="1133497" y="97599"/>
                  </a:cubicBezTo>
                  <a:lnTo>
                    <a:pt x="612176" y="405460"/>
                  </a:lnTo>
                  <a:cubicBezTo>
                    <a:pt x="597188" y="413975"/>
                    <a:pt x="578942" y="403495"/>
                    <a:pt x="578942" y="386464"/>
                  </a:cubicBezTo>
                  <a:lnTo>
                    <a:pt x="578942" y="353713"/>
                  </a:lnTo>
                  <a:cubicBezTo>
                    <a:pt x="578942" y="334717"/>
                    <a:pt x="588717" y="317032"/>
                    <a:pt x="606311" y="307206"/>
                  </a:cubicBezTo>
                  <a:lnTo>
                    <a:pt x="1119813" y="3276"/>
                  </a:lnTo>
                  <a:cubicBezTo>
                    <a:pt x="1123560" y="984"/>
                    <a:pt x="1127592" y="-40"/>
                    <a:pt x="1131532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7" name="Freeform 27">
              <a:extLst>
                <a:ext uri="{FF2B5EF4-FFF2-40B4-BE49-F238E27FC236}">
                  <a16:creationId xmlns:a16="http://schemas.microsoft.com/office/drawing/2014/main" id="{EF690EBD-3319-0D40-BDBA-5B86F50B4F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47228" y="2580752"/>
              <a:ext cx="63367" cy="241945"/>
            </a:xfrm>
            <a:custGeom>
              <a:avLst/>
              <a:gdLst>
                <a:gd name="T0" fmla="*/ 95 w 96"/>
                <a:gd name="T1" fmla="*/ 371 h 372"/>
                <a:gd name="T2" fmla="*/ 0 w 96"/>
                <a:gd name="T3" fmla="*/ 312 h 372"/>
                <a:gd name="T4" fmla="*/ 0 w 96"/>
                <a:gd name="T5" fmla="*/ 0 h 372"/>
                <a:gd name="T6" fmla="*/ 95 w 96"/>
                <a:gd name="T7" fmla="*/ 58 h 372"/>
                <a:gd name="T8" fmla="*/ 95 w 96"/>
                <a:gd name="T9" fmla="*/ 371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372">
                  <a:moveTo>
                    <a:pt x="95" y="371"/>
                  </a:moveTo>
                  <a:lnTo>
                    <a:pt x="0" y="312"/>
                  </a:lnTo>
                  <a:lnTo>
                    <a:pt x="0" y="0"/>
                  </a:lnTo>
                  <a:lnTo>
                    <a:pt x="95" y="58"/>
                  </a:lnTo>
                  <a:lnTo>
                    <a:pt x="95" y="371"/>
                  </a:lnTo>
                </a:path>
              </a:pathLst>
            </a:custGeom>
            <a:solidFill>
              <a:srgbClr val="2D999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8" name="Freeform 28">
              <a:extLst>
                <a:ext uri="{FF2B5EF4-FFF2-40B4-BE49-F238E27FC236}">
                  <a16:creationId xmlns:a16="http://schemas.microsoft.com/office/drawing/2014/main" id="{E4347A37-A020-6949-8526-C723B5C4C6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75047" y="987946"/>
              <a:ext cx="167058" cy="241945"/>
            </a:xfrm>
            <a:custGeom>
              <a:avLst/>
              <a:gdLst>
                <a:gd name="T0" fmla="*/ 253 w 254"/>
                <a:gd name="T1" fmla="*/ 370 h 371"/>
                <a:gd name="T2" fmla="*/ 0 w 254"/>
                <a:gd name="T3" fmla="*/ 219 h 371"/>
                <a:gd name="T4" fmla="*/ 158 w 254"/>
                <a:gd name="T5" fmla="*/ 0 h 371"/>
                <a:gd name="T6" fmla="*/ 253 w 254"/>
                <a:gd name="T7" fmla="*/ 58 h 371"/>
                <a:gd name="T8" fmla="*/ 253 w 254"/>
                <a:gd name="T9" fmla="*/ 370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4" h="371">
                  <a:moveTo>
                    <a:pt x="253" y="370"/>
                  </a:moveTo>
                  <a:lnTo>
                    <a:pt x="0" y="219"/>
                  </a:lnTo>
                  <a:lnTo>
                    <a:pt x="158" y="0"/>
                  </a:lnTo>
                  <a:lnTo>
                    <a:pt x="253" y="58"/>
                  </a:lnTo>
                  <a:lnTo>
                    <a:pt x="253" y="370"/>
                  </a:lnTo>
                </a:path>
              </a:pathLst>
            </a:custGeom>
            <a:solidFill>
              <a:srgbClr val="2D999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69" name="Freeform 29">
              <a:extLst>
                <a:ext uri="{FF2B5EF4-FFF2-40B4-BE49-F238E27FC236}">
                  <a16:creationId xmlns:a16="http://schemas.microsoft.com/office/drawing/2014/main" id="{3693EE92-CDD7-EA45-8A81-F819520952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8424" y="967783"/>
              <a:ext cx="1486236" cy="1837633"/>
            </a:xfrm>
            <a:custGeom>
              <a:avLst/>
              <a:gdLst>
                <a:gd name="T0" fmla="*/ 1999 w 2275"/>
                <a:gd name="T1" fmla="*/ 1499 h 2815"/>
                <a:gd name="T2" fmla="*/ 119 w 2275"/>
                <a:gd name="T3" fmla="*/ 2783 h 2815"/>
                <a:gd name="T4" fmla="*/ 119 w 2275"/>
                <a:gd name="T5" fmla="*/ 2783 h 2815"/>
                <a:gd name="T6" fmla="*/ 0 w 2275"/>
                <a:gd name="T7" fmla="*/ 2714 h 2815"/>
                <a:gd name="T8" fmla="*/ 0 w 2275"/>
                <a:gd name="T9" fmla="*/ 1428 h 2815"/>
                <a:gd name="T10" fmla="*/ 0 w 2275"/>
                <a:gd name="T11" fmla="*/ 1428 h 2815"/>
                <a:gd name="T12" fmla="*/ 118 w 2275"/>
                <a:gd name="T13" fmla="*/ 1222 h 2815"/>
                <a:gd name="T14" fmla="*/ 2155 w 2275"/>
                <a:gd name="T15" fmla="*/ 31 h 2815"/>
                <a:gd name="T16" fmla="*/ 2155 w 2275"/>
                <a:gd name="T17" fmla="*/ 31 h 2815"/>
                <a:gd name="T18" fmla="*/ 2274 w 2275"/>
                <a:gd name="T19" fmla="*/ 99 h 2815"/>
                <a:gd name="T20" fmla="*/ 2116 w 2275"/>
                <a:gd name="T21" fmla="*/ 1293 h 2815"/>
                <a:gd name="T22" fmla="*/ 2116 w 2275"/>
                <a:gd name="T23" fmla="*/ 1293 h 2815"/>
                <a:gd name="T24" fmla="*/ 1999 w 2275"/>
                <a:gd name="T25" fmla="*/ 1499 h 2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75" h="2815">
                  <a:moveTo>
                    <a:pt x="1999" y="1499"/>
                  </a:moveTo>
                  <a:lnTo>
                    <a:pt x="119" y="2783"/>
                  </a:lnTo>
                  <a:lnTo>
                    <a:pt x="119" y="2783"/>
                  </a:lnTo>
                  <a:cubicBezTo>
                    <a:pt x="66" y="2814"/>
                    <a:pt x="0" y="2776"/>
                    <a:pt x="0" y="2714"/>
                  </a:cubicBezTo>
                  <a:lnTo>
                    <a:pt x="0" y="1428"/>
                  </a:lnTo>
                  <a:lnTo>
                    <a:pt x="0" y="1428"/>
                  </a:lnTo>
                  <a:cubicBezTo>
                    <a:pt x="0" y="1343"/>
                    <a:pt x="44" y="1265"/>
                    <a:pt x="118" y="1222"/>
                  </a:cubicBezTo>
                  <a:lnTo>
                    <a:pt x="2155" y="31"/>
                  </a:lnTo>
                  <a:lnTo>
                    <a:pt x="2155" y="31"/>
                  </a:lnTo>
                  <a:cubicBezTo>
                    <a:pt x="2208" y="0"/>
                    <a:pt x="2274" y="38"/>
                    <a:pt x="2274" y="99"/>
                  </a:cubicBezTo>
                  <a:lnTo>
                    <a:pt x="2116" y="1293"/>
                  </a:lnTo>
                  <a:lnTo>
                    <a:pt x="2116" y="1293"/>
                  </a:lnTo>
                  <a:cubicBezTo>
                    <a:pt x="2116" y="1378"/>
                    <a:pt x="2072" y="1456"/>
                    <a:pt x="1999" y="1499"/>
                  </a:cubicBezTo>
                </a:path>
              </a:pathLst>
            </a:custGeom>
            <a:solidFill>
              <a:schemeClr val="accent6">
                <a:lumMod val="2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70" name="Freeform 30">
              <a:extLst>
                <a:ext uri="{FF2B5EF4-FFF2-40B4-BE49-F238E27FC236}">
                  <a16:creationId xmlns:a16="http://schemas.microsoft.com/office/drawing/2014/main" id="{12C08971-452C-654B-877E-4A183BFDF4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81791" y="1005228"/>
              <a:ext cx="1486236" cy="1837633"/>
            </a:xfrm>
            <a:custGeom>
              <a:avLst/>
              <a:gdLst>
                <a:gd name="T0" fmla="*/ 2156 w 2276"/>
                <a:gd name="T1" fmla="*/ 1591 h 2814"/>
                <a:gd name="T2" fmla="*/ 119 w 2276"/>
                <a:gd name="T3" fmla="*/ 2782 h 2814"/>
                <a:gd name="T4" fmla="*/ 119 w 2276"/>
                <a:gd name="T5" fmla="*/ 2782 h 2814"/>
                <a:gd name="T6" fmla="*/ 0 w 2276"/>
                <a:gd name="T7" fmla="*/ 2714 h 2814"/>
                <a:gd name="T8" fmla="*/ 0 w 2276"/>
                <a:gd name="T9" fmla="*/ 1428 h 2814"/>
                <a:gd name="T10" fmla="*/ 0 w 2276"/>
                <a:gd name="T11" fmla="*/ 1428 h 2814"/>
                <a:gd name="T12" fmla="*/ 118 w 2276"/>
                <a:gd name="T13" fmla="*/ 1222 h 2814"/>
                <a:gd name="T14" fmla="*/ 2155 w 2276"/>
                <a:gd name="T15" fmla="*/ 31 h 2814"/>
                <a:gd name="T16" fmla="*/ 2155 w 2276"/>
                <a:gd name="T17" fmla="*/ 31 h 2814"/>
                <a:gd name="T18" fmla="*/ 2275 w 2276"/>
                <a:gd name="T19" fmla="*/ 99 h 2814"/>
                <a:gd name="T20" fmla="*/ 2275 w 2276"/>
                <a:gd name="T21" fmla="*/ 1385 h 2814"/>
                <a:gd name="T22" fmla="*/ 2275 w 2276"/>
                <a:gd name="T23" fmla="*/ 1385 h 2814"/>
                <a:gd name="T24" fmla="*/ 2156 w 2276"/>
                <a:gd name="T25" fmla="*/ 1591 h 28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76" h="2814">
                  <a:moveTo>
                    <a:pt x="2156" y="1591"/>
                  </a:moveTo>
                  <a:lnTo>
                    <a:pt x="119" y="2782"/>
                  </a:lnTo>
                  <a:lnTo>
                    <a:pt x="119" y="2782"/>
                  </a:lnTo>
                  <a:cubicBezTo>
                    <a:pt x="67" y="2813"/>
                    <a:pt x="0" y="2775"/>
                    <a:pt x="0" y="2714"/>
                  </a:cubicBezTo>
                  <a:lnTo>
                    <a:pt x="0" y="1428"/>
                  </a:lnTo>
                  <a:lnTo>
                    <a:pt x="0" y="1428"/>
                  </a:lnTo>
                  <a:cubicBezTo>
                    <a:pt x="0" y="1343"/>
                    <a:pt x="45" y="1265"/>
                    <a:pt x="118" y="1222"/>
                  </a:cubicBezTo>
                  <a:lnTo>
                    <a:pt x="2155" y="31"/>
                  </a:lnTo>
                  <a:lnTo>
                    <a:pt x="2155" y="31"/>
                  </a:lnTo>
                  <a:cubicBezTo>
                    <a:pt x="2208" y="0"/>
                    <a:pt x="2275" y="38"/>
                    <a:pt x="2275" y="99"/>
                  </a:cubicBezTo>
                  <a:lnTo>
                    <a:pt x="2275" y="1385"/>
                  </a:lnTo>
                  <a:lnTo>
                    <a:pt x="2275" y="1385"/>
                  </a:lnTo>
                  <a:cubicBezTo>
                    <a:pt x="2275" y="1470"/>
                    <a:pt x="2229" y="1548"/>
                    <a:pt x="2156" y="1591"/>
                  </a:cubicBezTo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71" name="Freeform 31">
              <a:extLst>
                <a:ext uri="{FF2B5EF4-FFF2-40B4-BE49-F238E27FC236}">
                  <a16:creationId xmlns:a16="http://schemas.microsoft.com/office/drawing/2014/main" id="{196C558F-AA89-6549-B292-7D05CF5FF9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60370" y="1394067"/>
              <a:ext cx="1163642" cy="751760"/>
            </a:xfrm>
            <a:custGeom>
              <a:avLst/>
              <a:gdLst>
                <a:gd name="T0" fmla="*/ 1748 w 1781"/>
                <a:gd name="T1" fmla="*/ 157 h 1149"/>
                <a:gd name="T2" fmla="*/ 50 w 1781"/>
                <a:gd name="T3" fmla="*/ 1136 h 1149"/>
                <a:gd name="T4" fmla="*/ 50 w 1781"/>
                <a:gd name="T5" fmla="*/ 1136 h 1149"/>
                <a:gd name="T6" fmla="*/ 0 w 1781"/>
                <a:gd name="T7" fmla="*/ 1106 h 1149"/>
                <a:gd name="T8" fmla="*/ 0 w 1781"/>
                <a:gd name="T9" fmla="*/ 1057 h 1149"/>
                <a:gd name="T10" fmla="*/ 0 w 1781"/>
                <a:gd name="T11" fmla="*/ 1057 h 1149"/>
                <a:gd name="T12" fmla="*/ 41 w 1781"/>
                <a:gd name="T13" fmla="*/ 985 h 1149"/>
                <a:gd name="T14" fmla="*/ 1727 w 1781"/>
                <a:gd name="T15" fmla="*/ 14 h 1149"/>
                <a:gd name="T16" fmla="*/ 1727 w 1781"/>
                <a:gd name="T17" fmla="*/ 14 h 1149"/>
                <a:gd name="T18" fmla="*/ 1780 w 1781"/>
                <a:gd name="T19" fmla="*/ 44 h 1149"/>
                <a:gd name="T20" fmla="*/ 1780 w 1781"/>
                <a:gd name="T21" fmla="*/ 102 h 1149"/>
                <a:gd name="T22" fmla="*/ 1780 w 1781"/>
                <a:gd name="T23" fmla="*/ 102 h 1149"/>
                <a:gd name="T24" fmla="*/ 1748 w 1781"/>
                <a:gd name="T25" fmla="*/ 157 h 1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81" h="1149">
                  <a:moveTo>
                    <a:pt x="1748" y="157"/>
                  </a:moveTo>
                  <a:lnTo>
                    <a:pt x="50" y="1136"/>
                  </a:lnTo>
                  <a:lnTo>
                    <a:pt x="50" y="1136"/>
                  </a:lnTo>
                  <a:cubicBezTo>
                    <a:pt x="28" y="1148"/>
                    <a:pt x="0" y="1132"/>
                    <a:pt x="0" y="1106"/>
                  </a:cubicBezTo>
                  <a:lnTo>
                    <a:pt x="0" y="1057"/>
                  </a:lnTo>
                  <a:lnTo>
                    <a:pt x="0" y="1057"/>
                  </a:lnTo>
                  <a:cubicBezTo>
                    <a:pt x="0" y="1027"/>
                    <a:pt x="16" y="1000"/>
                    <a:pt x="41" y="985"/>
                  </a:cubicBezTo>
                  <a:lnTo>
                    <a:pt x="1727" y="14"/>
                  </a:lnTo>
                  <a:lnTo>
                    <a:pt x="1727" y="14"/>
                  </a:lnTo>
                  <a:cubicBezTo>
                    <a:pt x="1750" y="0"/>
                    <a:pt x="1780" y="16"/>
                    <a:pt x="1780" y="44"/>
                  </a:cubicBezTo>
                  <a:lnTo>
                    <a:pt x="1780" y="102"/>
                  </a:lnTo>
                  <a:lnTo>
                    <a:pt x="1780" y="102"/>
                  </a:lnTo>
                  <a:cubicBezTo>
                    <a:pt x="1780" y="124"/>
                    <a:pt x="1768" y="145"/>
                    <a:pt x="1748" y="157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72" name="Freeform 32">
              <a:extLst>
                <a:ext uri="{FF2B5EF4-FFF2-40B4-BE49-F238E27FC236}">
                  <a16:creationId xmlns:a16="http://schemas.microsoft.com/office/drawing/2014/main" id="{328D6BE3-3EAD-BF40-9685-13AE85F69A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60370" y="1592810"/>
              <a:ext cx="1163642" cy="751758"/>
            </a:xfrm>
            <a:custGeom>
              <a:avLst/>
              <a:gdLst>
                <a:gd name="T0" fmla="*/ 1748 w 1781"/>
                <a:gd name="T1" fmla="*/ 156 h 1149"/>
                <a:gd name="T2" fmla="*/ 50 w 1781"/>
                <a:gd name="T3" fmla="*/ 1135 h 1149"/>
                <a:gd name="T4" fmla="*/ 50 w 1781"/>
                <a:gd name="T5" fmla="*/ 1135 h 1149"/>
                <a:gd name="T6" fmla="*/ 0 w 1781"/>
                <a:gd name="T7" fmla="*/ 1106 h 1149"/>
                <a:gd name="T8" fmla="*/ 0 w 1781"/>
                <a:gd name="T9" fmla="*/ 1056 h 1149"/>
                <a:gd name="T10" fmla="*/ 0 w 1781"/>
                <a:gd name="T11" fmla="*/ 1056 h 1149"/>
                <a:gd name="T12" fmla="*/ 41 w 1781"/>
                <a:gd name="T13" fmla="*/ 985 h 1149"/>
                <a:gd name="T14" fmla="*/ 1727 w 1781"/>
                <a:gd name="T15" fmla="*/ 13 h 1149"/>
                <a:gd name="T16" fmla="*/ 1727 w 1781"/>
                <a:gd name="T17" fmla="*/ 13 h 1149"/>
                <a:gd name="T18" fmla="*/ 1780 w 1781"/>
                <a:gd name="T19" fmla="*/ 44 h 1149"/>
                <a:gd name="T20" fmla="*/ 1780 w 1781"/>
                <a:gd name="T21" fmla="*/ 101 h 1149"/>
                <a:gd name="T22" fmla="*/ 1780 w 1781"/>
                <a:gd name="T23" fmla="*/ 101 h 1149"/>
                <a:gd name="T24" fmla="*/ 1748 w 1781"/>
                <a:gd name="T25" fmla="*/ 156 h 1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81" h="1149">
                  <a:moveTo>
                    <a:pt x="1748" y="156"/>
                  </a:moveTo>
                  <a:lnTo>
                    <a:pt x="50" y="1135"/>
                  </a:lnTo>
                  <a:lnTo>
                    <a:pt x="50" y="1135"/>
                  </a:lnTo>
                  <a:cubicBezTo>
                    <a:pt x="28" y="1148"/>
                    <a:pt x="0" y="1132"/>
                    <a:pt x="0" y="1106"/>
                  </a:cubicBezTo>
                  <a:lnTo>
                    <a:pt x="0" y="1056"/>
                  </a:lnTo>
                  <a:lnTo>
                    <a:pt x="0" y="1056"/>
                  </a:lnTo>
                  <a:cubicBezTo>
                    <a:pt x="0" y="1027"/>
                    <a:pt x="16" y="1000"/>
                    <a:pt x="41" y="985"/>
                  </a:cubicBezTo>
                  <a:lnTo>
                    <a:pt x="1727" y="13"/>
                  </a:lnTo>
                  <a:lnTo>
                    <a:pt x="1727" y="13"/>
                  </a:lnTo>
                  <a:cubicBezTo>
                    <a:pt x="1750" y="0"/>
                    <a:pt x="1780" y="17"/>
                    <a:pt x="1780" y="44"/>
                  </a:cubicBezTo>
                  <a:lnTo>
                    <a:pt x="1780" y="101"/>
                  </a:lnTo>
                  <a:lnTo>
                    <a:pt x="1780" y="101"/>
                  </a:lnTo>
                  <a:cubicBezTo>
                    <a:pt x="1780" y="124"/>
                    <a:pt x="1768" y="145"/>
                    <a:pt x="1748" y="156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73" name="Freeform 33">
              <a:extLst>
                <a:ext uri="{FF2B5EF4-FFF2-40B4-BE49-F238E27FC236}">
                  <a16:creationId xmlns:a16="http://schemas.microsoft.com/office/drawing/2014/main" id="{A369FEBE-54A5-F547-99C9-258CA9733C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60370" y="1788671"/>
              <a:ext cx="1163642" cy="751758"/>
            </a:xfrm>
            <a:custGeom>
              <a:avLst/>
              <a:gdLst>
                <a:gd name="T0" fmla="*/ 1748 w 1781"/>
                <a:gd name="T1" fmla="*/ 158 h 1150"/>
                <a:gd name="T2" fmla="*/ 50 w 1781"/>
                <a:gd name="T3" fmla="*/ 1136 h 1150"/>
                <a:gd name="T4" fmla="*/ 50 w 1781"/>
                <a:gd name="T5" fmla="*/ 1136 h 1150"/>
                <a:gd name="T6" fmla="*/ 0 w 1781"/>
                <a:gd name="T7" fmla="*/ 1107 h 1150"/>
                <a:gd name="T8" fmla="*/ 0 w 1781"/>
                <a:gd name="T9" fmla="*/ 1057 h 1150"/>
                <a:gd name="T10" fmla="*/ 0 w 1781"/>
                <a:gd name="T11" fmla="*/ 1057 h 1150"/>
                <a:gd name="T12" fmla="*/ 41 w 1781"/>
                <a:gd name="T13" fmla="*/ 986 h 1150"/>
                <a:gd name="T14" fmla="*/ 1727 w 1781"/>
                <a:gd name="T15" fmla="*/ 14 h 1150"/>
                <a:gd name="T16" fmla="*/ 1727 w 1781"/>
                <a:gd name="T17" fmla="*/ 14 h 1150"/>
                <a:gd name="T18" fmla="*/ 1780 w 1781"/>
                <a:gd name="T19" fmla="*/ 45 h 1150"/>
                <a:gd name="T20" fmla="*/ 1780 w 1781"/>
                <a:gd name="T21" fmla="*/ 102 h 1150"/>
                <a:gd name="T22" fmla="*/ 1780 w 1781"/>
                <a:gd name="T23" fmla="*/ 102 h 1150"/>
                <a:gd name="T24" fmla="*/ 1748 w 1781"/>
                <a:gd name="T25" fmla="*/ 158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81" h="1150">
                  <a:moveTo>
                    <a:pt x="1748" y="158"/>
                  </a:moveTo>
                  <a:lnTo>
                    <a:pt x="50" y="1136"/>
                  </a:lnTo>
                  <a:lnTo>
                    <a:pt x="50" y="1136"/>
                  </a:lnTo>
                  <a:cubicBezTo>
                    <a:pt x="28" y="1149"/>
                    <a:pt x="0" y="1133"/>
                    <a:pt x="0" y="1107"/>
                  </a:cubicBezTo>
                  <a:lnTo>
                    <a:pt x="0" y="1057"/>
                  </a:lnTo>
                  <a:lnTo>
                    <a:pt x="0" y="1057"/>
                  </a:lnTo>
                  <a:cubicBezTo>
                    <a:pt x="0" y="1028"/>
                    <a:pt x="16" y="1000"/>
                    <a:pt x="41" y="986"/>
                  </a:cubicBezTo>
                  <a:lnTo>
                    <a:pt x="1727" y="14"/>
                  </a:lnTo>
                  <a:lnTo>
                    <a:pt x="1727" y="14"/>
                  </a:lnTo>
                  <a:cubicBezTo>
                    <a:pt x="1750" y="0"/>
                    <a:pt x="1780" y="17"/>
                    <a:pt x="1780" y="45"/>
                  </a:cubicBezTo>
                  <a:lnTo>
                    <a:pt x="1780" y="102"/>
                  </a:lnTo>
                  <a:lnTo>
                    <a:pt x="1780" y="102"/>
                  </a:lnTo>
                  <a:cubicBezTo>
                    <a:pt x="1780" y="125"/>
                    <a:pt x="1768" y="146"/>
                    <a:pt x="1748" y="158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74" name="Freeform 23">
              <a:extLst>
                <a:ext uri="{FF2B5EF4-FFF2-40B4-BE49-F238E27FC236}">
                  <a16:creationId xmlns:a16="http://schemas.microsoft.com/office/drawing/2014/main" id="{4D0FC3BE-A2E4-8746-BE61-E39A42BDBB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14992" y="5518661"/>
              <a:ext cx="8818832" cy="7087772"/>
            </a:xfrm>
            <a:custGeom>
              <a:avLst/>
              <a:gdLst>
                <a:gd name="connsiteX0" fmla="*/ 8818832 w 8818832"/>
                <a:gd name="connsiteY0" fmla="*/ 0 h 7087772"/>
                <a:gd name="connsiteX1" fmla="*/ 8818832 w 8818832"/>
                <a:gd name="connsiteY1" fmla="*/ 305699 h 7087772"/>
                <a:gd name="connsiteX2" fmla="*/ 8693430 w 8818832"/>
                <a:gd name="connsiteY2" fmla="*/ 522561 h 7087772"/>
                <a:gd name="connsiteX3" fmla="*/ 3478156 w 8818832"/>
                <a:gd name="connsiteY3" fmla="*/ 3634413 h 7087772"/>
                <a:gd name="connsiteX4" fmla="*/ 3154855 w 8818832"/>
                <a:gd name="connsiteY4" fmla="*/ 3630494 h 7087772"/>
                <a:gd name="connsiteX5" fmla="*/ 3014646 w 8818832"/>
                <a:gd name="connsiteY5" fmla="*/ 3551234 h 7087772"/>
                <a:gd name="connsiteX6" fmla="*/ 2271089 w 8818832"/>
                <a:gd name="connsiteY6" fmla="*/ 7087772 h 7087772"/>
                <a:gd name="connsiteX7" fmla="*/ 2137185 w 8818832"/>
                <a:gd name="connsiteY7" fmla="*/ 7007459 h 7087772"/>
                <a:gd name="connsiteX8" fmla="*/ 2869230 w 8818832"/>
                <a:gd name="connsiteY8" fmla="*/ 3469030 h 7087772"/>
                <a:gd name="connsiteX9" fmla="*/ 868604 w 8818832"/>
                <a:gd name="connsiteY9" fmla="*/ 2338080 h 7087772"/>
                <a:gd name="connsiteX10" fmla="*/ 134557 w 8818832"/>
                <a:gd name="connsiteY10" fmla="*/ 5831960 h 7087772"/>
                <a:gd name="connsiteX11" fmla="*/ 0 w 8818832"/>
                <a:gd name="connsiteY11" fmla="*/ 5751647 h 7087772"/>
                <a:gd name="connsiteX12" fmla="*/ 723217 w 8818832"/>
                <a:gd name="connsiteY12" fmla="*/ 2255893 h 7087772"/>
                <a:gd name="connsiteX13" fmla="*/ 622002 w 8818832"/>
                <a:gd name="connsiteY13" fmla="*/ 2198676 h 7087772"/>
                <a:gd name="connsiteX14" fmla="*/ 501172 w 8818832"/>
                <a:gd name="connsiteY14" fmla="*/ 1985080 h 7087772"/>
                <a:gd name="connsiteX15" fmla="*/ 501172 w 8818832"/>
                <a:gd name="connsiteY15" fmla="*/ 1736863 h 7087772"/>
                <a:gd name="connsiteX16" fmla="*/ 796594 w 8818832"/>
                <a:gd name="connsiteY16" fmla="*/ 1901217 h 7087772"/>
                <a:gd name="connsiteX17" fmla="*/ 868741 w 8818832"/>
                <a:gd name="connsiteY17" fmla="*/ 1552484 h 7087772"/>
                <a:gd name="connsiteX18" fmla="*/ 1018974 w 8818832"/>
                <a:gd name="connsiteY18" fmla="*/ 1622351 h 7087772"/>
                <a:gd name="connsiteX19" fmla="*/ 943245 w 8818832"/>
                <a:gd name="connsiteY19" fmla="*/ 1982804 h 7087772"/>
                <a:gd name="connsiteX20" fmla="*/ 2946175 w 8818832"/>
                <a:gd name="connsiteY20" fmla="*/ 3097104 h 7087772"/>
                <a:gd name="connsiteX21" fmla="*/ 3005925 w 8818832"/>
                <a:gd name="connsiteY21" fmla="*/ 2808296 h 7087772"/>
                <a:gd name="connsiteX22" fmla="*/ 3156159 w 8818832"/>
                <a:gd name="connsiteY22" fmla="*/ 2878162 h 7087772"/>
                <a:gd name="connsiteX23" fmla="*/ 3092958 w 8818832"/>
                <a:gd name="connsiteY23" fmla="*/ 3178764 h 7087772"/>
                <a:gd name="connsiteX24" fmla="*/ 3315526 w 8818832"/>
                <a:gd name="connsiteY24" fmla="*/ 3302587 h 7087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8818832" h="7087772">
                  <a:moveTo>
                    <a:pt x="8818832" y="0"/>
                  </a:moveTo>
                  <a:lnTo>
                    <a:pt x="8818832" y="305699"/>
                  </a:lnTo>
                  <a:cubicBezTo>
                    <a:pt x="8818832" y="395840"/>
                    <a:pt x="8770500" y="478144"/>
                    <a:pt x="8693430" y="522561"/>
                  </a:cubicBezTo>
                  <a:lnTo>
                    <a:pt x="3478156" y="3634413"/>
                  </a:lnTo>
                  <a:cubicBezTo>
                    <a:pt x="3377573" y="3691895"/>
                    <a:pt x="3254131" y="3689935"/>
                    <a:pt x="3154855" y="3630494"/>
                  </a:cubicBezTo>
                  <a:lnTo>
                    <a:pt x="3014646" y="3551234"/>
                  </a:lnTo>
                  <a:lnTo>
                    <a:pt x="2271089" y="7087772"/>
                  </a:lnTo>
                  <a:lnTo>
                    <a:pt x="2137185" y="7007459"/>
                  </a:lnTo>
                  <a:lnTo>
                    <a:pt x="2869230" y="3469030"/>
                  </a:lnTo>
                  <a:lnTo>
                    <a:pt x="868604" y="2338080"/>
                  </a:lnTo>
                  <a:lnTo>
                    <a:pt x="134557" y="5831960"/>
                  </a:lnTo>
                  <a:lnTo>
                    <a:pt x="0" y="5751647"/>
                  </a:lnTo>
                  <a:lnTo>
                    <a:pt x="723217" y="2255893"/>
                  </a:lnTo>
                  <a:lnTo>
                    <a:pt x="622002" y="2198676"/>
                  </a:lnTo>
                  <a:cubicBezTo>
                    <a:pt x="546892" y="2154259"/>
                    <a:pt x="501172" y="2072609"/>
                    <a:pt x="501172" y="1985080"/>
                  </a:cubicBezTo>
                  <a:lnTo>
                    <a:pt x="501172" y="1736863"/>
                  </a:lnTo>
                  <a:lnTo>
                    <a:pt x="796594" y="1901217"/>
                  </a:lnTo>
                  <a:lnTo>
                    <a:pt x="868741" y="1552484"/>
                  </a:lnTo>
                  <a:lnTo>
                    <a:pt x="1018974" y="1622351"/>
                  </a:lnTo>
                  <a:lnTo>
                    <a:pt x="943245" y="1982804"/>
                  </a:lnTo>
                  <a:lnTo>
                    <a:pt x="2946175" y="3097104"/>
                  </a:lnTo>
                  <a:lnTo>
                    <a:pt x="3005925" y="2808296"/>
                  </a:lnTo>
                  <a:lnTo>
                    <a:pt x="3156159" y="2878162"/>
                  </a:lnTo>
                  <a:lnTo>
                    <a:pt x="3092958" y="3178764"/>
                  </a:lnTo>
                  <a:lnTo>
                    <a:pt x="3315526" y="3302587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75" name="Freeform 35">
              <a:extLst>
                <a:ext uri="{FF2B5EF4-FFF2-40B4-BE49-F238E27FC236}">
                  <a16:creationId xmlns:a16="http://schemas.microsoft.com/office/drawing/2014/main" id="{6D528976-BFDF-4C4B-93FD-1349EE1730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96467" y="5596429"/>
              <a:ext cx="5440892" cy="3568694"/>
            </a:xfrm>
            <a:custGeom>
              <a:avLst/>
              <a:gdLst>
                <a:gd name="T0" fmla="*/ 194 w 8328"/>
                <a:gd name="T1" fmla="*/ 4972 h 5464"/>
                <a:gd name="T2" fmla="*/ 8327 w 8328"/>
                <a:gd name="T3" fmla="*/ 0 h 5464"/>
                <a:gd name="T4" fmla="*/ 8327 w 8328"/>
                <a:gd name="T5" fmla="*/ 334 h 5464"/>
                <a:gd name="T6" fmla="*/ 8327 w 8328"/>
                <a:gd name="T7" fmla="*/ 334 h 5464"/>
                <a:gd name="T8" fmla="*/ 8123 w 8328"/>
                <a:gd name="T9" fmla="*/ 686 h 5464"/>
                <a:gd name="T10" fmla="*/ 217 w 8328"/>
                <a:gd name="T11" fmla="*/ 5404 h 5464"/>
                <a:gd name="T12" fmla="*/ 217 w 8328"/>
                <a:gd name="T13" fmla="*/ 5404 h 5464"/>
                <a:gd name="T14" fmla="*/ 215 w 8328"/>
                <a:gd name="T15" fmla="*/ 5406 h 5464"/>
                <a:gd name="T16" fmla="*/ 215 w 8328"/>
                <a:gd name="T17" fmla="*/ 5406 h 5464"/>
                <a:gd name="T18" fmla="*/ 0 w 8328"/>
                <a:gd name="T19" fmla="*/ 5285 h 5464"/>
                <a:gd name="T20" fmla="*/ 0 w 8328"/>
                <a:gd name="T21" fmla="*/ 5148 h 5464"/>
                <a:gd name="T22" fmla="*/ 0 w 8328"/>
                <a:gd name="T23" fmla="*/ 5148 h 5464"/>
                <a:gd name="T24" fmla="*/ 184 w 8328"/>
                <a:gd name="T25" fmla="*/ 4977 h 5464"/>
                <a:gd name="T26" fmla="*/ 194 w 8328"/>
                <a:gd name="T27" fmla="*/ 4972 h 5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328" h="5464">
                  <a:moveTo>
                    <a:pt x="194" y="4972"/>
                  </a:moveTo>
                  <a:lnTo>
                    <a:pt x="8327" y="0"/>
                  </a:lnTo>
                  <a:lnTo>
                    <a:pt x="8327" y="334"/>
                  </a:lnTo>
                  <a:lnTo>
                    <a:pt x="8327" y="334"/>
                  </a:lnTo>
                  <a:cubicBezTo>
                    <a:pt x="8327" y="479"/>
                    <a:pt x="8249" y="614"/>
                    <a:pt x="8123" y="686"/>
                  </a:cubicBezTo>
                  <a:lnTo>
                    <a:pt x="217" y="5404"/>
                  </a:lnTo>
                  <a:lnTo>
                    <a:pt x="217" y="5404"/>
                  </a:lnTo>
                  <a:cubicBezTo>
                    <a:pt x="217" y="5405"/>
                    <a:pt x="216" y="5405"/>
                    <a:pt x="215" y="5406"/>
                  </a:cubicBezTo>
                  <a:lnTo>
                    <a:pt x="215" y="5406"/>
                  </a:lnTo>
                  <a:cubicBezTo>
                    <a:pt x="121" y="5463"/>
                    <a:pt x="0" y="5395"/>
                    <a:pt x="0" y="5285"/>
                  </a:cubicBezTo>
                  <a:lnTo>
                    <a:pt x="0" y="5148"/>
                  </a:lnTo>
                  <a:lnTo>
                    <a:pt x="0" y="5148"/>
                  </a:lnTo>
                  <a:cubicBezTo>
                    <a:pt x="0" y="5017"/>
                    <a:pt x="71" y="5042"/>
                    <a:pt x="184" y="4977"/>
                  </a:cubicBezTo>
                  <a:lnTo>
                    <a:pt x="194" y="4972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76" name="Freeform 36">
              <a:extLst>
                <a:ext uri="{FF2B5EF4-FFF2-40B4-BE49-F238E27FC236}">
                  <a16:creationId xmlns:a16="http://schemas.microsoft.com/office/drawing/2014/main" id="{1DE2173E-F077-EB40-9AC7-27B3C0AD6D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67202" y="5337203"/>
              <a:ext cx="8505532" cy="3554293"/>
            </a:xfrm>
            <a:custGeom>
              <a:avLst/>
              <a:gdLst>
                <a:gd name="T0" fmla="*/ 4868 w 13020"/>
                <a:gd name="T1" fmla="*/ 4875 h 5440"/>
                <a:gd name="T2" fmla="*/ 13019 w 13020"/>
                <a:gd name="T3" fmla="*/ 0 h 5440"/>
                <a:gd name="T4" fmla="*/ 13019 w 13020"/>
                <a:gd name="T5" fmla="*/ 273 h 5440"/>
                <a:gd name="T6" fmla="*/ 13019 w 13020"/>
                <a:gd name="T7" fmla="*/ 273 h 5440"/>
                <a:gd name="T8" fmla="*/ 12921 w 13020"/>
                <a:gd name="T9" fmla="*/ 441 h 5440"/>
                <a:gd name="T10" fmla="*/ 4679 w 13020"/>
                <a:gd name="T11" fmla="*/ 5372 h 5440"/>
                <a:gd name="T12" fmla="*/ 4679 w 13020"/>
                <a:gd name="T13" fmla="*/ 5372 h 5440"/>
                <a:gd name="T14" fmla="*/ 4301 w 13020"/>
                <a:gd name="T15" fmla="*/ 5366 h 5440"/>
                <a:gd name="T16" fmla="*/ 78 w 13020"/>
                <a:gd name="T17" fmla="*/ 3014 h 5440"/>
                <a:gd name="T18" fmla="*/ 78 w 13020"/>
                <a:gd name="T19" fmla="*/ 3014 h 5440"/>
                <a:gd name="T20" fmla="*/ 3 w 13020"/>
                <a:gd name="T21" fmla="*/ 2882 h 5440"/>
                <a:gd name="T22" fmla="*/ 2 w 13020"/>
                <a:gd name="T23" fmla="*/ 2763 h 5440"/>
                <a:gd name="T24" fmla="*/ 2 w 13020"/>
                <a:gd name="T25" fmla="*/ 2763 h 5440"/>
                <a:gd name="T26" fmla="*/ 97 w 13020"/>
                <a:gd name="T27" fmla="*/ 2463 h 5440"/>
                <a:gd name="T28" fmla="*/ 4102 w 13020"/>
                <a:gd name="T29" fmla="*/ 4866 h 5440"/>
                <a:gd name="T30" fmla="*/ 4102 w 13020"/>
                <a:gd name="T31" fmla="*/ 4866 h 5440"/>
                <a:gd name="T32" fmla="*/ 4868 w 13020"/>
                <a:gd name="T33" fmla="*/ 4875 h 5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020" h="5440">
                  <a:moveTo>
                    <a:pt x="4868" y="4875"/>
                  </a:moveTo>
                  <a:lnTo>
                    <a:pt x="13019" y="0"/>
                  </a:lnTo>
                  <a:lnTo>
                    <a:pt x="13019" y="273"/>
                  </a:lnTo>
                  <a:lnTo>
                    <a:pt x="13019" y="273"/>
                  </a:lnTo>
                  <a:cubicBezTo>
                    <a:pt x="13019" y="343"/>
                    <a:pt x="12982" y="407"/>
                    <a:pt x="12921" y="441"/>
                  </a:cubicBezTo>
                  <a:lnTo>
                    <a:pt x="4679" y="5372"/>
                  </a:lnTo>
                  <a:lnTo>
                    <a:pt x="4679" y="5372"/>
                  </a:lnTo>
                  <a:cubicBezTo>
                    <a:pt x="4562" y="5439"/>
                    <a:pt x="4417" y="5437"/>
                    <a:pt x="4301" y="5366"/>
                  </a:cubicBezTo>
                  <a:lnTo>
                    <a:pt x="78" y="3014"/>
                  </a:lnTo>
                  <a:lnTo>
                    <a:pt x="78" y="3014"/>
                  </a:lnTo>
                  <a:cubicBezTo>
                    <a:pt x="32" y="2986"/>
                    <a:pt x="4" y="2936"/>
                    <a:pt x="3" y="2882"/>
                  </a:cubicBezTo>
                  <a:lnTo>
                    <a:pt x="2" y="2763"/>
                  </a:lnTo>
                  <a:lnTo>
                    <a:pt x="2" y="2763"/>
                  </a:lnTo>
                  <a:cubicBezTo>
                    <a:pt x="0" y="2655"/>
                    <a:pt x="34" y="2550"/>
                    <a:pt x="97" y="2463"/>
                  </a:cubicBezTo>
                  <a:lnTo>
                    <a:pt x="4102" y="4866"/>
                  </a:lnTo>
                  <a:lnTo>
                    <a:pt x="4102" y="4866"/>
                  </a:lnTo>
                  <a:cubicBezTo>
                    <a:pt x="4337" y="5007"/>
                    <a:pt x="4630" y="5011"/>
                    <a:pt x="4868" y="4875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77" name="Freeform 37">
              <a:extLst>
                <a:ext uri="{FF2B5EF4-FFF2-40B4-BE49-F238E27FC236}">
                  <a16:creationId xmlns:a16="http://schemas.microsoft.com/office/drawing/2014/main" id="{3AE58DEF-7FF5-9B4C-946E-B84F88840A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84483" y="3574457"/>
              <a:ext cx="8505532" cy="5112536"/>
            </a:xfrm>
            <a:custGeom>
              <a:avLst/>
              <a:gdLst>
                <a:gd name="T0" fmla="*/ 8526 w 13020"/>
                <a:gd name="T1" fmla="*/ 32 h 7826"/>
                <a:gd name="T2" fmla="*/ 12907 w 13020"/>
                <a:gd name="T3" fmla="*/ 2553 h 7826"/>
                <a:gd name="T4" fmla="*/ 12907 w 13020"/>
                <a:gd name="T5" fmla="*/ 2553 h 7826"/>
                <a:gd name="T6" fmla="*/ 12904 w 13020"/>
                <a:gd name="T7" fmla="*/ 2846 h 7826"/>
                <a:gd name="T8" fmla="*/ 4728 w 13020"/>
                <a:gd name="T9" fmla="*/ 7752 h 7826"/>
                <a:gd name="T10" fmla="*/ 4728 w 13020"/>
                <a:gd name="T11" fmla="*/ 7752 h 7826"/>
                <a:gd name="T12" fmla="*/ 4311 w 13020"/>
                <a:gd name="T13" fmla="*/ 7746 h 7826"/>
                <a:gd name="T14" fmla="*/ 111 w 13020"/>
                <a:gd name="T15" fmla="*/ 5413 h 7826"/>
                <a:gd name="T16" fmla="*/ 111 w 13020"/>
                <a:gd name="T17" fmla="*/ 5413 h 7826"/>
                <a:gd name="T18" fmla="*/ 114 w 13020"/>
                <a:gd name="T19" fmla="*/ 5121 h 7826"/>
                <a:gd name="T20" fmla="*/ 8355 w 13020"/>
                <a:gd name="T21" fmla="*/ 31 h 7826"/>
                <a:gd name="T22" fmla="*/ 8355 w 13020"/>
                <a:gd name="T23" fmla="*/ 31 h 7826"/>
                <a:gd name="T24" fmla="*/ 8526 w 13020"/>
                <a:gd name="T25" fmla="*/ 32 h 78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020" h="7826">
                  <a:moveTo>
                    <a:pt x="8526" y="32"/>
                  </a:moveTo>
                  <a:lnTo>
                    <a:pt x="12907" y="2553"/>
                  </a:lnTo>
                  <a:lnTo>
                    <a:pt x="12907" y="2553"/>
                  </a:lnTo>
                  <a:cubicBezTo>
                    <a:pt x="13019" y="2619"/>
                    <a:pt x="13017" y="2782"/>
                    <a:pt x="12904" y="2846"/>
                  </a:cubicBezTo>
                  <a:lnTo>
                    <a:pt x="4728" y="7752"/>
                  </a:lnTo>
                  <a:lnTo>
                    <a:pt x="4728" y="7752"/>
                  </a:lnTo>
                  <a:cubicBezTo>
                    <a:pt x="4598" y="7825"/>
                    <a:pt x="4438" y="7823"/>
                    <a:pt x="4311" y="7746"/>
                  </a:cubicBezTo>
                  <a:lnTo>
                    <a:pt x="111" y="5413"/>
                  </a:lnTo>
                  <a:lnTo>
                    <a:pt x="111" y="5413"/>
                  </a:lnTo>
                  <a:cubicBezTo>
                    <a:pt x="0" y="5346"/>
                    <a:pt x="1" y="5185"/>
                    <a:pt x="114" y="5121"/>
                  </a:cubicBezTo>
                  <a:lnTo>
                    <a:pt x="8355" y="31"/>
                  </a:lnTo>
                  <a:lnTo>
                    <a:pt x="8355" y="31"/>
                  </a:lnTo>
                  <a:cubicBezTo>
                    <a:pt x="8408" y="0"/>
                    <a:pt x="8474" y="1"/>
                    <a:pt x="8526" y="32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78" name="Freeform 38">
              <a:extLst>
                <a:ext uri="{FF2B5EF4-FFF2-40B4-BE49-F238E27FC236}">
                  <a16:creationId xmlns:a16="http://schemas.microsoft.com/office/drawing/2014/main" id="{11C08CDD-3310-BB41-A6D0-577033FADC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79531" y="3617662"/>
              <a:ext cx="8344237" cy="5020368"/>
            </a:xfrm>
            <a:custGeom>
              <a:avLst/>
              <a:gdLst>
                <a:gd name="T0" fmla="*/ 8413 w 12773"/>
                <a:gd name="T1" fmla="*/ 31 h 7685"/>
                <a:gd name="T2" fmla="*/ 12661 w 12773"/>
                <a:gd name="T3" fmla="*/ 2482 h 7685"/>
                <a:gd name="T4" fmla="*/ 12661 w 12773"/>
                <a:gd name="T5" fmla="*/ 2482 h 7685"/>
                <a:gd name="T6" fmla="*/ 12659 w 12773"/>
                <a:gd name="T7" fmla="*/ 2771 h 7685"/>
                <a:gd name="T8" fmla="*/ 4592 w 12773"/>
                <a:gd name="T9" fmla="*/ 7611 h 7685"/>
                <a:gd name="T10" fmla="*/ 4592 w 12773"/>
                <a:gd name="T11" fmla="*/ 7611 h 7685"/>
                <a:gd name="T12" fmla="*/ 4180 w 12773"/>
                <a:gd name="T13" fmla="*/ 7606 h 7685"/>
                <a:gd name="T14" fmla="*/ 110 w 12773"/>
                <a:gd name="T15" fmla="*/ 5341 h 7685"/>
                <a:gd name="T16" fmla="*/ 110 w 12773"/>
                <a:gd name="T17" fmla="*/ 5341 h 7685"/>
                <a:gd name="T18" fmla="*/ 113 w 12773"/>
                <a:gd name="T19" fmla="*/ 5052 h 7685"/>
                <a:gd name="T20" fmla="*/ 8244 w 12773"/>
                <a:gd name="T21" fmla="*/ 30 h 7685"/>
                <a:gd name="T22" fmla="*/ 8244 w 12773"/>
                <a:gd name="T23" fmla="*/ 30 h 7685"/>
                <a:gd name="T24" fmla="*/ 8413 w 12773"/>
                <a:gd name="T25" fmla="*/ 31 h 76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773" h="7685">
                  <a:moveTo>
                    <a:pt x="8413" y="31"/>
                  </a:moveTo>
                  <a:lnTo>
                    <a:pt x="12661" y="2482"/>
                  </a:lnTo>
                  <a:lnTo>
                    <a:pt x="12661" y="2482"/>
                  </a:lnTo>
                  <a:cubicBezTo>
                    <a:pt x="12772" y="2547"/>
                    <a:pt x="12770" y="2708"/>
                    <a:pt x="12659" y="2771"/>
                  </a:cubicBezTo>
                  <a:lnTo>
                    <a:pt x="4592" y="7611"/>
                  </a:lnTo>
                  <a:lnTo>
                    <a:pt x="4592" y="7611"/>
                  </a:lnTo>
                  <a:cubicBezTo>
                    <a:pt x="4464" y="7684"/>
                    <a:pt x="4306" y="7682"/>
                    <a:pt x="4180" y="7606"/>
                  </a:cubicBezTo>
                  <a:lnTo>
                    <a:pt x="110" y="5341"/>
                  </a:lnTo>
                  <a:lnTo>
                    <a:pt x="110" y="5341"/>
                  </a:lnTo>
                  <a:cubicBezTo>
                    <a:pt x="0" y="5275"/>
                    <a:pt x="2" y="5116"/>
                    <a:pt x="113" y="5052"/>
                  </a:cubicBezTo>
                  <a:lnTo>
                    <a:pt x="8244" y="30"/>
                  </a:lnTo>
                  <a:lnTo>
                    <a:pt x="8244" y="30"/>
                  </a:lnTo>
                  <a:cubicBezTo>
                    <a:pt x="8297" y="0"/>
                    <a:pt x="8362" y="0"/>
                    <a:pt x="8413" y="3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79" name="Freeform 39">
              <a:extLst>
                <a:ext uri="{FF2B5EF4-FFF2-40B4-BE49-F238E27FC236}">
                  <a16:creationId xmlns:a16="http://schemas.microsoft.com/office/drawing/2014/main" id="{DCF9E8CF-87A6-2242-82CB-D80394689F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41916" y="4798586"/>
              <a:ext cx="4870590" cy="2851499"/>
            </a:xfrm>
            <a:custGeom>
              <a:avLst/>
              <a:gdLst>
                <a:gd name="T0" fmla="*/ 4373 w 7459"/>
                <a:gd name="T1" fmla="*/ 0 h 4364"/>
                <a:gd name="T2" fmla="*/ 0 w 7459"/>
                <a:gd name="T3" fmla="*/ 2568 h 4364"/>
                <a:gd name="T4" fmla="*/ 3081 w 7459"/>
                <a:gd name="T5" fmla="*/ 4363 h 4364"/>
                <a:gd name="T6" fmla="*/ 7458 w 7459"/>
                <a:gd name="T7" fmla="*/ 1788 h 4364"/>
                <a:gd name="T8" fmla="*/ 4373 w 7459"/>
                <a:gd name="T9" fmla="*/ 0 h 4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59" h="4364">
                  <a:moveTo>
                    <a:pt x="4373" y="0"/>
                  </a:moveTo>
                  <a:lnTo>
                    <a:pt x="0" y="2568"/>
                  </a:lnTo>
                  <a:lnTo>
                    <a:pt x="3081" y="4363"/>
                  </a:lnTo>
                  <a:lnTo>
                    <a:pt x="7458" y="1788"/>
                  </a:lnTo>
                  <a:lnTo>
                    <a:pt x="4373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80" name="Freeform 40">
              <a:extLst>
                <a:ext uri="{FF2B5EF4-FFF2-40B4-BE49-F238E27FC236}">
                  <a16:creationId xmlns:a16="http://schemas.microsoft.com/office/drawing/2014/main" id="{86B3BE09-BFA0-6E4B-A32F-A36ADEFA0E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68649" y="5847015"/>
              <a:ext cx="4674730" cy="1728181"/>
            </a:xfrm>
            <a:custGeom>
              <a:avLst/>
              <a:gdLst>
                <a:gd name="T0" fmla="*/ 0 w 7159"/>
                <a:gd name="T1" fmla="*/ 763 h 2646"/>
                <a:gd name="T2" fmla="*/ 0 w 7159"/>
                <a:gd name="T3" fmla="*/ 922 h 2646"/>
                <a:gd name="T4" fmla="*/ 2944 w 7159"/>
                <a:gd name="T5" fmla="*/ 2645 h 2646"/>
                <a:gd name="T6" fmla="*/ 7158 w 7159"/>
                <a:gd name="T7" fmla="*/ 158 h 2646"/>
                <a:gd name="T8" fmla="*/ 7158 w 7159"/>
                <a:gd name="T9" fmla="*/ 0 h 2646"/>
                <a:gd name="T10" fmla="*/ 0 w 7159"/>
                <a:gd name="T11" fmla="*/ 763 h 2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159" h="2646">
                  <a:moveTo>
                    <a:pt x="0" y="763"/>
                  </a:moveTo>
                  <a:lnTo>
                    <a:pt x="0" y="922"/>
                  </a:lnTo>
                  <a:lnTo>
                    <a:pt x="2944" y="2645"/>
                  </a:lnTo>
                  <a:lnTo>
                    <a:pt x="7158" y="158"/>
                  </a:lnTo>
                  <a:lnTo>
                    <a:pt x="7158" y="0"/>
                  </a:lnTo>
                  <a:lnTo>
                    <a:pt x="0" y="763"/>
                  </a:lnTo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81" name="Freeform 41">
              <a:extLst>
                <a:ext uri="{FF2B5EF4-FFF2-40B4-BE49-F238E27FC236}">
                  <a16:creationId xmlns:a16="http://schemas.microsoft.com/office/drawing/2014/main" id="{CB939103-9EC9-6048-BD3D-ACCDDEA74E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89810" y="5847015"/>
              <a:ext cx="2753569" cy="1728181"/>
            </a:xfrm>
            <a:custGeom>
              <a:avLst/>
              <a:gdLst>
                <a:gd name="T0" fmla="*/ 0 w 4215"/>
                <a:gd name="T1" fmla="*/ 2487 h 2646"/>
                <a:gd name="T2" fmla="*/ 0 w 4215"/>
                <a:gd name="T3" fmla="*/ 2645 h 2646"/>
                <a:gd name="T4" fmla="*/ 4214 w 4215"/>
                <a:gd name="T5" fmla="*/ 158 h 2646"/>
                <a:gd name="T6" fmla="*/ 4214 w 4215"/>
                <a:gd name="T7" fmla="*/ 0 h 2646"/>
                <a:gd name="T8" fmla="*/ 0 w 4215"/>
                <a:gd name="T9" fmla="*/ 2487 h 2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15" h="2646">
                  <a:moveTo>
                    <a:pt x="0" y="2487"/>
                  </a:moveTo>
                  <a:lnTo>
                    <a:pt x="0" y="2645"/>
                  </a:lnTo>
                  <a:lnTo>
                    <a:pt x="4214" y="158"/>
                  </a:lnTo>
                  <a:lnTo>
                    <a:pt x="4214" y="0"/>
                  </a:lnTo>
                  <a:lnTo>
                    <a:pt x="0" y="2487"/>
                  </a:lnTo>
                </a:path>
              </a:pathLst>
            </a:custGeom>
            <a:solidFill>
              <a:schemeClr val="accent6">
                <a:lumMod val="9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82" name="Freeform 42">
              <a:extLst>
                <a:ext uri="{FF2B5EF4-FFF2-40B4-BE49-F238E27FC236}">
                  <a16:creationId xmlns:a16="http://schemas.microsoft.com/office/drawing/2014/main" id="{9EDB8D9D-F8C3-0C46-8BF6-E8239D3EAC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68649" y="4723698"/>
              <a:ext cx="4674730" cy="2747808"/>
            </a:xfrm>
            <a:custGeom>
              <a:avLst/>
              <a:gdLst>
                <a:gd name="T0" fmla="*/ 4210 w 7159"/>
                <a:gd name="T1" fmla="*/ 0 h 4207"/>
                <a:gd name="T2" fmla="*/ 0 w 7159"/>
                <a:gd name="T3" fmla="*/ 2482 h 4207"/>
                <a:gd name="T4" fmla="*/ 2944 w 7159"/>
                <a:gd name="T5" fmla="*/ 4206 h 4207"/>
                <a:gd name="T6" fmla="*/ 7158 w 7159"/>
                <a:gd name="T7" fmla="*/ 1719 h 4207"/>
                <a:gd name="T8" fmla="*/ 4210 w 7159"/>
                <a:gd name="T9" fmla="*/ 0 h 4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59" h="4207">
                  <a:moveTo>
                    <a:pt x="4210" y="0"/>
                  </a:moveTo>
                  <a:lnTo>
                    <a:pt x="0" y="2482"/>
                  </a:lnTo>
                  <a:lnTo>
                    <a:pt x="2944" y="4206"/>
                  </a:lnTo>
                  <a:lnTo>
                    <a:pt x="7158" y="1719"/>
                  </a:lnTo>
                  <a:lnTo>
                    <a:pt x="4210" y="0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83" name="Freeform 43">
              <a:extLst>
                <a:ext uri="{FF2B5EF4-FFF2-40B4-BE49-F238E27FC236}">
                  <a16:creationId xmlns:a16="http://schemas.microsoft.com/office/drawing/2014/main" id="{0472FDE4-9C37-C342-A1D3-D322CF2514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13474" y="4870593"/>
              <a:ext cx="3562935" cy="2093979"/>
            </a:xfrm>
            <a:custGeom>
              <a:avLst/>
              <a:gdLst>
                <a:gd name="T0" fmla="*/ 3888 w 5455"/>
                <a:gd name="T1" fmla="*/ 0 h 3207"/>
                <a:gd name="T2" fmla="*/ 0 w 5455"/>
                <a:gd name="T3" fmla="*/ 2291 h 3207"/>
                <a:gd name="T4" fmla="*/ 1563 w 5455"/>
                <a:gd name="T5" fmla="*/ 3206 h 3207"/>
                <a:gd name="T6" fmla="*/ 5454 w 5455"/>
                <a:gd name="T7" fmla="*/ 909 h 3207"/>
                <a:gd name="T8" fmla="*/ 3888 w 5455"/>
                <a:gd name="T9" fmla="*/ 0 h 3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55" h="3207">
                  <a:moveTo>
                    <a:pt x="3888" y="0"/>
                  </a:moveTo>
                  <a:lnTo>
                    <a:pt x="0" y="2291"/>
                  </a:lnTo>
                  <a:lnTo>
                    <a:pt x="1563" y="3206"/>
                  </a:lnTo>
                  <a:lnTo>
                    <a:pt x="5454" y="909"/>
                  </a:lnTo>
                  <a:lnTo>
                    <a:pt x="3888" y="0"/>
                  </a:lnTo>
                </a:path>
              </a:pathLst>
            </a:custGeom>
            <a:solidFill>
              <a:schemeClr val="accent6">
                <a:lumMod val="9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84" name="Freeform 44">
              <a:extLst>
                <a:ext uri="{FF2B5EF4-FFF2-40B4-BE49-F238E27FC236}">
                  <a16:creationId xmlns:a16="http://schemas.microsoft.com/office/drawing/2014/main" id="{0F48EA7D-70F3-5544-BD6A-3E5B03F933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51107" y="6011193"/>
              <a:ext cx="1564005" cy="918816"/>
            </a:xfrm>
            <a:custGeom>
              <a:avLst/>
              <a:gdLst>
                <a:gd name="T0" fmla="*/ 1448 w 2396"/>
                <a:gd name="T1" fmla="*/ 0 h 1408"/>
                <a:gd name="T2" fmla="*/ 0 w 2396"/>
                <a:gd name="T3" fmla="*/ 854 h 1408"/>
                <a:gd name="T4" fmla="*/ 945 w 2396"/>
                <a:gd name="T5" fmla="*/ 1407 h 1408"/>
                <a:gd name="T6" fmla="*/ 2395 w 2396"/>
                <a:gd name="T7" fmla="*/ 552 h 1408"/>
                <a:gd name="T8" fmla="*/ 1448 w 2396"/>
                <a:gd name="T9" fmla="*/ 0 h 1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96" h="1408">
                  <a:moveTo>
                    <a:pt x="1448" y="0"/>
                  </a:moveTo>
                  <a:lnTo>
                    <a:pt x="0" y="854"/>
                  </a:lnTo>
                  <a:lnTo>
                    <a:pt x="945" y="1407"/>
                  </a:lnTo>
                  <a:lnTo>
                    <a:pt x="2395" y="552"/>
                  </a:lnTo>
                  <a:lnTo>
                    <a:pt x="1448" y="0"/>
                  </a:lnTo>
                </a:path>
              </a:pathLst>
            </a:custGeom>
            <a:solidFill>
              <a:schemeClr val="accent6">
                <a:lumMod val="9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85" name="Freeform 45">
              <a:extLst>
                <a:ext uri="{FF2B5EF4-FFF2-40B4-BE49-F238E27FC236}">
                  <a16:creationId xmlns:a16="http://schemas.microsoft.com/office/drawing/2014/main" id="{D8F9784A-F30F-5D49-8897-334C0E6690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696294" y="6405793"/>
              <a:ext cx="437806" cy="256348"/>
            </a:xfrm>
            <a:custGeom>
              <a:avLst/>
              <a:gdLst>
                <a:gd name="T0" fmla="*/ 19 w 671"/>
                <a:gd name="T1" fmla="*/ 0 h 393"/>
                <a:gd name="T2" fmla="*/ 0 w 671"/>
                <a:gd name="T3" fmla="*/ 10 h 393"/>
                <a:gd name="T4" fmla="*/ 651 w 671"/>
                <a:gd name="T5" fmla="*/ 392 h 393"/>
                <a:gd name="T6" fmla="*/ 670 w 671"/>
                <a:gd name="T7" fmla="*/ 380 h 393"/>
                <a:gd name="T8" fmla="*/ 19 w 671"/>
                <a:gd name="T9" fmla="*/ 0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1" h="393">
                  <a:moveTo>
                    <a:pt x="19" y="0"/>
                  </a:moveTo>
                  <a:lnTo>
                    <a:pt x="0" y="10"/>
                  </a:lnTo>
                  <a:lnTo>
                    <a:pt x="651" y="392"/>
                  </a:lnTo>
                  <a:lnTo>
                    <a:pt x="670" y="380"/>
                  </a:lnTo>
                  <a:lnTo>
                    <a:pt x="19" y="0"/>
                  </a:lnTo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86" name="Freeform 35">
              <a:extLst>
                <a:ext uri="{FF2B5EF4-FFF2-40B4-BE49-F238E27FC236}">
                  <a16:creationId xmlns:a16="http://schemas.microsoft.com/office/drawing/2014/main" id="{434F51CE-16A5-714C-9465-F318853B1A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88000" y="1932685"/>
              <a:ext cx="2830675" cy="4363004"/>
            </a:xfrm>
            <a:custGeom>
              <a:avLst/>
              <a:gdLst>
                <a:gd name="connsiteX0" fmla="*/ 2750688 w 2830675"/>
                <a:gd name="connsiteY0" fmla="*/ 0 h 4363004"/>
                <a:gd name="connsiteX1" fmla="*/ 2830675 w 2830675"/>
                <a:gd name="connsiteY1" fmla="*/ 48467 h 4363004"/>
                <a:gd name="connsiteX2" fmla="*/ 2830675 w 2830675"/>
                <a:gd name="connsiteY2" fmla="*/ 491876 h 4363004"/>
                <a:gd name="connsiteX3" fmla="*/ 2750688 w 2830675"/>
                <a:gd name="connsiteY3" fmla="*/ 459128 h 4363004"/>
                <a:gd name="connsiteX4" fmla="*/ 2750035 w 2830675"/>
                <a:gd name="connsiteY4" fmla="*/ 0 h 4363004"/>
                <a:gd name="connsiteX5" fmla="*/ 2750035 w 2830675"/>
                <a:gd name="connsiteY5" fmla="*/ 2744923 h 4363004"/>
                <a:gd name="connsiteX6" fmla="*/ 0 w 2830675"/>
                <a:gd name="connsiteY6" fmla="*/ 4363004 h 4363004"/>
                <a:gd name="connsiteX7" fmla="*/ 0 w 2830675"/>
                <a:gd name="connsiteY7" fmla="*/ 1618081 h 4363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30675" h="4363004">
                  <a:moveTo>
                    <a:pt x="2750688" y="0"/>
                  </a:moveTo>
                  <a:lnTo>
                    <a:pt x="2830675" y="48467"/>
                  </a:lnTo>
                  <a:lnTo>
                    <a:pt x="2830675" y="491876"/>
                  </a:lnTo>
                  <a:lnTo>
                    <a:pt x="2750688" y="459128"/>
                  </a:lnTo>
                  <a:close/>
                  <a:moveTo>
                    <a:pt x="2750035" y="0"/>
                  </a:moveTo>
                  <a:lnTo>
                    <a:pt x="2750035" y="2744923"/>
                  </a:lnTo>
                  <a:lnTo>
                    <a:pt x="0" y="4363004"/>
                  </a:lnTo>
                  <a:lnTo>
                    <a:pt x="0" y="161808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87" name="Freeform 48">
              <a:extLst>
                <a:ext uri="{FF2B5EF4-FFF2-40B4-BE49-F238E27FC236}">
                  <a16:creationId xmlns:a16="http://schemas.microsoft.com/office/drawing/2014/main" id="{2947221F-196F-A544-8F19-65585708C9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88001" y="3548535"/>
              <a:ext cx="80648" cy="2793893"/>
            </a:xfrm>
            <a:custGeom>
              <a:avLst/>
              <a:gdLst>
                <a:gd name="T0" fmla="*/ 121 w 122"/>
                <a:gd name="T1" fmla="*/ 74 h 4277"/>
                <a:gd name="T2" fmla="*/ 121 w 122"/>
                <a:gd name="T3" fmla="*/ 4276 h 4277"/>
                <a:gd name="T4" fmla="*/ 0 w 122"/>
                <a:gd name="T5" fmla="*/ 4202 h 4277"/>
                <a:gd name="T6" fmla="*/ 0 w 122"/>
                <a:gd name="T7" fmla="*/ 0 h 4277"/>
                <a:gd name="T8" fmla="*/ 121 w 122"/>
                <a:gd name="T9" fmla="*/ 74 h 4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4277">
                  <a:moveTo>
                    <a:pt x="121" y="74"/>
                  </a:moveTo>
                  <a:lnTo>
                    <a:pt x="121" y="4276"/>
                  </a:lnTo>
                  <a:lnTo>
                    <a:pt x="0" y="4202"/>
                  </a:lnTo>
                  <a:lnTo>
                    <a:pt x="0" y="0"/>
                  </a:lnTo>
                  <a:lnTo>
                    <a:pt x="121" y="74"/>
                  </a:lnTo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88" name="Freeform 49">
              <a:extLst>
                <a:ext uri="{FF2B5EF4-FFF2-40B4-BE49-F238E27FC236}">
                  <a16:creationId xmlns:a16="http://schemas.microsoft.com/office/drawing/2014/main" id="{81F69DC5-5E76-CE41-B3C2-3BDAE83663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68649" y="1978770"/>
              <a:ext cx="2750688" cy="4363657"/>
            </a:xfrm>
            <a:custGeom>
              <a:avLst/>
              <a:gdLst>
                <a:gd name="T0" fmla="*/ 4210 w 4211"/>
                <a:gd name="T1" fmla="*/ 0 h 6680"/>
                <a:gd name="T2" fmla="*/ 4210 w 4211"/>
                <a:gd name="T3" fmla="*/ 4202 h 6680"/>
                <a:gd name="T4" fmla="*/ 0 w 4211"/>
                <a:gd name="T5" fmla="*/ 6679 h 6680"/>
                <a:gd name="T6" fmla="*/ 0 w 4211"/>
                <a:gd name="T7" fmla="*/ 2477 h 6680"/>
                <a:gd name="T8" fmla="*/ 4210 w 4211"/>
                <a:gd name="T9" fmla="*/ 0 h 6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11" h="6680">
                  <a:moveTo>
                    <a:pt x="4210" y="0"/>
                  </a:moveTo>
                  <a:lnTo>
                    <a:pt x="4210" y="4202"/>
                  </a:lnTo>
                  <a:lnTo>
                    <a:pt x="0" y="6679"/>
                  </a:lnTo>
                  <a:lnTo>
                    <a:pt x="0" y="2477"/>
                  </a:lnTo>
                  <a:lnTo>
                    <a:pt x="4210" y="0"/>
                  </a:lnTo>
                </a:path>
              </a:pathLst>
            </a:custGeom>
            <a:solidFill>
              <a:schemeClr val="accent6">
                <a:lumMod val="2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89" name="Freeform 50">
              <a:extLst>
                <a:ext uri="{FF2B5EF4-FFF2-40B4-BE49-F238E27FC236}">
                  <a16:creationId xmlns:a16="http://schemas.microsoft.com/office/drawing/2014/main" id="{64785DCD-DC09-7742-A6B6-1CFBC03408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32015" y="2249519"/>
              <a:ext cx="2638357" cy="3954654"/>
            </a:xfrm>
            <a:custGeom>
              <a:avLst/>
              <a:gdLst>
                <a:gd name="T0" fmla="*/ 4001 w 4038"/>
                <a:gd name="T1" fmla="*/ 3759 h 6055"/>
                <a:gd name="T2" fmla="*/ 108 w 4038"/>
                <a:gd name="T3" fmla="*/ 6025 h 6055"/>
                <a:gd name="T4" fmla="*/ 108 w 4038"/>
                <a:gd name="T5" fmla="*/ 6025 h 6055"/>
                <a:gd name="T6" fmla="*/ 0 w 4038"/>
                <a:gd name="T7" fmla="*/ 5964 h 6055"/>
                <a:gd name="T8" fmla="*/ 0 w 4038"/>
                <a:gd name="T9" fmla="*/ 2367 h 6055"/>
                <a:gd name="T10" fmla="*/ 0 w 4038"/>
                <a:gd name="T11" fmla="*/ 2367 h 6055"/>
                <a:gd name="T12" fmla="*/ 36 w 4038"/>
                <a:gd name="T13" fmla="*/ 2305 h 6055"/>
                <a:gd name="T14" fmla="*/ 3929 w 4038"/>
                <a:gd name="T15" fmla="*/ 28 h 6055"/>
                <a:gd name="T16" fmla="*/ 3929 w 4038"/>
                <a:gd name="T17" fmla="*/ 28 h 6055"/>
                <a:gd name="T18" fmla="*/ 4037 w 4038"/>
                <a:gd name="T19" fmla="*/ 90 h 6055"/>
                <a:gd name="T20" fmla="*/ 4037 w 4038"/>
                <a:gd name="T21" fmla="*/ 3697 h 6055"/>
                <a:gd name="T22" fmla="*/ 4037 w 4038"/>
                <a:gd name="T23" fmla="*/ 3697 h 6055"/>
                <a:gd name="T24" fmla="*/ 4001 w 4038"/>
                <a:gd name="T25" fmla="*/ 3759 h 60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038" h="6055">
                  <a:moveTo>
                    <a:pt x="4001" y="3759"/>
                  </a:moveTo>
                  <a:lnTo>
                    <a:pt x="108" y="6025"/>
                  </a:lnTo>
                  <a:lnTo>
                    <a:pt x="108" y="6025"/>
                  </a:lnTo>
                  <a:cubicBezTo>
                    <a:pt x="60" y="6054"/>
                    <a:pt x="0" y="6019"/>
                    <a:pt x="0" y="5964"/>
                  </a:cubicBezTo>
                  <a:lnTo>
                    <a:pt x="0" y="2367"/>
                  </a:lnTo>
                  <a:lnTo>
                    <a:pt x="0" y="2367"/>
                  </a:lnTo>
                  <a:cubicBezTo>
                    <a:pt x="0" y="2342"/>
                    <a:pt x="13" y="2318"/>
                    <a:pt x="36" y="2305"/>
                  </a:cubicBezTo>
                  <a:lnTo>
                    <a:pt x="3929" y="28"/>
                  </a:lnTo>
                  <a:lnTo>
                    <a:pt x="3929" y="28"/>
                  </a:lnTo>
                  <a:cubicBezTo>
                    <a:pt x="3976" y="0"/>
                    <a:pt x="4037" y="34"/>
                    <a:pt x="4037" y="90"/>
                  </a:cubicBezTo>
                  <a:lnTo>
                    <a:pt x="4037" y="3697"/>
                  </a:lnTo>
                  <a:lnTo>
                    <a:pt x="4037" y="3697"/>
                  </a:lnTo>
                  <a:cubicBezTo>
                    <a:pt x="4037" y="3722"/>
                    <a:pt x="4023" y="3746"/>
                    <a:pt x="4001" y="375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90" name="Freeform 39">
              <a:extLst>
                <a:ext uri="{FF2B5EF4-FFF2-40B4-BE49-F238E27FC236}">
                  <a16:creationId xmlns:a16="http://schemas.microsoft.com/office/drawing/2014/main" id="{813ABA2F-EB63-8C4F-99C7-AF0DE228FB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27877" y="2891244"/>
              <a:ext cx="1661280" cy="1141897"/>
            </a:xfrm>
            <a:custGeom>
              <a:avLst/>
              <a:gdLst>
                <a:gd name="connsiteX0" fmla="*/ 419125 w 1661280"/>
                <a:gd name="connsiteY0" fmla="*/ 706482 h 1141897"/>
                <a:gd name="connsiteX1" fmla="*/ 454434 w 1661280"/>
                <a:gd name="connsiteY1" fmla="*/ 741423 h 1141897"/>
                <a:gd name="connsiteX2" fmla="*/ 454434 w 1661280"/>
                <a:gd name="connsiteY2" fmla="*/ 886580 h 1141897"/>
                <a:gd name="connsiteX3" fmla="*/ 436780 w 1661280"/>
                <a:gd name="connsiteY3" fmla="*/ 917312 h 1141897"/>
                <a:gd name="connsiteX4" fmla="*/ 60155 w 1661280"/>
                <a:gd name="connsiteY4" fmla="*/ 1136356 h 1141897"/>
                <a:gd name="connsiteX5" fmla="*/ 0 w 1661280"/>
                <a:gd name="connsiteY5" fmla="*/ 1102355 h 1141897"/>
                <a:gd name="connsiteX6" fmla="*/ 0 w 1661280"/>
                <a:gd name="connsiteY6" fmla="*/ 968967 h 1141897"/>
                <a:gd name="connsiteX7" fmla="*/ 20270 w 1661280"/>
                <a:gd name="connsiteY7" fmla="*/ 934312 h 1141897"/>
                <a:gd name="connsiteX8" fmla="*/ 400817 w 1661280"/>
                <a:gd name="connsiteY8" fmla="*/ 711345 h 1141897"/>
                <a:gd name="connsiteX9" fmla="*/ 419125 w 1661280"/>
                <a:gd name="connsiteY9" fmla="*/ 706482 h 1141897"/>
                <a:gd name="connsiteX10" fmla="*/ 949785 w 1661280"/>
                <a:gd name="connsiteY10" fmla="*/ 395663 h 1141897"/>
                <a:gd name="connsiteX11" fmla="*/ 984412 w 1661280"/>
                <a:gd name="connsiteY11" fmla="*/ 430846 h 1141897"/>
                <a:gd name="connsiteX12" fmla="*/ 984412 w 1661280"/>
                <a:gd name="connsiteY12" fmla="*/ 577444 h 1141897"/>
                <a:gd name="connsiteX13" fmla="*/ 967475 w 1661280"/>
                <a:gd name="connsiteY13" fmla="*/ 607415 h 1141897"/>
                <a:gd name="connsiteX14" fmla="*/ 559697 w 1661280"/>
                <a:gd name="connsiteY14" fmla="*/ 844577 h 1141897"/>
                <a:gd name="connsiteX15" fmla="*/ 506933 w 1661280"/>
                <a:gd name="connsiteY15" fmla="*/ 814606 h 1141897"/>
                <a:gd name="connsiteX16" fmla="*/ 506933 w 1661280"/>
                <a:gd name="connsiteY16" fmla="*/ 669311 h 1141897"/>
                <a:gd name="connsiteX17" fmla="*/ 524521 w 1661280"/>
                <a:gd name="connsiteY17" fmla="*/ 638689 h 1141897"/>
                <a:gd name="connsiteX18" fmla="*/ 931648 w 1661280"/>
                <a:gd name="connsiteY18" fmla="*/ 400875 h 1141897"/>
                <a:gd name="connsiteX19" fmla="*/ 949785 w 1661280"/>
                <a:gd name="connsiteY19" fmla="*/ 395663 h 1141897"/>
                <a:gd name="connsiteX20" fmla="*/ 1629938 w 1661280"/>
                <a:gd name="connsiteY20" fmla="*/ 5 h 1141897"/>
                <a:gd name="connsiteX21" fmla="*/ 1661280 w 1661280"/>
                <a:gd name="connsiteY21" fmla="*/ 31789 h 1141897"/>
                <a:gd name="connsiteX22" fmla="*/ 1661280 w 1661280"/>
                <a:gd name="connsiteY22" fmla="*/ 182684 h 1141897"/>
                <a:gd name="connsiteX23" fmla="*/ 1639775 w 1661280"/>
                <a:gd name="connsiteY23" fmla="*/ 218612 h 1141897"/>
                <a:gd name="connsiteX24" fmla="*/ 1098229 w 1661280"/>
                <a:gd name="connsiteY24" fmla="*/ 534774 h 1141897"/>
                <a:gd name="connsiteX25" fmla="*/ 1051308 w 1661280"/>
                <a:gd name="connsiteY25" fmla="*/ 507992 h 1141897"/>
                <a:gd name="connsiteX26" fmla="*/ 1051308 w 1661280"/>
                <a:gd name="connsiteY26" fmla="*/ 358403 h 1141897"/>
                <a:gd name="connsiteX27" fmla="*/ 1072162 w 1661280"/>
                <a:gd name="connsiteY27" fmla="*/ 321822 h 1141897"/>
                <a:gd name="connsiteX28" fmla="*/ 1613708 w 1661280"/>
                <a:gd name="connsiteY28" fmla="*/ 4353 h 1141897"/>
                <a:gd name="connsiteX29" fmla="*/ 1629938 w 1661280"/>
                <a:gd name="connsiteY29" fmla="*/ 5 h 1141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661280" h="1141897">
                  <a:moveTo>
                    <a:pt x="419125" y="706482"/>
                  </a:moveTo>
                  <a:cubicBezTo>
                    <a:pt x="437515" y="706727"/>
                    <a:pt x="454434" y="721317"/>
                    <a:pt x="454434" y="741423"/>
                  </a:cubicBezTo>
                  <a:lnTo>
                    <a:pt x="454434" y="886580"/>
                  </a:lnTo>
                  <a:cubicBezTo>
                    <a:pt x="454434" y="899004"/>
                    <a:pt x="447896" y="910773"/>
                    <a:pt x="436780" y="917312"/>
                  </a:cubicBezTo>
                  <a:lnTo>
                    <a:pt x="60155" y="1136356"/>
                  </a:lnTo>
                  <a:cubicBezTo>
                    <a:pt x="33347" y="1152048"/>
                    <a:pt x="0" y="1132432"/>
                    <a:pt x="0" y="1102355"/>
                  </a:cubicBezTo>
                  <a:lnTo>
                    <a:pt x="0" y="968967"/>
                  </a:lnTo>
                  <a:cubicBezTo>
                    <a:pt x="0" y="954582"/>
                    <a:pt x="7846" y="941505"/>
                    <a:pt x="20270" y="934312"/>
                  </a:cubicBezTo>
                  <a:lnTo>
                    <a:pt x="400817" y="711345"/>
                  </a:lnTo>
                  <a:cubicBezTo>
                    <a:pt x="406702" y="707912"/>
                    <a:pt x="412995" y="706400"/>
                    <a:pt x="419125" y="706482"/>
                  </a:cubicBezTo>
                  <a:close/>
                  <a:moveTo>
                    <a:pt x="949785" y="395663"/>
                  </a:moveTo>
                  <a:cubicBezTo>
                    <a:pt x="967923" y="395663"/>
                    <a:pt x="984412" y="410322"/>
                    <a:pt x="984412" y="430846"/>
                  </a:cubicBezTo>
                  <a:lnTo>
                    <a:pt x="984412" y="577444"/>
                  </a:lnTo>
                  <a:cubicBezTo>
                    <a:pt x="984412" y="589171"/>
                    <a:pt x="977898" y="600899"/>
                    <a:pt x="967475" y="607415"/>
                  </a:cubicBezTo>
                  <a:lnTo>
                    <a:pt x="559697" y="844577"/>
                  </a:lnTo>
                  <a:cubicBezTo>
                    <a:pt x="536246" y="858260"/>
                    <a:pt x="506933" y="841319"/>
                    <a:pt x="506933" y="814606"/>
                  </a:cubicBezTo>
                  <a:lnTo>
                    <a:pt x="506933" y="669311"/>
                  </a:lnTo>
                  <a:cubicBezTo>
                    <a:pt x="506933" y="656932"/>
                    <a:pt x="513447" y="645204"/>
                    <a:pt x="524521" y="638689"/>
                  </a:cubicBezTo>
                  <a:lnTo>
                    <a:pt x="931648" y="400875"/>
                  </a:lnTo>
                  <a:cubicBezTo>
                    <a:pt x="937511" y="397291"/>
                    <a:pt x="943740" y="395663"/>
                    <a:pt x="949785" y="395663"/>
                  </a:cubicBezTo>
                  <a:close/>
                  <a:moveTo>
                    <a:pt x="1629938" y="5"/>
                  </a:moveTo>
                  <a:cubicBezTo>
                    <a:pt x="1646251" y="311"/>
                    <a:pt x="1661280" y="13662"/>
                    <a:pt x="1661280" y="31789"/>
                  </a:cubicBezTo>
                  <a:lnTo>
                    <a:pt x="1661280" y="182684"/>
                  </a:lnTo>
                  <a:cubicBezTo>
                    <a:pt x="1661280" y="197709"/>
                    <a:pt x="1652809" y="211426"/>
                    <a:pt x="1639775" y="218612"/>
                  </a:cubicBezTo>
                  <a:lnTo>
                    <a:pt x="1098229" y="534774"/>
                  </a:lnTo>
                  <a:cubicBezTo>
                    <a:pt x="1077375" y="547186"/>
                    <a:pt x="1051308" y="532161"/>
                    <a:pt x="1051308" y="507992"/>
                  </a:cubicBezTo>
                  <a:lnTo>
                    <a:pt x="1051308" y="358403"/>
                  </a:lnTo>
                  <a:cubicBezTo>
                    <a:pt x="1051308" y="343379"/>
                    <a:pt x="1059128" y="329661"/>
                    <a:pt x="1072162" y="321822"/>
                  </a:cubicBezTo>
                  <a:lnTo>
                    <a:pt x="1613708" y="4353"/>
                  </a:lnTo>
                  <a:cubicBezTo>
                    <a:pt x="1618921" y="1250"/>
                    <a:pt x="1624501" y="-97"/>
                    <a:pt x="1629938" y="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91" name="Freeform 54">
              <a:extLst>
                <a:ext uri="{FF2B5EF4-FFF2-40B4-BE49-F238E27FC236}">
                  <a16:creationId xmlns:a16="http://schemas.microsoft.com/office/drawing/2014/main" id="{E26B0416-7E47-FF4B-A8E0-067DA0AE55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27876" y="2857261"/>
              <a:ext cx="2243755" cy="1497757"/>
            </a:xfrm>
            <a:custGeom>
              <a:avLst/>
              <a:gdLst>
                <a:gd name="T0" fmla="*/ 3402 w 3433"/>
                <a:gd name="T1" fmla="*/ 342 h 2294"/>
                <a:gd name="T2" fmla="*/ 92 w 3433"/>
                <a:gd name="T3" fmla="*/ 2269 h 2294"/>
                <a:gd name="T4" fmla="*/ 92 w 3433"/>
                <a:gd name="T5" fmla="*/ 2269 h 2294"/>
                <a:gd name="T6" fmla="*/ 0 w 3433"/>
                <a:gd name="T7" fmla="*/ 2217 h 2294"/>
                <a:gd name="T8" fmla="*/ 0 w 3433"/>
                <a:gd name="T9" fmla="*/ 2013 h 2294"/>
                <a:gd name="T10" fmla="*/ 0 w 3433"/>
                <a:gd name="T11" fmla="*/ 2013 h 2294"/>
                <a:gd name="T12" fmla="*/ 31 w 3433"/>
                <a:gd name="T13" fmla="*/ 1960 h 2294"/>
                <a:gd name="T14" fmla="*/ 3341 w 3433"/>
                <a:gd name="T15" fmla="*/ 24 h 2294"/>
                <a:gd name="T16" fmla="*/ 3341 w 3433"/>
                <a:gd name="T17" fmla="*/ 24 h 2294"/>
                <a:gd name="T18" fmla="*/ 3432 w 3433"/>
                <a:gd name="T19" fmla="*/ 76 h 2294"/>
                <a:gd name="T20" fmla="*/ 3432 w 3433"/>
                <a:gd name="T21" fmla="*/ 289 h 2294"/>
                <a:gd name="T22" fmla="*/ 3432 w 3433"/>
                <a:gd name="T23" fmla="*/ 289 h 2294"/>
                <a:gd name="T24" fmla="*/ 3402 w 3433"/>
                <a:gd name="T25" fmla="*/ 342 h 2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33" h="2294">
                  <a:moveTo>
                    <a:pt x="3402" y="342"/>
                  </a:moveTo>
                  <a:lnTo>
                    <a:pt x="92" y="2269"/>
                  </a:lnTo>
                  <a:lnTo>
                    <a:pt x="92" y="2269"/>
                  </a:lnTo>
                  <a:cubicBezTo>
                    <a:pt x="51" y="2293"/>
                    <a:pt x="0" y="2264"/>
                    <a:pt x="0" y="2217"/>
                  </a:cubicBezTo>
                  <a:lnTo>
                    <a:pt x="0" y="2013"/>
                  </a:lnTo>
                  <a:lnTo>
                    <a:pt x="0" y="2013"/>
                  </a:lnTo>
                  <a:cubicBezTo>
                    <a:pt x="0" y="1991"/>
                    <a:pt x="12" y="1971"/>
                    <a:pt x="31" y="1960"/>
                  </a:cubicBezTo>
                  <a:lnTo>
                    <a:pt x="3341" y="24"/>
                  </a:lnTo>
                  <a:lnTo>
                    <a:pt x="3341" y="24"/>
                  </a:lnTo>
                  <a:cubicBezTo>
                    <a:pt x="3381" y="0"/>
                    <a:pt x="3432" y="29"/>
                    <a:pt x="3432" y="76"/>
                  </a:cubicBezTo>
                  <a:lnTo>
                    <a:pt x="3432" y="289"/>
                  </a:lnTo>
                  <a:lnTo>
                    <a:pt x="3432" y="289"/>
                  </a:lnTo>
                  <a:cubicBezTo>
                    <a:pt x="3432" y="311"/>
                    <a:pt x="3420" y="331"/>
                    <a:pt x="3402" y="342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92" name="Freeform 55">
              <a:extLst>
                <a:ext uri="{FF2B5EF4-FFF2-40B4-BE49-F238E27FC236}">
                  <a16:creationId xmlns:a16="http://schemas.microsoft.com/office/drawing/2014/main" id="{C05F6058-F01E-1846-B833-BC1FBC74DB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27876" y="3171215"/>
              <a:ext cx="2243755" cy="1497757"/>
            </a:xfrm>
            <a:custGeom>
              <a:avLst/>
              <a:gdLst>
                <a:gd name="T0" fmla="*/ 3402 w 3433"/>
                <a:gd name="T1" fmla="*/ 342 h 2294"/>
                <a:gd name="T2" fmla="*/ 92 w 3433"/>
                <a:gd name="T3" fmla="*/ 2269 h 2294"/>
                <a:gd name="T4" fmla="*/ 92 w 3433"/>
                <a:gd name="T5" fmla="*/ 2269 h 2294"/>
                <a:gd name="T6" fmla="*/ 0 w 3433"/>
                <a:gd name="T7" fmla="*/ 2217 h 2294"/>
                <a:gd name="T8" fmla="*/ 0 w 3433"/>
                <a:gd name="T9" fmla="*/ 2013 h 2294"/>
                <a:gd name="T10" fmla="*/ 0 w 3433"/>
                <a:gd name="T11" fmla="*/ 2013 h 2294"/>
                <a:gd name="T12" fmla="*/ 31 w 3433"/>
                <a:gd name="T13" fmla="*/ 1960 h 2294"/>
                <a:gd name="T14" fmla="*/ 3341 w 3433"/>
                <a:gd name="T15" fmla="*/ 24 h 2294"/>
                <a:gd name="T16" fmla="*/ 3341 w 3433"/>
                <a:gd name="T17" fmla="*/ 24 h 2294"/>
                <a:gd name="T18" fmla="*/ 3432 w 3433"/>
                <a:gd name="T19" fmla="*/ 77 h 2294"/>
                <a:gd name="T20" fmla="*/ 3432 w 3433"/>
                <a:gd name="T21" fmla="*/ 289 h 2294"/>
                <a:gd name="T22" fmla="*/ 3432 w 3433"/>
                <a:gd name="T23" fmla="*/ 289 h 2294"/>
                <a:gd name="T24" fmla="*/ 3402 w 3433"/>
                <a:gd name="T25" fmla="*/ 342 h 2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33" h="2294">
                  <a:moveTo>
                    <a:pt x="3402" y="342"/>
                  </a:moveTo>
                  <a:lnTo>
                    <a:pt x="92" y="2269"/>
                  </a:lnTo>
                  <a:lnTo>
                    <a:pt x="92" y="2269"/>
                  </a:lnTo>
                  <a:cubicBezTo>
                    <a:pt x="51" y="2293"/>
                    <a:pt x="0" y="2264"/>
                    <a:pt x="0" y="2217"/>
                  </a:cubicBezTo>
                  <a:lnTo>
                    <a:pt x="0" y="2013"/>
                  </a:lnTo>
                  <a:lnTo>
                    <a:pt x="0" y="2013"/>
                  </a:lnTo>
                  <a:cubicBezTo>
                    <a:pt x="0" y="1991"/>
                    <a:pt x="12" y="1971"/>
                    <a:pt x="31" y="1960"/>
                  </a:cubicBezTo>
                  <a:lnTo>
                    <a:pt x="3341" y="24"/>
                  </a:lnTo>
                  <a:lnTo>
                    <a:pt x="3341" y="24"/>
                  </a:lnTo>
                  <a:cubicBezTo>
                    <a:pt x="3381" y="0"/>
                    <a:pt x="3432" y="29"/>
                    <a:pt x="3432" y="77"/>
                  </a:cubicBezTo>
                  <a:lnTo>
                    <a:pt x="3432" y="289"/>
                  </a:lnTo>
                  <a:lnTo>
                    <a:pt x="3432" y="289"/>
                  </a:lnTo>
                  <a:cubicBezTo>
                    <a:pt x="3432" y="311"/>
                    <a:pt x="3420" y="331"/>
                    <a:pt x="3402" y="342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93" name="Freeform 42">
              <a:extLst>
                <a:ext uri="{FF2B5EF4-FFF2-40B4-BE49-F238E27FC236}">
                  <a16:creationId xmlns:a16="http://schemas.microsoft.com/office/drawing/2014/main" id="{BBC184BA-40D3-DE4B-A11D-503FD9D432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27877" y="3492348"/>
              <a:ext cx="2243101" cy="1477302"/>
            </a:xfrm>
            <a:custGeom>
              <a:avLst/>
              <a:gdLst>
                <a:gd name="connsiteX0" fmla="*/ 554963 w 2243101"/>
                <a:gd name="connsiteY0" fmla="*/ 964193 h 1477302"/>
                <a:gd name="connsiteX1" fmla="*/ 592689 w 2243101"/>
                <a:gd name="connsiteY1" fmla="*/ 1002393 h 1477302"/>
                <a:gd name="connsiteX2" fmla="*/ 592689 w 2243101"/>
                <a:gd name="connsiteY2" fmla="*/ 1128767 h 1477302"/>
                <a:gd name="connsiteX3" fmla="*/ 563969 w 2243101"/>
                <a:gd name="connsiteY3" fmla="*/ 1178926 h 1477302"/>
                <a:gd name="connsiteX4" fmla="*/ 60052 w 2243101"/>
                <a:gd name="connsiteY4" fmla="*/ 1472062 h 1477302"/>
                <a:gd name="connsiteX5" fmla="*/ 0 w 2243101"/>
                <a:gd name="connsiteY5" fmla="*/ 1437537 h 1477302"/>
                <a:gd name="connsiteX6" fmla="*/ 0 w 2243101"/>
                <a:gd name="connsiteY6" fmla="*/ 1304649 h 1477302"/>
                <a:gd name="connsiteX7" fmla="*/ 20235 w 2243101"/>
                <a:gd name="connsiteY7" fmla="*/ 1270124 h 1477302"/>
                <a:gd name="connsiteX8" fmla="*/ 535248 w 2243101"/>
                <a:gd name="connsiteY8" fmla="*/ 969170 h 1477302"/>
                <a:gd name="connsiteX9" fmla="*/ 554963 w 2243101"/>
                <a:gd name="connsiteY9" fmla="*/ 964193 h 1477302"/>
                <a:gd name="connsiteX10" fmla="*/ 2203940 w 2243101"/>
                <a:gd name="connsiteY10" fmla="*/ 1 h 1477302"/>
                <a:gd name="connsiteX11" fmla="*/ 2243101 w 2243101"/>
                <a:gd name="connsiteY11" fmla="*/ 40227 h 1477302"/>
                <a:gd name="connsiteX12" fmla="*/ 2243101 w 2243101"/>
                <a:gd name="connsiteY12" fmla="*/ 179336 h 1477302"/>
                <a:gd name="connsiteX13" fmla="*/ 2223490 w 2243101"/>
                <a:gd name="connsiteY13" fmla="*/ 213296 h 1477302"/>
                <a:gd name="connsiteX14" fmla="*/ 702324 w 2243101"/>
                <a:gd name="connsiteY14" fmla="*/ 1098889 h 1477302"/>
                <a:gd name="connsiteX15" fmla="*/ 648067 w 2243101"/>
                <a:gd name="connsiteY15" fmla="*/ 1066888 h 1477302"/>
                <a:gd name="connsiteX16" fmla="*/ 648067 w 2243101"/>
                <a:gd name="connsiteY16" fmla="*/ 936922 h 1477302"/>
                <a:gd name="connsiteX17" fmla="*/ 677484 w 2243101"/>
                <a:gd name="connsiteY17" fmla="*/ 885981 h 1477302"/>
                <a:gd name="connsiteX18" fmla="*/ 2183614 w 2243101"/>
                <a:gd name="connsiteY18" fmla="*/ 5613 h 1477302"/>
                <a:gd name="connsiteX19" fmla="*/ 2203940 w 2243101"/>
                <a:gd name="connsiteY19" fmla="*/ 1 h 1477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243101" h="1477302">
                  <a:moveTo>
                    <a:pt x="554963" y="964193"/>
                  </a:moveTo>
                  <a:cubicBezTo>
                    <a:pt x="574698" y="964651"/>
                    <a:pt x="592689" y="980407"/>
                    <a:pt x="592689" y="1002393"/>
                  </a:cubicBezTo>
                  <a:lnTo>
                    <a:pt x="592689" y="1128767"/>
                  </a:lnTo>
                  <a:cubicBezTo>
                    <a:pt x="592689" y="1149612"/>
                    <a:pt x="581593" y="1168503"/>
                    <a:pt x="563969" y="1178926"/>
                  </a:cubicBezTo>
                  <a:lnTo>
                    <a:pt x="60052" y="1472062"/>
                  </a:lnTo>
                  <a:cubicBezTo>
                    <a:pt x="33290" y="1487045"/>
                    <a:pt x="0" y="1468154"/>
                    <a:pt x="0" y="1437537"/>
                  </a:cubicBezTo>
                  <a:lnTo>
                    <a:pt x="0" y="1304649"/>
                  </a:lnTo>
                  <a:cubicBezTo>
                    <a:pt x="0" y="1290318"/>
                    <a:pt x="7833" y="1277289"/>
                    <a:pt x="20235" y="1270124"/>
                  </a:cubicBezTo>
                  <a:lnTo>
                    <a:pt x="535248" y="969170"/>
                  </a:lnTo>
                  <a:cubicBezTo>
                    <a:pt x="541612" y="965588"/>
                    <a:pt x="548384" y="964040"/>
                    <a:pt x="554963" y="964193"/>
                  </a:cubicBezTo>
                  <a:close/>
                  <a:moveTo>
                    <a:pt x="2203940" y="1"/>
                  </a:moveTo>
                  <a:cubicBezTo>
                    <a:pt x="2224348" y="184"/>
                    <a:pt x="2243101" y="16716"/>
                    <a:pt x="2243101" y="40227"/>
                  </a:cubicBezTo>
                  <a:lnTo>
                    <a:pt x="2243101" y="179336"/>
                  </a:lnTo>
                  <a:cubicBezTo>
                    <a:pt x="2243101" y="193050"/>
                    <a:pt x="2235257" y="206112"/>
                    <a:pt x="2223490" y="213296"/>
                  </a:cubicBezTo>
                  <a:lnTo>
                    <a:pt x="702324" y="1098889"/>
                  </a:lnTo>
                  <a:cubicBezTo>
                    <a:pt x="678137" y="1112604"/>
                    <a:pt x="648067" y="1094971"/>
                    <a:pt x="648067" y="1066888"/>
                  </a:cubicBezTo>
                  <a:lnTo>
                    <a:pt x="648067" y="936922"/>
                  </a:lnTo>
                  <a:cubicBezTo>
                    <a:pt x="648067" y="916023"/>
                    <a:pt x="659180" y="896430"/>
                    <a:pt x="677484" y="885981"/>
                  </a:cubicBezTo>
                  <a:lnTo>
                    <a:pt x="2183614" y="5613"/>
                  </a:lnTo>
                  <a:cubicBezTo>
                    <a:pt x="2190151" y="1695"/>
                    <a:pt x="2197138" y="-61"/>
                    <a:pt x="2203940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94" name="Freeform 58">
              <a:extLst>
                <a:ext uri="{FF2B5EF4-FFF2-40B4-BE49-F238E27FC236}">
                  <a16:creationId xmlns:a16="http://schemas.microsoft.com/office/drawing/2014/main" id="{B8160152-1F63-0F42-B606-9000E8088D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27876" y="3796240"/>
              <a:ext cx="2243755" cy="1497757"/>
            </a:xfrm>
            <a:custGeom>
              <a:avLst/>
              <a:gdLst>
                <a:gd name="T0" fmla="*/ 3402 w 3433"/>
                <a:gd name="T1" fmla="*/ 342 h 2294"/>
                <a:gd name="T2" fmla="*/ 92 w 3433"/>
                <a:gd name="T3" fmla="*/ 2270 h 2294"/>
                <a:gd name="T4" fmla="*/ 92 w 3433"/>
                <a:gd name="T5" fmla="*/ 2270 h 2294"/>
                <a:gd name="T6" fmla="*/ 0 w 3433"/>
                <a:gd name="T7" fmla="*/ 2217 h 2294"/>
                <a:gd name="T8" fmla="*/ 0 w 3433"/>
                <a:gd name="T9" fmla="*/ 2013 h 2294"/>
                <a:gd name="T10" fmla="*/ 0 w 3433"/>
                <a:gd name="T11" fmla="*/ 2013 h 2294"/>
                <a:gd name="T12" fmla="*/ 31 w 3433"/>
                <a:gd name="T13" fmla="*/ 1960 h 2294"/>
                <a:gd name="T14" fmla="*/ 3341 w 3433"/>
                <a:gd name="T15" fmla="*/ 24 h 2294"/>
                <a:gd name="T16" fmla="*/ 3341 w 3433"/>
                <a:gd name="T17" fmla="*/ 24 h 2294"/>
                <a:gd name="T18" fmla="*/ 3432 w 3433"/>
                <a:gd name="T19" fmla="*/ 77 h 2294"/>
                <a:gd name="T20" fmla="*/ 3432 w 3433"/>
                <a:gd name="T21" fmla="*/ 290 h 2294"/>
                <a:gd name="T22" fmla="*/ 3432 w 3433"/>
                <a:gd name="T23" fmla="*/ 290 h 2294"/>
                <a:gd name="T24" fmla="*/ 3402 w 3433"/>
                <a:gd name="T25" fmla="*/ 342 h 2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33" h="2294">
                  <a:moveTo>
                    <a:pt x="3402" y="342"/>
                  </a:moveTo>
                  <a:lnTo>
                    <a:pt x="92" y="2270"/>
                  </a:lnTo>
                  <a:lnTo>
                    <a:pt x="92" y="2270"/>
                  </a:lnTo>
                  <a:cubicBezTo>
                    <a:pt x="51" y="2293"/>
                    <a:pt x="0" y="2264"/>
                    <a:pt x="0" y="2217"/>
                  </a:cubicBezTo>
                  <a:lnTo>
                    <a:pt x="0" y="2013"/>
                  </a:lnTo>
                  <a:lnTo>
                    <a:pt x="0" y="2013"/>
                  </a:lnTo>
                  <a:cubicBezTo>
                    <a:pt x="0" y="1991"/>
                    <a:pt x="12" y="1971"/>
                    <a:pt x="31" y="1960"/>
                  </a:cubicBezTo>
                  <a:lnTo>
                    <a:pt x="3341" y="24"/>
                  </a:lnTo>
                  <a:lnTo>
                    <a:pt x="3341" y="24"/>
                  </a:lnTo>
                  <a:cubicBezTo>
                    <a:pt x="3381" y="0"/>
                    <a:pt x="3432" y="30"/>
                    <a:pt x="3432" y="77"/>
                  </a:cubicBezTo>
                  <a:lnTo>
                    <a:pt x="3432" y="290"/>
                  </a:lnTo>
                  <a:lnTo>
                    <a:pt x="3432" y="290"/>
                  </a:lnTo>
                  <a:cubicBezTo>
                    <a:pt x="3432" y="311"/>
                    <a:pt x="3420" y="331"/>
                    <a:pt x="3402" y="342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95" name="Freeform 44">
              <a:extLst>
                <a:ext uri="{FF2B5EF4-FFF2-40B4-BE49-F238E27FC236}">
                  <a16:creationId xmlns:a16="http://schemas.microsoft.com/office/drawing/2014/main" id="{92F57B4E-AD25-A54D-BFF4-DD0F47CA89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27877" y="4117434"/>
              <a:ext cx="2243099" cy="1477208"/>
            </a:xfrm>
            <a:custGeom>
              <a:avLst/>
              <a:gdLst>
                <a:gd name="connsiteX0" fmla="*/ 1682820 w 2243099"/>
                <a:gd name="connsiteY0" fmla="*/ 293738 h 1477208"/>
                <a:gd name="connsiteX1" fmla="*/ 1710247 w 2243099"/>
                <a:gd name="connsiteY1" fmla="*/ 309422 h 1477208"/>
                <a:gd name="connsiteX2" fmla="*/ 1710247 w 2243099"/>
                <a:gd name="connsiteY2" fmla="*/ 472790 h 1477208"/>
                <a:gd name="connsiteX3" fmla="*/ 1680208 w 2243099"/>
                <a:gd name="connsiteY3" fmla="*/ 525068 h 1477208"/>
                <a:gd name="connsiteX4" fmla="*/ 60077 w 2243099"/>
                <a:gd name="connsiteY4" fmla="*/ 1471952 h 1477208"/>
                <a:gd name="connsiteX5" fmla="*/ 0 w 2243099"/>
                <a:gd name="connsiteY5" fmla="*/ 1437318 h 1477208"/>
                <a:gd name="connsiteX6" fmla="*/ 0 w 2243099"/>
                <a:gd name="connsiteY6" fmla="*/ 1304009 h 1477208"/>
                <a:gd name="connsiteX7" fmla="*/ 20243 w 2243099"/>
                <a:gd name="connsiteY7" fmla="*/ 1269375 h 1477208"/>
                <a:gd name="connsiteX8" fmla="*/ 2203873 w 2243099"/>
                <a:gd name="connsiteY8" fmla="*/ 5 h 1477208"/>
                <a:gd name="connsiteX9" fmla="*/ 2243099 w 2243099"/>
                <a:gd name="connsiteY9" fmla="*/ 40036 h 1477208"/>
                <a:gd name="connsiteX10" fmla="*/ 2243099 w 2243099"/>
                <a:gd name="connsiteY10" fmla="*/ 178785 h 1477208"/>
                <a:gd name="connsiteX11" fmla="*/ 2223455 w 2243099"/>
                <a:gd name="connsiteY11" fmla="*/ 212658 h 1477208"/>
                <a:gd name="connsiteX12" fmla="*/ 1803734 w 2243099"/>
                <a:gd name="connsiteY12" fmla="*/ 456283 h 1477208"/>
                <a:gd name="connsiteX13" fmla="*/ 1759863 w 2243099"/>
                <a:gd name="connsiteY13" fmla="*/ 431530 h 1477208"/>
                <a:gd name="connsiteX14" fmla="*/ 1759863 w 2243099"/>
                <a:gd name="connsiteY14" fmla="*/ 286918 h 1477208"/>
                <a:gd name="connsiteX15" fmla="*/ 1790638 w 2243099"/>
                <a:gd name="connsiteY15" fmla="*/ 234805 h 1477208"/>
                <a:gd name="connsiteX16" fmla="*/ 2183513 w 2243099"/>
                <a:gd name="connsiteY16" fmla="*/ 5512 h 1477208"/>
                <a:gd name="connsiteX17" fmla="*/ 2203873 w 2243099"/>
                <a:gd name="connsiteY17" fmla="*/ 5 h 1477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43099" h="1477208">
                  <a:moveTo>
                    <a:pt x="1682820" y="293738"/>
                  </a:moveTo>
                  <a:cubicBezTo>
                    <a:pt x="1695228" y="286550"/>
                    <a:pt x="1710247" y="295699"/>
                    <a:pt x="1710247" y="309422"/>
                  </a:cubicBezTo>
                  <a:lnTo>
                    <a:pt x="1710247" y="472790"/>
                  </a:lnTo>
                  <a:cubicBezTo>
                    <a:pt x="1710247" y="494355"/>
                    <a:pt x="1699146" y="513959"/>
                    <a:pt x="1680208" y="525068"/>
                  </a:cubicBezTo>
                  <a:lnTo>
                    <a:pt x="60077" y="1471952"/>
                  </a:lnTo>
                  <a:cubicBezTo>
                    <a:pt x="33304" y="1486982"/>
                    <a:pt x="0" y="1468031"/>
                    <a:pt x="0" y="1437318"/>
                  </a:cubicBezTo>
                  <a:lnTo>
                    <a:pt x="0" y="1304009"/>
                  </a:lnTo>
                  <a:cubicBezTo>
                    <a:pt x="0" y="1289633"/>
                    <a:pt x="7836" y="1276563"/>
                    <a:pt x="20243" y="1269375"/>
                  </a:cubicBezTo>
                  <a:close/>
                  <a:moveTo>
                    <a:pt x="2203873" y="5"/>
                  </a:moveTo>
                  <a:cubicBezTo>
                    <a:pt x="2224315" y="341"/>
                    <a:pt x="2243099" y="17074"/>
                    <a:pt x="2243099" y="40036"/>
                  </a:cubicBezTo>
                  <a:lnTo>
                    <a:pt x="2243099" y="178785"/>
                  </a:lnTo>
                  <a:cubicBezTo>
                    <a:pt x="2243099" y="193116"/>
                    <a:pt x="2235242" y="206144"/>
                    <a:pt x="2223455" y="212658"/>
                  </a:cubicBezTo>
                  <a:lnTo>
                    <a:pt x="1803734" y="456283"/>
                  </a:lnTo>
                  <a:cubicBezTo>
                    <a:pt x="1784090" y="467357"/>
                    <a:pt x="1759863" y="453677"/>
                    <a:pt x="1759863" y="431530"/>
                  </a:cubicBezTo>
                  <a:lnTo>
                    <a:pt x="1759863" y="286918"/>
                  </a:lnTo>
                  <a:cubicBezTo>
                    <a:pt x="1759863" y="265421"/>
                    <a:pt x="1772304" y="245228"/>
                    <a:pt x="1790638" y="234805"/>
                  </a:cubicBezTo>
                  <a:lnTo>
                    <a:pt x="2183513" y="5512"/>
                  </a:lnTo>
                  <a:cubicBezTo>
                    <a:pt x="2190061" y="1603"/>
                    <a:pt x="2197059" y="-107"/>
                    <a:pt x="2203873" y="5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96" name="Freeform 61">
              <a:extLst>
                <a:ext uri="{FF2B5EF4-FFF2-40B4-BE49-F238E27FC236}">
                  <a16:creationId xmlns:a16="http://schemas.microsoft.com/office/drawing/2014/main" id="{421FBABC-443C-724B-960A-508E16FD2E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27876" y="4418385"/>
              <a:ext cx="2243755" cy="1497757"/>
            </a:xfrm>
            <a:custGeom>
              <a:avLst/>
              <a:gdLst>
                <a:gd name="T0" fmla="*/ 3402 w 3433"/>
                <a:gd name="T1" fmla="*/ 342 h 2294"/>
                <a:gd name="T2" fmla="*/ 92 w 3433"/>
                <a:gd name="T3" fmla="*/ 2270 h 2294"/>
                <a:gd name="T4" fmla="*/ 92 w 3433"/>
                <a:gd name="T5" fmla="*/ 2270 h 2294"/>
                <a:gd name="T6" fmla="*/ 0 w 3433"/>
                <a:gd name="T7" fmla="*/ 2217 h 2294"/>
                <a:gd name="T8" fmla="*/ 0 w 3433"/>
                <a:gd name="T9" fmla="*/ 2013 h 2294"/>
                <a:gd name="T10" fmla="*/ 0 w 3433"/>
                <a:gd name="T11" fmla="*/ 2013 h 2294"/>
                <a:gd name="T12" fmla="*/ 31 w 3433"/>
                <a:gd name="T13" fmla="*/ 1960 h 2294"/>
                <a:gd name="T14" fmla="*/ 3341 w 3433"/>
                <a:gd name="T15" fmla="*/ 24 h 2294"/>
                <a:gd name="T16" fmla="*/ 3341 w 3433"/>
                <a:gd name="T17" fmla="*/ 24 h 2294"/>
                <a:gd name="T18" fmla="*/ 3432 w 3433"/>
                <a:gd name="T19" fmla="*/ 77 h 2294"/>
                <a:gd name="T20" fmla="*/ 3432 w 3433"/>
                <a:gd name="T21" fmla="*/ 290 h 2294"/>
                <a:gd name="T22" fmla="*/ 3432 w 3433"/>
                <a:gd name="T23" fmla="*/ 290 h 2294"/>
                <a:gd name="T24" fmla="*/ 3402 w 3433"/>
                <a:gd name="T25" fmla="*/ 342 h 2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33" h="2294">
                  <a:moveTo>
                    <a:pt x="3402" y="342"/>
                  </a:moveTo>
                  <a:lnTo>
                    <a:pt x="92" y="2270"/>
                  </a:lnTo>
                  <a:lnTo>
                    <a:pt x="92" y="2270"/>
                  </a:lnTo>
                  <a:cubicBezTo>
                    <a:pt x="51" y="2293"/>
                    <a:pt x="0" y="2264"/>
                    <a:pt x="0" y="2217"/>
                  </a:cubicBezTo>
                  <a:lnTo>
                    <a:pt x="0" y="2013"/>
                  </a:lnTo>
                  <a:lnTo>
                    <a:pt x="0" y="2013"/>
                  </a:lnTo>
                  <a:cubicBezTo>
                    <a:pt x="0" y="1992"/>
                    <a:pt x="12" y="1972"/>
                    <a:pt x="31" y="1960"/>
                  </a:cubicBezTo>
                  <a:lnTo>
                    <a:pt x="3341" y="24"/>
                  </a:lnTo>
                  <a:lnTo>
                    <a:pt x="3341" y="24"/>
                  </a:lnTo>
                  <a:cubicBezTo>
                    <a:pt x="3381" y="0"/>
                    <a:pt x="3432" y="30"/>
                    <a:pt x="3432" y="77"/>
                  </a:cubicBezTo>
                  <a:lnTo>
                    <a:pt x="3432" y="290"/>
                  </a:lnTo>
                  <a:lnTo>
                    <a:pt x="3432" y="290"/>
                  </a:lnTo>
                  <a:cubicBezTo>
                    <a:pt x="3432" y="312"/>
                    <a:pt x="3420" y="332"/>
                    <a:pt x="3402" y="342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97" name="Freeform 62">
              <a:extLst>
                <a:ext uri="{FF2B5EF4-FFF2-40B4-BE49-F238E27FC236}">
                  <a16:creationId xmlns:a16="http://schemas.microsoft.com/office/drawing/2014/main" id="{997E1A53-FC46-524A-81E8-00663450C7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25270" y="2848622"/>
              <a:ext cx="34564" cy="72007"/>
            </a:xfrm>
            <a:custGeom>
              <a:avLst/>
              <a:gdLst>
                <a:gd name="T0" fmla="*/ 25 w 52"/>
                <a:gd name="T1" fmla="*/ 9 h 112"/>
                <a:gd name="T2" fmla="*/ 25 w 52"/>
                <a:gd name="T3" fmla="*/ 9 h 112"/>
                <a:gd name="T4" fmla="*/ 51 w 52"/>
                <a:gd name="T5" fmla="*/ 40 h 112"/>
                <a:gd name="T6" fmla="*/ 51 w 52"/>
                <a:gd name="T7" fmla="*/ 40 h 112"/>
                <a:gd name="T8" fmla="*/ 25 w 52"/>
                <a:gd name="T9" fmla="*/ 102 h 112"/>
                <a:gd name="T10" fmla="*/ 25 w 52"/>
                <a:gd name="T11" fmla="*/ 102 h 112"/>
                <a:gd name="T12" fmla="*/ 0 w 52"/>
                <a:gd name="T13" fmla="*/ 71 h 112"/>
                <a:gd name="T14" fmla="*/ 0 w 52"/>
                <a:gd name="T15" fmla="*/ 71 h 112"/>
                <a:gd name="T16" fmla="*/ 25 w 52"/>
                <a:gd name="T17" fmla="*/ 9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" h="112">
                  <a:moveTo>
                    <a:pt x="25" y="9"/>
                  </a:moveTo>
                  <a:lnTo>
                    <a:pt x="25" y="9"/>
                  </a:lnTo>
                  <a:cubicBezTo>
                    <a:pt x="39" y="0"/>
                    <a:pt x="51" y="14"/>
                    <a:pt x="51" y="40"/>
                  </a:cubicBezTo>
                  <a:lnTo>
                    <a:pt x="51" y="40"/>
                  </a:lnTo>
                  <a:cubicBezTo>
                    <a:pt x="51" y="66"/>
                    <a:pt x="39" y="93"/>
                    <a:pt x="25" y="102"/>
                  </a:cubicBezTo>
                  <a:lnTo>
                    <a:pt x="25" y="102"/>
                  </a:lnTo>
                  <a:cubicBezTo>
                    <a:pt x="11" y="111"/>
                    <a:pt x="0" y="97"/>
                    <a:pt x="0" y="71"/>
                  </a:cubicBezTo>
                  <a:lnTo>
                    <a:pt x="0" y="71"/>
                  </a:lnTo>
                  <a:cubicBezTo>
                    <a:pt x="0" y="46"/>
                    <a:pt x="11" y="18"/>
                    <a:pt x="25" y="9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98" name="Freeform 47">
              <a:extLst>
                <a:ext uri="{FF2B5EF4-FFF2-40B4-BE49-F238E27FC236}">
                  <a16:creationId xmlns:a16="http://schemas.microsoft.com/office/drawing/2014/main" id="{3539A93D-B3F9-2041-81A6-6E5CF6DC00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46021" y="4935726"/>
              <a:ext cx="3296788" cy="1960491"/>
            </a:xfrm>
            <a:custGeom>
              <a:avLst/>
              <a:gdLst>
                <a:gd name="connsiteX0" fmla="*/ 883514 w 3296788"/>
                <a:gd name="connsiteY0" fmla="*/ 1817173 h 1960491"/>
                <a:gd name="connsiteX1" fmla="*/ 899862 w 3296788"/>
                <a:gd name="connsiteY1" fmla="*/ 1820927 h 1960491"/>
                <a:gd name="connsiteX2" fmla="*/ 986398 w 3296788"/>
                <a:gd name="connsiteY2" fmla="*/ 1869893 h 1960491"/>
                <a:gd name="connsiteX3" fmla="*/ 986398 w 3296788"/>
                <a:gd name="connsiteY3" fmla="*/ 1901883 h 1960491"/>
                <a:gd name="connsiteX4" fmla="*/ 893355 w 3296788"/>
                <a:gd name="connsiteY4" fmla="*/ 1955419 h 1960491"/>
                <a:gd name="connsiteX5" fmla="*/ 860172 w 3296788"/>
                <a:gd name="connsiteY5" fmla="*/ 1956724 h 1960491"/>
                <a:gd name="connsiteX6" fmla="*/ 775588 w 3296788"/>
                <a:gd name="connsiteY6" fmla="*/ 1908412 h 1960491"/>
                <a:gd name="connsiteX7" fmla="*/ 775588 w 3296788"/>
                <a:gd name="connsiteY7" fmla="*/ 1876421 h 1960491"/>
                <a:gd name="connsiteX8" fmla="*/ 866679 w 3296788"/>
                <a:gd name="connsiteY8" fmla="*/ 1822233 h 1960491"/>
                <a:gd name="connsiteX9" fmla="*/ 883514 w 3296788"/>
                <a:gd name="connsiteY9" fmla="*/ 1817173 h 1960491"/>
                <a:gd name="connsiteX10" fmla="*/ 1076253 w 3296788"/>
                <a:gd name="connsiteY10" fmla="*/ 1705153 h 1960491"/>
                <a:gd name="connsiteX11" fmla="*/ 1092844 w 3296788"/>
                <a:gd name="connsiteY11" fmla="*/ 1709197 h 1960491"/>
                <a:gd name="connsiteX12" fmla="*/ 1179380 w 3296788"/>
                <a:gd name="connsiteY12" fmla="*/ 1757084 h 1960491"/>
                <a:gd name="connsiteX13" fmla="*/ 1178729 w 3296788"/>
                <a:gd name="connsiteY13" fmla="*/ 1788145 h 1960491"/>
                <a:gd name="connsiteX14" fmla="*/ 1086337 w 3296788"/>
                <a:gd name="connsiteY14" fmla="*/ 1843150 h 1960491"/>
                <a:gd name="connsiteX15" fmla="*/ 1053154 w 3296788"/>
                <a:gd name="connsiteY15" fmla="*/ 1843150 h 1960491"/>
                <a:gd name="connsiteX16" fmla="*/ 968570 w 3296788"/>
                <a:gd name="connsiteY16" fmla="*/ 1795264 h 1960491"/>
                <a:gd name="connsiteX17" fmla="*/ 968570 w 3296788"/>
                <a:gd name="connsiteY17" fmla="*/ 1763555 h 1960491"/>
                <a:gd name="connsiteX18" fmla="*/ 1059661 w 3296788"/>
                <a:gd name="connsiteY18" fmla="*/ 1709844 h 1960491"/>
                <a:gd name="connsiteX19" fmla="*/ 1076253 w 3296788"/>
                <a:gd name="connsiteY19" fmla="*/ 1705153 h 1960491"/>
                <a:gd name="connsiteX20" fmla="*/ 693747 w 3296788"/>
                <a:gd name="connsiteY20" fmla="*/ 1699148 h 1960491"/>
                <a:gd name="connsiteX21" fmla="*/ 710139 w 3296788"/>
                <a:gd name="connsiteY21" fmla="*/ 1703435 h 1960491"/>
                <a:gd name="connsiteX22" fmla="*/ 796915 w 3296788"/>
                <a:gd name="connsiteY22" fmla="*/ 1751969 h 1960491"/>
                <a:gd name="connsiteX23" fmla="*/ 796262 w 3296788"/>
                <a:gd name="connsiteY23" fmla="*/ 1783030 h 1960491"/>
                <a:gd name="connsiteX24" fmla="*/ 703615 w 3296788"/>
                <a:gd name="connsiteY24" fmla="*/ 1837388 h 1960491"/>
                <a:gd name="connsiteX25" fmla="*/ 670340 w 3296788"/>
                <a:gd name="connsiteY25" fmla="*/ 1838035 h 1960491"/>
                <a:gd name="connsiteX26" fmla="*/ 584870 w 3296788"/>
                <a:gd name="connsiteY26" fmla="*/ 1789502 h 1960491"/>
                <a:gd name="connsiteX27" fmla="*/ 584870 w 3296788"/>
                <a:gd name="connsiteY27" fmla="*/ 1758440 h 1960491"/>
                <a:gd name="connsiteX28" fmla="*/ 676865 w 3296788"/>
                <a:gd name="connsiteY28" fmla="*/ 1704082 h 1960491"/>
                <a:gd name="connsiteX29" fmla="*/ 693747 w 3296788"/>
                <a:gd name="connsiteY29" fmla="*/ 1699148 h 1960491"/>
                <a:gd name="connsiteX30" fmla="*/ 1266684 w 3296788"/>
                <a:gd name="connsiteY30" fmla="*/ 1589704 h 1960491"/>
                <a:gd name="connsiteX31" fmla="*/ 1283321 w 3296788"/>
                <a:gd name="connsiteY31" fmla="*/ 1594010 h 1960491"/>
                <a:gd name="connsiteX32" fmla="*/ 1370097 w 3296788"/>
                <a:gd name="connsiteY32" fmla="*/ 1642108 h 1960491"/>
                <a:gd name="connsiteX33" fmla="*/ 1369444 w 3296788"/>
                <a:gd name="connsiteY33" fmla="*/ 1673957 h 1960491"/>
                <a:gd name="connsiteX34" fmla="*/ 1276797 w 3296788"/>
                <a:gd name="connsiteY34" fmla="*/ 1728555 h 1960491"/>
                <a:gd name="connsiteX35" fmla="*/ 1242870 w 3296788"/>
                <a:gd name="connsiteY35" fmla="*/ 1729205 h 1960491"/>
                <a:gd name="connsiteX36" fmla="*/ 1158052 w 3296788"/>
                <a:gd name="connsiteY36" fmla="*/ 1680457 h 1960491"/>
                <a:gd name="connsiteX37" fmla="*/ 1158052 w 3296788"/>
                <a:gd name="connsiteY37" fmla="*/ 1649258 h 1960491"/>
                <a:gd name="connsiteX38" fmla="*/ 1250047 w 3296788"/>
                <a:gd name="connsiteY38" fmla="*/ 1594660 h 1960491"/>
                <a:gd name="connsiteX39" fmla="*/ 1266684 w 3296788"/>
                <a:gd name="connsiteY39" fmla="*/ 1589704 h 1960491"/>
                <a:gd name="connsiteX40" fmla="*/ 883514 w 3296788"/>
                <a:gd name="connsiteY40" fmla="*/ 1586662 h 1960491"/>
                <a:gd name="connsiteX41" fmla="*/ 899862 w 3296788"/>
                <a:gd name="connsiteY41" fmla="*/ 1590480 h 1960491"/>
                <a:gd name="connsiteX42" fmla="*/ 986398 w 3296788"/>
                <a:gd name="connsiteY42" fmla="*/ 1639229 h 1960491"/>
                <a:gd name="connsiteX43" fmla="*/ 986398 w 3296788"/>
                <a:gd name="connsiteY43" fmla="*/ 1670428 h 1960491"/>
                <a:gd name="connsiteX44" fmla="*/ 893355 w 3296788"/>
                <a:gd name="connsiteY44" fmla="*/ 1725026 h 1960491"/>
                <a:gd name="connsiteX45" fmla="*/ 860172 w 3296788"/>
                <a:gd name="connsiteY45" fmla="*/ 1725676 h 1960491"/>
                <a:gd name="connsiteX46" fmla="*/ 775588 w 3296788"/>
                <a:gd name="connsiteY46" fmla="*/ 1676928 h 1960491"/>
                <a:gd name="connsiteX47" fmla="*/ 775588 w 3296788"/>
                <a:gd name="connsiteY47" fmla="*/ 1645729 h 1960491"/>
                <a:gd name="connsiteX48" fmla="*/ 866679 w 3296788"/>
                <a:gd name="connsiteY48" fmla="*/ 1591130 h 1960491"/>
                <a:gd name="connsiteX49" fmla="*/ 883514 w 3296788"/>
                <a:gd name="connsiteY49" fmla="*/ 1586662 h 1960491"/>
                <a:gd name="connsiteX50" fmla="*/ 500433 w 3296788"/>
                <a:gd name="connsiteY50" fmla="*/ 1581063 h 1960491"/>
                <a:gd name="connsiteX51" fmla="*/ 516781 w 3296788"/>
                <a:gd name="connsiteY51" fmla="*/ 1585369 h 1960491"/>
                <a:gd name="connsiteX52" fmla="*/ 603317 w 3296788"/>
                <a:gd name="connsiteY52" fmla="*/ 1633468 h 1960491"/>
                <a:gd name="connsiteX53" fmla="*/ 602666 w 3296788"/>
                <a:gd name="connsiteY53" fmla="*/ 1665317 h 1960491"/>
                <a:gd name="connsiteX54" fmla="*/ 510274 w 3296788"/>
                <a:gd name="connsiteY54" fmla="*/ 1719915 h 1960491"/>
                <a:gd name="connsiteX55" fmla="*/ 477091 w 3296788"/>
                <a:gd name="connsiteY55" fmla="*/ 1719915 h 1960491"/>
                <a:gd name="connsiteX56" fmla="*/ 392507 w 3296788"/>
                <a:gd name="connsiteY56" fmla="*/ 1671817 h 1960491"/>
                <a:gd name="connsiteX57" fmla="*/ 392507 w 3296788"/>
                <a:gd name="connsiteY57" fmla="*/ 1639968 h 1960491"/>
                <a:gd name="connsiteX58" fmla="*/ 483598 w 3296788"/>
                <a:gd name="connsiteY58" fmla="*/ 1586019 h 1960491"/>
                <a:gd name="connsiteX59" fmla="*/ 500433 w 3296788"/>
                <a:gd name="connsiteY59" fmla="*/ 1581063 h 1960491"/>
                <a:gd name="connsiteX60" fmla="*/ 1076251 w 3296788"/>
                <a:gd name="connsiteY60" fmla="*/ 1471929 h 1960491"/>
                <a:gd name="connsiteX61" fmla="*/ 1092842 w 3296788"/>
                <a:gd name="connsiteY61" fmla="*/ 1476539 h 1960491"/>
                <a:gd name="connsiteX62" fmla="*/ 1179378 w 3296788"/>
                <a:gd name="connsiteY62" fmla="*/ 1524426 h 1960491"/>
                <a:gd name="connsiteX63" fmla="*/ 1178727 w 3296788"/>
                <a:gd name="connsiteY63" fmla="*/ 1556135 h 1960491"/>
                <a:gd name="connsiteX64" fmla="*/ 1086335 w 3296788"/>
                <a:gd name="connsiteY64" fmla="*/ 1610493 h 1960491"/>
                <a:gd name="connsiteX65" fmla="*/ 1053152 w 3296788"/>
                <a:gd name="connsiteY65" fmla="*/ 1610493 h 1960491"/>
                <a:gd name="connsiteX66" fmla="*/ 968568 w 3296788"/>
                <a:gd name="connsiteY66" fmla="*/ 1562606 h 1960491"/>
                <a:gd name="connsiteX67" fmla="*/ 968568 w 3296788"/>
                <a:gd name="connsiteY67" fmla="*/ 1530897 h 1960491"/>
                <a:gd name="connsiteX68" fmla="*/ 1059659 w 3296788"/>
                <a:gd name="connsiteY68" fmla="*/ 1476539 h 1960491"/>
                <a:gd name="connsiteX69" fmla="*/ 1076251 w 3296788"/>
                <a:gd name="connsiteY69" fmla="*/ 1471929 h 1960491"/>
                <a:gd name="connsiteX70" fmla="*/ 693747 w 3296788"/>
                <a:gd name="connsiteY70" fmla="*/ 1468975 h 1960491"/>
                <a:gd name="connsiteX71" fmla="*/ 710139 w 3296788"/>
                <a:gd name="connsiteY71" fmla="*/ 1473037 h 1960491"/>
                <a:gd name="connsiteX72" fmla="*/ 796915 w 3296788"/>
                <a:gd name="connsiteY72" fmla="*/ 1521135 h 1960491"/>
                <a:gd name="connsiteX73" fmla="*/ 796262 w 3296788"/>
                <a:gd name="connsiteY73" fmla="*/ 1552984 h 1960491"/>
                <a:gd name="connsiteX74" fmla="*/ 703615 w 3296788"/>
                <a:gd name="connsiteY74" fmla="*/ 1606932 h 1960491"/>
                <a:gd name="connsiteX75" fmla="*/ 670340 w 3296788"/>
                <a:gd name="connsiteY75" fmla="*/ 1607582 h 1960491"/>
                <a:gd name="connsiteX76" fmla="*/ 584870 w 3296788"/>
                <a:gd name="connsiteY76" fmla="*/ 1559484 h 1960491"/>
                <a:gd name="connsiteX77" fmla="*/ 584870 w 3296788"/>
                <a:gd name="connsiteY77" fmla="*/ 1527635 h 1960491"/>
                <a:gd name="connsiteX78" fmla="*/ 676865 w 3296788"/>
                <a:gd name="connsiteY78" fmla="*/ 1473687 h 1960491"/>
                <a:gd name="connsiteX79" fmla="*/ 693747 w 3296788"/>
                <a:gd name="connsiteY79" fmla="*/ 1468975 h 1960491"/>
                <a:gd name="connsiteX80" fmla="*/ 307453 w 3296788"/>
                <a:gd name="connsiteY80" fmla="*/ 1463207 h 1960491"/>
                <a:gd name="connsiteX81" fmla="*/ 323801 w 3296788"/>
                <a:gd name="connsiteY81" fmla="*/ 1467251 h 1960491"/>
                <a:gd name="connsiteX82" fmla="*/ 410337 w 3296788"/>
                <a:gd name="connsiteY82" fmla="*/ 1515138 h 1960491"/>
                <a:gd name="connsiteX83" fmla="*/ 410337 w 3296788"/>
                <a:gd name="connsiteY83" fmla="*/ 1546846 h 1960491"/>
                <a:gd name="connsiteX84" fmla="*/ 317294 w 3296788"/>
                <a:gd name="connsiteY84" fmla="*/ 1601204 h 1960491"/>
                <a:gd name="connsiteX85" fmla="*/ 284111 w 3296788"/>
                <a:gd name="connsiteY85" fmla="*/ 1601204 h 1960491"/>
                <a:gd name="connsiteX86" fmla="*/ 199527 w 3296788"/>
                <a:gd name="connsiteY86" fmla="*/ 1553318 h 1960491"/>
                <a:gd name="connsiteX87" fmla="*/ 199527 w 3296788"/>
                <a:gd name="connsiteY87" fmla="*/ 1521609 h 1960491"/>
                <a:gd name="connsiteX88" fmla="*/ 290618 w 3296788"/>
                <a:gd name="connsiteY88" fmla="*/ 1467898 h 1960491"/>
                <a:gd name="connsiteX89" fmla="*/ 307453 w 3296788"/>
                <a:gd name="connsiteY89" fmla="*/ 1463207 h 1960491"/>
                <a:gd name="connsiteX90" fmla="*/ 1266682 w 3296788"/>
                <a:gd name="connsiteY90" fmla="*/ 1359198 h 1960491"/>
                <a:gd name="connsiteX91" fmla="*/ 1283319 w 3296788"/>
                <a:gd name="connsiteY91" fmla="*/ 1362935 h 1960491"/>
                <a:gd name="connsiteX92" fmla="*/ 1370095 w 3296788"/>
                <a:gd name="connsiteY92" fmla="*/ 1411683 h 1960491"/>
                <a:gd name="connsiteX93" fmla="*/ 1369442 w 3296788"/>
                <a:gd name="connsiteY93" fmla="*/ 1443532 h 1960491"/>
                <a:gd name="connsiteX94" fmla="*/ 1276795 w 3296788"/>
                <a:gd name="connsiteY94" fmla="*/ 1497480 h 1960491"/>
                <a:gd name="connsiteX95" fmla="*/ 1242868 w 3296788"/>
                <a:gd name="connsiteY95" fmla="*/ 1498130 h 1960491"/>
                <a:gd name="connsiteX96" fmla="*/ 1158050 w 3296788"/>
                <a:gd name="connsiteY96" fmla="*/ 1450032 h 1960491"/>
                <a:gd name="connsiteX97" fmla="*/ 1158050 w 3296788"/>
                <a:gd name="connsiteY97" fmla="*/ 1418183 h 1960491"/>
                <a:gd name="connsiteX98" fmla="*/ 1250045 w 3296788"/>
                <a:gd name="connsiteY98" fmla="*/ 1364235 h 1960491"/>
                <a:gd name="connsiteX99" fmla="*/ 1266682 w 3296788"/>
                <a:gd name="connsiteY99" fmla="*/ 1359198 h 1960491"/>
                <a:gd name="connsiteX100" fmla="*/ 117685 w 3296788"/>
                <a:gd name="connsiteY100" fmla="*/ 1356636 h 1960491"/>
                <a:gd name="connsiteX101" fmla="*/ 134077 w 3296788"/>
                <a:gd name="connsiteY101" fmla="*/ 1360680 h 1960491"/>
                <a:gd name="connsiteX102" fmla="*/ 220853 w 3296788"/>
                <a:gd name="connsiteY102" fmla="*/ 1409214 h 1960491"/>
                <a:gd name="connsiteX103" fmla="*/ 220853 w 3296788"/>
                <a:gd name="connsiteY103" fmla="*/ 1440276 h 1960491"/>
                <a:gd name="connsiteX104" fmla="*/ 127553 w 3296788"/>
                <a:gd name="connsiteY104" fmla="*/ 1494634 h 1960491"/>
                <a:gd name="connsiteX105" fmla="*/ 94278 w 3296788"/>
                <a:gd name="connsiteY105" fmla="*/ 1494634 h 1960491"/>
                <a:gd name="connsiteX106" fmla="*/ 8808 w 3296788"/>
                <a:gd name="connsiteY106" fmla="*/ 1446747 h 1960491"/>
                <a:gd name="connsiteX107" fmla="*/ 8808 w 3296788"/>
                <a:gd name="connsiteY107" fmla="*/ 1415685 h 1960491"/>
                <a:gd name="connsiteX108" fmla="*/ 100803 w 3296788"/>
                <a:gd name="connsiteY108" fmla="*/ 1361327 h 1960491"/>
                <a:gd name="connsiteX109" fmla="*/ 117685 w 3296788"/>
                <a:gd name="connsiteY109" fmla="*/ 1356636 h 1960491"/>
                <a:gd name="connsiteX110" fmla="*/ 883514 w 3296788"/>
                <a:gd name="connsiteY110" fmla="*/ 1356634 h 1960491"/>
                <a:gd name="connsiteX111" fmla="*/ 899862 w 3296788"/>
                <a:gd name="connsiteY111" fmla="*/ 1360679 h 1960491"/>
                <a:gd name="connsiteX112" fmla="*/ 986398 w 3296788"/>
                <a:gd name="connsiteY112" fmla="*/ 1409213 h 1960491"/>
                <a:gd name="connsiteX113" fmla="*/ 986398 w 3296788"/>
                <a:gd name="connsiteY113" fmla="*/ 1440274 h 1960491"/>
                <a:gd name="connsiteX114" fmla="*/ 893355 w 3296788"/>
                <a:gd name="connsiteY114" fmla="*/ 1494633 h 1960491"/>
                <a:gd name="connsiteX115" fmla="*/ 860172 w 3296788"/>
                <a:gd name="connsiteY115" fmla="*/ 1494633 h 1960491"/>
                <a:gd name="connsiteX116" fmla="*/ 775588 w 3296788"/>
                <a:gd name="connsiteY116" fmla="*/ 1446746 h 1960491"/>
                <a:gd name="connsiteX117" fmla="*/ 775588 w 3296788"/>
                <a:gd name="connsiteY117" fmla="*/ 1415684 h 1960491"/>
                <a:gd name="connsiteX118" fmla="*/ 866679 w 3296788"/>
                <a:gd name="connsiteY118" fmla="*/ 1361326 h 1960491"/>
                <a:gd name="connsiteX119" fmla="*/ 883514 w 3296788"/>
                <a:gd name="connsiteY119" fmla="*/ 1356634 h 1960491"/>
                <a:gd name="connsiteX120" fmla="*/ 500432 w 3296788"/>
                <a:gd name="connsiteY120" fmla="*/ 1350483 h 1960491"/>
                <a:gd name="connsiteX121" fmla="*/ 516780 w 3296788"/>
                <a:gd name="connsiteY121" fmla="*/ 1354319 h 1960491"/>
                <a:gd name="connsiteX122" fmla="*/ 603316 w 3296788"/>
                <a:gd name="connsiteY122" fmla="*/ 1402631 h 1960491"/>
                <a:gd name="connsiteX123" fmla="*/ 602665 w 3296788"/>
                <a:gd name="connsiteY123" fmla="*/ 1434622 h 1960491"/>
                <a:gd name="connsiteX124" fmla="*/ 510273 w 3296788"/>
                <a:gd name="connsiteY124" fmla="*/ 1489464 h 1960491"/>
                <a:gd name="connsiteX125" fmla="*/ 477090 w 3296788"/>
                <a:gd name="connsiteY125" fmla="*/ 1490116 h 1960491"/>
                <a:gd name="connsiteX126" fmla="*/ 392506 w 3296788"/>
                <a:gd name="connsiteY126" fmla="*/ 1441151 h 1960491"/>
                <a:gd name="connsiteX127" fmla="*/ 392506 w 3296788"/>
                <a:gd name="connsiteY127" fmla="*/ 1409813 h 1960491"/>
                <a:gd name="connsiteX128" fmla="*/ 483597 w 3296788"/>
                <a:gd name="connsiteY128" fmla="*/ 1354972 h 1960491"/>
                <a:gd name="connsiteX129" fmla="*/ 500432 w 3296788"/>
                <a:gd name="connsiteY129" fmla="*/ 1350483 h 1960491"/>
                <a:gd name="connsiteX130" fmla="*/ 1459575 w 3296788"/>
                <a:gd name="connsiteY130" fmla="*/ 1247184 h 1960491"/>
                <a:gd name="connsiteX131" fmla="*/ 1475923 w 3296788"/>
                <a:gd name="connsiteY131" fmla="*/ 1251228 h 1960491"/>
                <a:gd name="connsiteX132" fmla="*/ 1562459 w 3296788"/>
                <a:gd name="connsiteY132" fmla="*/ 1299762 h 1960491"/>
                <a:gd name="connsiteX133" fmla="*/ 1562459 w 3296788"/>
                <a:gd name="connsiteY133" fmla="*/ 1330824 h 1960491"/>
                <a:gd name="connsiteX134" fmla="*/ 1469416 w 3296788"/>
                <a:gd name="connsiteY134" fmla="*/ 1385182 h 1960491"/>
                <a:gd name="connsiteX135" fmla="*/ 1436233 w 3296788"/>
                <a:gd name="connsiteY135" fmla="*/ 1385182 h 1960491"/>
                <a:gd name="connsiteX136" fmla="*/ 1351649 w 3296788"/>
                <a:gd name="connsiteY136" fmla="*/ 1336648 h 1960491"/>
                <a:gd name="connsiteX137" fmla="*/ 1351649 w 3296788"/>
                <a:gd name="connsiteY137" fmla="*/ 1305586 h 1960491"/>
                <a:gd name="connsiteX138" fmla="*/ 1442740 w 3296788"/>
                <a:gd name="connsiteY138" fmla="*/ 1251875 h 1960491"/>
                <a:gd name="connsiteX139" fmla="*/ 1459575 w 3296788"/>
                <a:gd name="connsiteY139" fmla="*/ 1247184 h 1960491"/>
                <a:gd name="connsiteX140" fmla="*/ 307452 w 3296788"/>
                <a:gd name="connsiteY140" fmla="*/ 1241188 h 1960491"/>
                <a:gd name="connsiteX141" fmla="*/ 323800 w 3296788"/>
                <a:gd name="connsiteY141" fmla="*/ 1245494 h 1960491"/>
                <a:gd name="connsiteX142" fmla="*/ 410336 w 3296788"/>
                <a:gd name="connsiteY142" fmla="*/ 1293592 h 1960491"/>
                <a:gd name="connsiteX143" fmla="*/ 410336 w 3296788"/>
                <a:gd name="connsiteY143" fmla="*/ 1325441 h 1960491"/>
                <a:gd name="connsiteX144" fmla="*/ 317293 w 3296788"/>
                <a:gd name="connsiteY144" fmla="*/ 1380040 h 1960491"/>
                <a:gd name="connsiteX145" fmla="*/ 284110 w 3296788"/>
                <a:gd name="connsiteY145" fmla="*/ 1380690 h 1960491"/>
                <a:gd name="connsiteX146" fmla="*/ 199526 w 3296788"/>
                <a:gd name="connsiteY146" fmla="*/ 1331941 h 1960491"/>
                <a:gd name="connsiteX147" fmla="*/ 199526 w 3296788"/>
                <a:gd name="connsiteY147" fmla="*/ 1300742 h 1960491"/>
                <a:gd name="connsiteX148" fmla="*/ 290617 w 3296788"/>
                <a:gd name="connsiteY148" fmla="*/ 1246144 h 1960491"/>
                <a:gd name="connsiteX149" fmla="*/ 307452 w 3296788"/>
                <a:gd name="connsiteY149" fmla="*/ 1241188 h 1960491"/>
                <a:gd name="connsiteX150" fmla="*/ 1076251 w 3296788"/>
                <a:gd name="connsiteY150" fmla="*/ 1241187 h 1960491"/>
                <a:gd name="connsiteX151" fmla="*/ 1092842 w 3296788"/>
                <a:gd name="connsiteY151" fmla="*/ 1245493 h 1960491"/>
                <a:gd name="connsiteX152" fmla="*/ 1179378 w 3296788"/>
                <a:gd name="connsiteY152" fmla="*/ 1293591 h 1960491"/>
                <a:gd name="connsiteX153" fmla="*/ 1178727 w 3296788"/>
                <a:gd name="connsiteY153" fmla="*/ 1325440 h 1960491"/>
                <a:gd name="connsiteX154" fmla="*/ 1086335 w 3296788"/>
                <a:gd name="connsiteY154" fmla="*/ 1380039 h 1960491"/>
                <a:gd name="connsiteX155" fmla="*/ 1053152 w 3296788"/>
                <a:gd name="connsiteY155" fmla="*/ 1380689 h 1960491"/>
                <a:gd name="connsiteX156" fmla="*/ 968568 w 3296788"/>
                <a:gd name="connsiteY156" fmla="*/ 1331940 h 1960491"/>
                <a:gd name="connsiteX157" fmla="*/ 968568 w 3296788"/>
                <a:gd name="connsiteY157" fmla="*/ 1300741 h 1960491"/>
                <a:gd name="connsiteX158" fmla="*/ 1059659 w 3296788"/>
                <a:gd name="connsiteY158" fmla="*/ 1246143 h 1960491"/>
                <a:gd name="connsiteX159" fmla="*/ 1076251 w 3296788"/>
                <a:gd name="connsiteY159" fmla="*/ 1241187 h 1960491"/>
                <a:gd name="connsiteX160" fmla="*/ 693746 w 3296788"/>
                <a:gd name="connsiteY160" fmla="*/ 1238226 h 1960491"/>
                <a:gd name="connsiteX161" fmla="*/ 710138 w 3296788"/>
                <a:gd name="connsiteY161" fmla="*/ 1242614 h 1960491"/>
                <a:gd name="connsiteX162" fmla="*/ 796914 w 3296788"/>
                <a:gd name="connsiteY162" fmla="*/ 1290712 h 1960491"/>
                <a:gd name="connsiteX163" fmla="*/ 796261 w 3296788"/>
                <a:gd name="connsiteY163" fmla="*/ 1321911 h 1960491"/>
                <a:gd name="connsiteX164" fmla="*/ 703614 w 3296788"/>
                <a:gd name="connsiteY164" fmla="*/ 1376509 h 1960491"/>
                <a:gd name="connsiteX165" fmla="*/ 670339 w 3296788"/>
                <a:gd name="connsiteY165" fmla="*/ 1377159 h 1960491"/>
                <a:gd name="connsiteX166" fmla="*/ 584869 w 3296788"/>
                <a:gd name="connsiteY166" fmla="*/ 1328411 h 1960491"/>
                <a:gd name="connsiteX167" fmla="*/ 584869 w 3296788"/>
                <a:gd name="connsiteY167" fmla="*/ 1297212 h 1960491"/>
                <a:gd name="connsiteX168" fmla="*/ 676864 w 3296788"/>
                <a:gd name="connsiteY168" fmla="*/ 1242614 h 1960491"/>
                <a:gd name="connsiteX169" fmla="*/ 693746 w 3296788"/>
                <a:gd name="connsiteY169" fmla="*/ 1238226 h 1960491"/>
                <a:gd name="connsiteX170" fmla="*/ 1649432 w 3296788"/>
                <a:gd name="connsiteY170" fmla="*/ 1134616 h 1960491"/>
                <a:gd name="connsiteX171" fmla="*/ 1666023 w 3296788"/>
                <a:gd name="connsiteY171" fmla="*/ 1138922 h 1960491"/>
                <a:gd name="connsiteX172" fmla="*/ 1752559 w 3296788"/>
                <a:gd name="connsiteY172" fmla="*/ 1187020 h 1960491"/>
                <a:gd name="connsiteX173" fmla="*/ 1751908 w 3296788"/>
                <a:gd name="connsiteY173" fmla="*/ 1218869 h 1960491"/>
                <a:gd name="connsiteX174" fmla="*/ 1659516 w 3296788"/>
                <a:gd name="connsiteY174" fmla="*/ 1273467 h 1960491"/>
                <a:gd name="connsiteX175" fmla="*/ 1625683 w 3296788"/>
                <a:gd name="connsiteY175" fmla="*/ 1274117 h 1960491"/>
                <a:gd name="connsiteX176" fmla="*/ 1541749 w 3296788"/>
                <a:gd name="connsiteY176" fmla="*/ 1225369 h 1960491"/>
                <a:gd name="connsiteX177" fmla="*/ 1541749 w 3296788"/>
                <a:gd name="connsiteY177" fmla="*/ 1194170 h 1960491"/>
                <a:gd name="connsiteX178" fmla="*/ 1632840 w 3296788"/>
                <a:gd name="connsiteY178" fmla="*/ 1139572 h 1960491"/>
                <a:gd name="connsiteX179" fmla="*/ 1649432 w 3296788"/>
                <a:gd name="connsiteY179" fmla="*/ 1134616 h 1960491"/>
                <a:gd name="connsiteX180" fmla="*/ 500431 w 3296788"/>
                <a:gd name="connsiteY180" fmla="*/ 1128774 h 1960491"/>
                <a:gd name="connsiteX181" fmla="*/ 516779 w 3296788"/>
                <a:gd name="connsiteY181" fmla="*/ 1133162 h 1960491"/>
                <a:gd name="connsiteX182" fmla="*/ 603315 w 3296788"/>
                <a:gd name="connsiteY182" fmla="*/ 1181260 h 1960491"/>
                <a:gd name="connsiteX183" fmla="*/ 602664 w 3296788"/>
                <a:gd name="connsiteY183" fmla="*/ 1212459 h 1960491"/>
                <a:gd name="connsiteX184" fmla="*/ 510272 w 3296788"/>
                <a:gd name="connsiteY184" fmla="*/ 1267057 h 1960491"/>
                <a:gd name="connsiteX185" fmla="*/ 477089 w 3296788"/>
                <a:gd name="connsiteY185" fmla="*/ 1267707 h 1960491"/>
                <a:gd name="connsiteX186" fmla="*/ 392505 w 3296788"/>
                <a:gd name="connsiteY186" fmla="*/ 1218959 h 1960491"/>
                <a:gd name="connsiteX187" fmla="*/ 392505 w 3296788"/>
                <a:gd name="connsiteY187" fmla="*/ 1187760 h 1960491"/>
                <a:gd name="connsiteX188" fmla="*/ 483596 w 3296788"/>
                <a:gd name="connsiteY188" fmla="*/ 1133162 h 1960491"/>
                <a:gd name="connsiteX189" fmla="*/ 500431 w 3296788"/>
                <a:gd name="connsiteY189" fmla="*/ 1128774 h 1960491"/>
                <a:gd name="connsiteX190" fmla="*/ 1266682 w 3296788"/>
                <a:gd name="connsiteY190" fmla="*/ 1128773 h 1960491"/>
                <a:gd name="connsiteX191" fmla="*/ 1283319 w 3296788"/>
                <a:gd name="connsiteY191" fmla="*/ 1133161 h 1960491"/>
                <a:gd name="connsiteX192" fmla="*/ 1370095 w 3296788"/>
                <a:gd name="connsiteY192" fmla="*/ 1181259 h 1960491"/>
                <a:gd name="connsiteX193" fmla="*/ 1369442 w 3296788"/>
                <a:gd name="connsiteY193" fmla="*/ 1212458 h 1960491"/>
                <a:gd name="connsiteX194" fmla="*/ 1276795 w 3296788"/>
                <a:gd name="connsiteY194" fmla="*/ 1267056 h 1960491"/>
                <a:gd name="connsiteX195" fmla="*/ 1242868 w 3296788"/>
                <a:gd name="connsiteY195" fmla="*/ 1267706 h 1960491"/>
                <a:gd name="connsiteX196" fmla="*/ 1158050 w 3296788"/>
                <a:gd name="connsiteY196" fmla="*/ 1218958 h 1960491"/>
                <a:gd name="connsiteX197" fmla="*/ 1158050 w 3296788"/>
                <a:gd name="connsiteY197" fmla="*/ 1187759 h 1960491"/>
                <a:gd name="connsiteX198" fmla="*/ 1250045 w 3296788"/>
                <a:gd name="connsiteY198" fmla="*/ 1133161 h 1960491"/>
                <a:gd name="connsiteX199" fmla="*/ 1266682 w 3296788"/>
                <a:gd name="connsiteY199" fmla="*/ 1128773 h 1960491"/>
                <a:gd name="connsiteX200" fmla="*/ 883513 w 3296788"/>
                <a:gd name="connsiteY200" fmla="*/ 1125894 h 1960491"/>
                <a:gd name="connsiteX201" fmla="*/ 899861 w 3296788"/>
                <a:gd name="connsiteY201" fmla="*/ 1129632 h 1960491"/>
                <a:gd name="connsiteX202" fmla="*/ 986397 w 3296788"/>
                <a:gd name="connsiteY202" fmla="*/ 1178380 h 1960491"/>
                <a:gd name="connsiteX203" fmla="*/ 986397 w 3296788"/>
                <a:gd name="connsiteY203" fmla="*/ 1210229 h 1960491"/>
                <a:gd name="connsiteX204" fmla="*/ 893354 w 3296788"/>
                <a:gd name="connsiteY204" fmla="*/ 1264828 h 1960491"/>
                <a:gd name="connsiteX205" fmla="*/ 860171 w 3296788"/>
                <a:gd name="connsiteY205" fmla="*/ 1264828 h 1960491"/>
                <a:gd name="connsiteX206" fmla="*/ 775587 w 3296788"/>
                <a:gd name="connsiteY206" fmla="*/ 1216729 h 1960491"/>
                <a:gd name="connsiteX207" fmla="*/ 775587 w 3296788"/>
                <a:gd name="connsiteY207" fmla="*/ 1184880 h 1960491"/>
                <a:gd name="connsiteX208" fmla="*/ 866678 w 3296788"/>
                <a:gd name="connsiteY208" fmla="*/ 1130932 h 1960491"/>
                <a:gd name="connsiteX209" fmla="*/ 883513 w 3296788"/>
                <a:gd name="connsiteY209" fmla="*/ 1125894 h 1960491"/>
                <a:gd name="connsiteX210" fmla="*/ 1842422 w 3296788"/>
                <a:gd name="connsiteY210" fmla="*/ 1022122 h 1960491"/>
                <a:gd name="connsiteX211" fmla="*/ 1859105 w 3296788"/>
                <a:gd name="connsiteY211" fmla="*/ 1025940 h 1960491"/>
                <a:gd name="connsiteX212" fmla="*/ 1946120 w 3296788"/>
                <a:gd name="connsiteY212" fmla="*/ 1074039 h 1960491"/>
                <a:gd name="connsiteX213" fmla="*/ 1945466 w 3296788"/>
                <a:gd name="connsiteY213" fmla="*/ 1105888 h 1960491"/>
                <a:gd name="connsiteX214" fmla="*/ 1852562 w 3296788"/>
                <a:gd name="connsiteY214" fmla="*/ 1160486 h 1960491"/>
                <a:gd name="connsiteX215" fmla="*/ 1818541 w 3296788"/>
                <a:gd name="connsiteY215" fmla="*/ 1161136 h 1960491"/>
                <a:gd name="connsiteX216" fmla="*/ 1734143 w 3296788"/>
                <a:gd name="connsiteY216" fmla="*/ 1112388 h 1960491"/>
                <a:gd name="connsiteX217" fmla="*/ 1734143 w 3296788"/>
                <a:gd name="connsiteY217" fmla="*/ 1081189 h 1960491"/>
                <a:gd name="connsiteX218" fmla="*/ 1825738 w 3296788"/>
                <a:gd name="connsiteY218" fmla="*/ 1026590 h 1960491"/>
                <a:gd name="connsiteX219" fmla="*/ 1842422 w 3296788"/>
                <a:gd name="connsiteY219" fmla="*/ 1022122 h 1960491"/>
                <a:gd name="connsiteX220" fmla="*/ 693745 w 3296788"/>
                <a:gd name="connsiteY220" fmla="*/ 1016760 h 1960491"/>
                <a:gd name="connsiteX221" fmla="*/ 710137 w 3296788"/>
                <a:gd name="connsiteY221" fmla="*/ 1020805 h 1960491"/>
                <a:gd name="connsiteX222" fmla="*/ 796913 w 3296788"/>
                <a:gd name="connsiteY222" fmla="*/ 1069339 h 1960491"/>
                <a:gd name="connsiteX223" fmla="*/ 796260 w 3296788"/>
                <a:gd name="connsiteY223" fmla="*/ 1101048 h 1960491"/>
                <a:gd name="connsiteX224" fmla="*/ 703613 w 3296788"/>
                <a:gd name="connsiteY224" fmla="*/ 1154758 h 1960491"/>
                <a:gd name="connsiteX225" fmla="*/ 670338 w 3296788"/>
                <a:gd name="connsiteY225" fmla="*/ 1155406 h 1960491"/>
                <a:gd name="connsiteX226" fmla="*/ 584868 w 3296788"/>
                <a:gd name="connsiteY226" fmla="*/ 1107519 h 1960491"/>
                <a:gd name="connsiteX227" fmla="*/ 584868 w 3296788"/>
                <a:gd name="connsiteY227" fmla="*/ 1075810 h 1960491"/>
                <a:gd name="connsiteX228" fmla="*/ 676863 w 3296788"/>
                <a:gd name="connsiteY228" fmla="*/ 1021452 h 1960491"/>
                <a:gd name="connsiteX229" fmla="*/ 693745 w 3296788"/>
                <a:gd name="connsiteY229" fmla="*/ 1016760 h 1960491"/>
                <a:gd name="connsiteX230" fmla="*/ 1459575 w 3296788"/>
                <a:gd name="connsiteY230" fmla="*/ 1016759 h 1960491"/>
                <a:gd name="connsiteX231" fmla="*/ 1475923 w 3296788"/>
                <a:gd name="connsiteY231" fmla="*/ 1020804 h 1960491"/>
                <a:gd name="connsiteX232" fmla="*/ 1562459 w 3296788"/>
                <a:gd name="connsiteY232" fmla="*/ 1069338 h 1960491"/>
                <a:gd name="connsiteX233" fmla="*/ 1562459 w 3296788"/>
                <a:gd name="connsiteY233" fmla="*/ 1101047 h 1960491"/>
                <a:gd name="connsiteX234" fmla="*/ 1469416 w 3296788"/>
                <a:gd name="connsiteY234" fmla="*/ 1154757 h 1960491"/>
                <a:gd name="connsiteX235" fmla="*/ 1436233 w 3296788"/>
                <a:gd name="connsiteY235" fmla="*/ 1155405 h 1960491"/>
                <a:gd name="connsiteX236" fmla="*/ 1351649 w 3296788"/>
                <a:gd name="connsiteY236" fmla="*/ 1107518 h 1960491"/>
                <a:gd name="connsiteX237" fmla="*/ 1351649 w 3296788"/>
                <a:gd name="connsiteY237" fmla="*/ 1075809 h 1960491"/>
                <a:gd name="connsiteX238" fmla="*/ 1442740 w 3296788"/>
                <a:gd name="connsiteY238" fmla="*/ 1021451 h 1960491"/>
                <a:gd name="connsiteX239" fmla="*/ 1459575 w 3296788"/>
                <a:gd name="connsiteY239" fmla="*/ 1016759 h 1960491"/>
                <a:gd name="connsiteX240" fmla="*/ 1076249 w 3296788"/>
                <a:gd name="connsiteY240" fmla="*/ 1011007 h 1960491"/>
                <a:gd name="connsiteX241" fmla="*/ 1092841 w 3296788"/>
                <a:gd name="connsiteY241" fmla="*/ 1015070 h 1960491"/>
                <a:gd name="connsiteX242" fmla="*/ 1179377 w 3296788"/>
                <a:gd name="connsiteY242" fmla="*/ 1063168 h 1960491"/>
                <a:gd name="connsiteX243" fmla="*/ 1178726 w 3296788"/>
                <a:gd name="connsiteY243" fmla="*/ 1095017 h 1960491"/>
                <a:gd name="connsiteX244" fmla="*/ 1086334 w 3296788"/>
                <a:gd name="connsiteY244" fmla="*/ 1148966 h 1960491"/>
                <a:gd name="connsiteX245" fmla="*/ 1053151 w 3296788"/>
                <a:gd name="connsiteY245" fmla="*/ 1149616 h 1960491"/>
                <a:gd name="connsiteX246" fmla="*/ 968567 w 3296788"/>
                <a:gd name="connsiteY246" fmla="*/ 1101517 h 1960491"/>
                <a:gd name="connsiteX247" fmla="*/ 968567 w 3296788"/>
                <a:gd name="connsiteY247" fmla="*/ 1069668 h 1960491"/>
                <a:gd name="connsiteX248" fmla="*/ 1059658 w 3296788"/>
                <a:gd name="connsiteY248" fmla="*/ 1015720 h 1960491"/>
                <a:gd name="connsiteX249" fmla="*/ 1076249 w 3296788"/>
                <a:gd name="connsiteY249" fmla="*/ 1011007 h 1960491"/>
                <a:gd name="connsiteX250" fmla="*/ 2450028 w 3296788"/>
                <a:gd name="connsiteY250" fmla="*/ 912842 h 1960491"/>
                <a:gd name="connsiteX251" fmla="*/ 2466428 w 3296788"/>
                <a:gd name="connsiteY251" fmla="*/ 917178 h 1960491"/>
                <a:gd name="connsiteX252" fmla="*/ 2553241 w 3296788"/>
                <a:gd name="connsiteY252" fmla="*/ 965601 h 1960491"/>
                <a:gd name="connsiteX253" fmla="*/ 2552588 w 3296788"/>
                <a:gd name="connsiteY253" fmla="*/ 997666 h 1960491"/>
                <a:gd name="connsiteX254" fmla="*/ 1475592 w 3296788"/>
                <a:gd name="connsiteY254" fmla="*/ 1621286 h 1960491"/>
                <a:gd name="connsiteX255" fmla="*/ 1442303 w 3296788"/>
                <a:gd name="connsiteY255" fmla="*/ 1621940 h 1960491"/>
                <a:gd name="connsiteX256" fmla="*/ 1357449 w 3296788"/>
                <a:gd name="connsiteY256" fmla="*/ 1573517 h 1960491"/>
                <a:gd name="connsiteX257" fmla="*/ 1357449 w 3296788"/>
                <a:gd name="connsiteY257" fmla="*/ 1541452 h 1960491"/>
                <a:gd name="connsiteX258" fmla="*/ 2433139 w 3296788"/>
                <a:gd name="connsiteY258" fmla="*/ 917832 h 1960491"/>
                <a:gd name="connsiteX259" fmla="*/ 2450028 w 3296788"/>
                <a:gd name="connsiteY259" fmla="*/ 912842 h 1960491"/>
                <a:gd name="connsiteX260" fmla="*/ 2032754 w 3296788"/>
                <a:gd name="connsiteY260" fmla="*/ 907308 h 1960491"/>
                <a:gd name="connsiteX261" fmla="*/ 2049102 w 3296788"/>
                <a:gd name="connsiteY261" fmla="*/ 911352 h 1960491"/>
                <a:gd name="connsiteX262" fmla="*/ 2135638 w 3296788"/>
                <a:gd name="connsiteY262" fmla="*/ 959886 h 1960491"/>
                <a:gd name="connsiteX263" fmla="*/ 2135638 w 3296788"/>
                <a:gd name="connsiteY263" fmla="*/ 991595 h 1960491"/>
                <a:gd name="connsiteX264" fmla="*/ 2042595 w 3296788"/>
                <a:gd name="connsiteY264" fmla="*/ 1045306 h 1960491"/>
                <a:gd name="connsiteX265" fmla="*/ 2009412 w 3296788"/>
                <a:gd name="connsiteY265" fmla="*/ 1045953 h 1960491"/>
                <a:gd name="connsiteX266" fmla="*/ 1924828 w 3296788"/>
                <a:gd name="connsiteY266" fmla="*/ 998066 h 1960491"/>
                <a:gd name="connsiteX267" fmla="*/ 1924828 w 3296788"/>
                <a:gd name="connsiteY267" fmla="*/ 966357 h 1960491"/>
                <a:gd name="connsiteX268" fmla="*/ 2015919 w 3296788"/>
                <a:gd name="connsiteY268" fmla="*/ 911999 h 1960491"/>
                <a:gd name="connsiteX269" fmla="*/ 2032754 w 3296788"/>
                <a:gd name="connsiteY269" fmla="*/ 907308 h 1960491"/>
                <a:gd name="connsiteX270" fmla="*/ 883512 w 3296788"/>
                <a:gd name="connsiteY270" fmla="*/ 904111 h 1960491"/>
                <a:gd name="connsiteX271" fmla="*/ 899860 w 3296788"/>
                <a:gd name="connsiteY271" fmla="*/ 907849 h 1960491"/>
                <a:gd name="connsiteX272" fmla="*/ 986396 w 3296788"/>
                <a:gd name="connsiteY272" fmla="*/ 956597 h 1960491"/>
                <a:gd name="connsiteX273" fmla="*/ 986396 w 3296788"/>
                <a:gd name="connsiteY273" fmla="*/ 987796 h 1960491"/>
                <a:gd name="connsiteX274" fmla="*/ 893353 w 3296788"/>
                <a:gd name="connsiteY274" fmla="*/ 1042394 h 1960491"/>
                <a:gd name="connsiteX275" fmla="*/ 860170 w 3296788"/>
                <a:gd name="connsiteY275" fmla="*/ 1043044 h 1960491"/>
                <a:gd name="connsiteX276" fmla="*/ 775586 w 3296788"/>
                <a:gd name="connsiteY276" fmla="*/ 994946 h 1960491"/>
                <a:gd name="connsiteX277" fmla="*/ 775586 w 3296788"/>
                <a:gd name="connsiteY277" fmla="*/ 963097 h 1960491"/>
                <a:gd name="connsiteX278" fmla="*/ 866677 w 3296788"/>
                <a:gd name="connsiteY278" fmla="*/ 909149 h 1960491"/>
                <a:gd name="connsiteX279" fmla="*/ 883512 w 3296788"/>
                <a:gd name="connsiteY279" fmla="*/ 904111 h 1960491"/>
                <a:gd name="connsiteX280" fmla="*/ 1649432 w 3296788"/>
                <a:gd name="connsiteY280" fmla="*/ 904110 h 1960491"/>
                <a:gd name="connsiteX281" fmla="*/ 1666023 w 3296788"/>
                <a:gd name="connsiteY281" fmla="*/ 907848 h 1960491"/>
                <a:gd name="connsiteX282" fmla="*/ 1752559 w 3296788"/>
                <a:gd name="connsiteY282" fmla="*/ 956596 h 1960491"/>
                <a:gd name="connsiteX283" fmla="*/ 1751908 w 3296788"/>
                <a:gd name="connsiteY283" fmla="*/ 987795 h 1960491"/>
                <a:gd name="connsiteX284" fmla="*/ 1659516 w 3296788"/>
                <a:gd name="connsiteY284" fmla="*/ 1042393 h 1960491"/>
                <a:gd name="connsiteX285" fmla="*/ 1625683 w 3296788"/>
                <a:gd name="connsiteY285" fmla="*/ 1043043 h 1960491"/>
                <a:gd name="connsiteX286" fmla="*/ 1541749 w 3296788"/>
                <a:gd name="connsiteY286" fmla="*/ 994945 h 1960491"/>
                <a:gd name="connsiteX287" fmla="*/ 1541749 w 3296788"/>
                <a:gd name="connsiteY287" fmla="*/ 963096 h 1960491"/>
                <a:gd name="connsiteX288" fmla="*/ 1632840 w 3296788"/>
                <a:gd name="connsiteY288" fmla="*/ 909148 h 1960491"/>
                <a:gd name="connsiteX289" fmla="*/ 1649432 w 3296788"/>
                <a:gd name="connsiteY289" fmla="*/ 904110 h 1960491"/>
                <a:gd name="connsiteX290" fmla="*/ 1266681 w 3296788"/>
                <a:gd name="connsiteY290" fmla="*/ 898432 h 1960491"/>
                <a:gd name="connsiteX291" fmla="*/ 1283318 w 3296788"/>
                <a:gd name="connsiteY291" fmla="*/ 902738 h 1960491"/>
                <a:gd name="connsiteX292" fmla="*/ 1370094 w 3296788"/>
                <a:gd name="connsiteY292" fmla="*/ 950836 h 1960491"/>
                <a:gd name="connsiteX293" fmla="*/ 1369441 w 3296788"/>
                <a:gd name="connsiteY293" fmla="*/ 982685 h 1960491"/>
                <a:gd name="connsiteX294" fmla="*/ 1276794 w 3296788"/>
                <a:gd name="connsiteY294" fmla="*/ 1037283 h 1960491"/>
                <a:gd name="connsiteX295" fmla="*/ 1242867 w 3296788"/>
                <a:gd name="connsiteY295" fmla="*/ 1037283 h 1960491"/>
                <a:gd name="connsiteX296" fmla="*/ 1158049 w 3296788"/>
                <a:gd name="connsiteY296" fmla="*/ 989185 h 1960491"/>
                <a:gd name="connsiteX297" fmla="*/ 1158049 w 3296788"/>
                <a:gd name="connsiteY297" fmla="*/ 957986 h 1960491"/>
                <a:gd name="connsiteX298" fmla="*/ 1250044 w 3296788"/>
                <a:gd name="connsiteY298" fmla="*/ 903388 h 1960491"/>
                <a:gd name="connsiteX299" fmla="*/ 1266681 w 3296788"/>
                <a:gd name="connsiteY299" fmla="*/ 898432 h 1960491"/>
                <a:gd name="connsiteX300" fmla="*/ 2608815 w 3296788"/>
                <a:gd name="connsiteY300" fmla="*/ 800737 h 1960491"/>
                <a:gd name="connsiteX301" fmla="*/ 2625163 w 3296788"/>
                <a:gd name="connsiteY301" fmla="*/ 804781 h 1960491"/>
                <a:gd name="connsiteX302" fmla="*/ 2711699 w 3296788"/>
                <a:gd name="connsiteY302" fmla="*/ 853315 h 1960491"/>
                <a:gd name="connsiteX303" fmla="*/ 2711699 w 3296788"/>
                <a:gd name="connsiteY303" fmla="*/ 885023 h 1960491"/>
                <a:gd name="connsiteX304" fmla="*/ 2618656 w 3296788"/>
                <a:gd name="connsiteY304" fmla="*/ 938734 h 1960491"/>
                <a:gd name="connsiteX305" fmla="*/ 2585473 w 3296788"/>
                <a:gd name="connsiteY305" fmla="*/ 939381 h 1960491"/>
                <a:gd name="connsiteX306" fmla="*/ 2500889 w 3296788"/>
                <a:gd name="connsiteY306" fmla="*/ 891495 h 1960491"/>
                <a:gd name="connsiteX307" fmla="*/ 2500889 w 3296788"/>
                <a:gd name="connsiteY307" fmla="*/ 859786 h 1960491"/>
                <a:gd name="connsiteX308" fmla="*/ 2591980 w 3296788"/>
                <a:gd name="connsiteY308" fmla="*/ 805428 h 1960491"/>
                <a:gd name="connsiteX309" fmla="*/ 2608815 w 3296788"/>
                <a:gd name="connsiteY309" fmla="*/ 800737 h 1960491"/>
                <a:gd name="connsiteX310" fmla="*/ 2225492 w 3296788"/>
                <a:gd name="connsiteY310" fmla="*/ 794740 h 1960491"/>
                <a:gd name="connsiteX311" fmla="*/ 2242083 w 3296788"/>
                <a:gd name="connsiteY311" fmla="*/ 799046 h 1960491"/>
                <a:gd name="connsiteX312" fmla="*/ 2328619 w 3296788"/>
                <a:gd name="connsiteY312" fmla="*/ 847144 h 1960491"/>
                <a:gd name="connsiteX313" fmla="*/ 2327968 w 3296788"/>
                <a:gd name="connsiteY313" fmla="*/ 878343 h 1960491"/>
                <a:gd name="connsiteX314" fmla="*/ 2235576 w 3296788"/>
                <a:gd name="connsiteY314" fmla="*/ 932941 h 1960491"/>
                <a:gd name="connsiteX315" fmla="*/ 2201743 w 3296788"/>
                <a:gd name="connsiteY315" fmla="*/ 933591 h 1960491"/>
                <a:gd name="connsiteX316" fmla="*/ 2117809 w 3296788"/>
                <a:gd name="connsiteY316" fmla="*/ 885493 h 1960491"/>
                <a:gd name="connsiteX317" fmla="*/ 2117809 w 3296788"/>
                <a:gd name="connsiteY317" fmla="*/ 853644 h 1960491"/>
                <a:gd name="connsiteX318" fmla="*/ 2208900 w 3296788"/>
                <a:gd name="connsiteY318" fmla="*/ 799696 h 1960491"/>
                <a:gd name="connsiteX319" fmla="*/ 2225492 w 3296788"/>
                <a:gd name="connsiteY319" fmla="*/ 794740 h 1960491"/>
                <a:gd name="connsiteX320" fmla="*/ 1076248 w 3296788"/>
                <a:gd name="connsiteY320" fmla="*/ 791861 h 1960491"/>
                <a:gd name="connsiteX321" fmla="*/ 1092840 w 3296788"/>
                <a:gd name="connsiteY321" fmla="*/ 796167 h 1960491"/>
                <a:gd name="connsiteX322" fmla="*/ 1179376 w 3296788"/>
                <a:gd name="connsiteY322" fmla="*/ 844265 h 1960491"/>
                <a:gd name="connsiteX323" fmla="*/ 1178725 w 3296788"/>
                <a:gd name="connsiteY323" fmla="*/ 876114 h 1960491"/>
                <a:gd name="connsiteX324" fmla="*/ 1086333 w 3296788"/>
                <a:gd name="connsiteY324" fmla="*/ 930713 h 1960491"/>
                <a:gd name="connsiteX325" fmla="*/ 1053150 w 3296788"/>
                <a:gd name="connsiteY325" fmla="*/ 930713 h 1960491"/>
                <a:gd name="connsiteX326" fmla="*/ 968566 w 3296788"/>
                <a:gd name="connsiteY326" fmla="*/ 882614 h 1960491"/>
                <a:gd name="connsiteX327" fmla="*/ 968566 w 3296788"/>
                <a:gd name="connsiteY327" fmla="*/ 851415 h 1960491"/>
                <a:gd name="connsiteX328" fmla="*/ 1059657 w 3296788"/>
                <a:gd name="connsiteY328" fmla="*/ 796817 h 1960491"/>
                <a:gd name="connsiteX329" fmla="*/ 1076248 w 3296788"/>
                <a:gd name="connsiteY329" fmla="*/ 791861 h 1960491"/>
                <a:gd name="connsiteX330" fmla="*/ 1842422 w 3296788"/>
                <a:gd name="connsiteY330" fmla="*/ 791860 h 1960491"/>
                <a:gd name="connsiteX331" fmla="*/ 1859105 w 3296788"/>
                <a:gd name="connsiteY331" fmla="*/ 796166 h 1960491"/>
                <a:gd name="connsiteX332" fmla="*/ 1946120 w 3296788"/>
                <a:gd name="connsiteY332" fmla="*/ 844264 h 1960491"/>
                <a:gd name="connsiteX333" fmla="*/ 1945466 w 3296788"/>
                <a:gd name="connsiteY333" fmla="*/ 876113 h 1960491"/>
                <a:gd name="connsiteX334" fmla="*/ 1852562 w 3296788"/>
                <a:gd name="connsiteY334" fmla="*/ 930712 h 1960491"/>
                <a:gd name="connsiteX335" fmla="*/ 1818541 w 3296788"/>
                <a:gd name="connsiteY335" fmla="*/ 930712 h 1960491"/>
                <a:gd name="connsiteX336" fmla="*/ 1734143 w 3296788"/>
                <a:gd name="connsiteY336" fmla="*/ 882613 h 1960491"/>
                <a:gd name="connsiteX337" fmla="*/ 1734143 w 3296788"/>
                <a:gd name="connsiteY337" fmla="*/ 851414 h 1960491"/>
                <a:gd name="connsiteX338" fmla="*/ 1825738 w 3296788"/>
                <a:gd name="connsiteY338" fmla="*/ 796816 h 1960491"/>
                <a:gd name="connsiteX339" fmla="*/ 1842422 w 3296788"/>
                <a:gd name="connsiteY339" fmla="*/ 791860 h 1960491"/>
                <a:gd name="connsiteX340" fmla="*/ 1459574 w 3296788"/>
                <a:gd name="connsiteY340" fmla="*/ 785938 h 1960491"/>
                <a:gd name="connsiteX341" fmla="*/ 1475922 w 3296788"/>
                <a:gd name="connsiteY341" fmla="*/ 789757 h 1960491"/>
                <a:gd name="connsiteX342" fmla="*/ 1562458 w 3296788"/>
                <a:gd name="connsiteY342" fmla="*/ 837855 h 1960491"/>
                <a:gd name="connsiteX343" fmla="*/ 1562458 w 3296788"/>
                <a:gd name="connsiteY343" fmla="*/ 869704 h 1960491"/>
                <a:gd name="connsiteX344" fmla="*/ 1469415 w 3296788"/>
                <a:gd name="connsiteY344" fmla="*/ 924303 h 1960491"/>
                <a:gd name="connsiteX345" fmla="*/ 1436232 w 3296788"/>
                <a:gd name="connsiteY345" fmla="*/ 924953 h 1960491"/>
                <a:gd name="connsiteX346" fmla="*/ 1351648 w 3296788"/>
                <a:gd name="connsiteY346" fmla="*/ 876204 h 1960491"/>
                <a:gd name="connsiteX347" fmla="*/ 1351648 w 3296788"/>
                <a:gd name="connsiteY347" fmla="*/ 845005 h 1960491"/>
                <a:gd name="connsiteX348" fmla="*/ 1442739 w 3296788"/>
                <a:gd name="connsiteY348" fmla="*/ 790407 h 1960491"/>
                <a:gd name="connsiteX349" fmla="*/ 1459574 w 3296788"/>
                <a:gd name="connsiteY349" fmla="*/ 785938 h 1960491"/>
                <a:gd name="connsiteX350" fmla="*/ 2801553 w 3296788"/>
                <a:gd name="connsiteY350" fmla="*/ 688169 h 1960491"/>
                <a:gd name="connsiteX351" fmla="*/ 2818144 w 3296788"/>
                <a:gd name="connsiteY351" fmla="*/ 692475 h 1960491"/>
                <a:gd name="connsiteX352" fmla="*/ 2904680 w 3296788"/>
                <a:gd name="connsiteY352" fmla="*/ 740574 h 1960491"/>
                <a:gd name="connsiteX353" fmla="*/ 2904029 w 3296788"/>
                <a:gd name="connsiteY353" fmla="*/ 771773 h 1960491"/>
                <a:gd name="connsiteX354" fmla="*/ 2811637 w 3296788"/>
                <a:gd name="connsiteY354" fmla="*/ 826371 h 1960491"/>
                <a:gd name="connsiteX355" fmla="*/ 2777804 w 3296788"/>
                <a:gd name="connsiteY355" fmla="*/ 827021 h 1960491"/>
                <a:gd name="connsiteX356" fmla="*/ 2693870 w 3296788"/>
                <a:gd name="connsiteY356" fmla="*/ 778273 h 1960491"/>
                <a:gd name="connsiteX357" fmla="*/ 2693870 w 3296788"/>
                <a:gd name="connsiteY357" fmla="*/ 747074 h 1960491"/>
                <a:gd name="connsiteX358" fmla="*/ 2784961 w 3296788"/>
                <a:gd name="connsiteY358" fmla="*/ 693125 h 1960491"/>
                <a:gd name="connsiteX359" fmla="*/ 2801553 w 3296788"/>
                <a:gd name="connsiteY359" fmla="*/ 688169 h 1960491"/>
                <a:gd name="connsiteX360" fmla="*/ 2418803 w 3296788"/>
                <a:gd name="connsiteY360" fmla="*/ 682409 h 1960491"/>
                <a:gd name="connsiteX361" fmla="*/ 2435440 w 3296788"/>
                <a:gd name="connsiteY361" fmla="*/ 686715 h 1960491"/>
                <a:gd name="connsiteX362" fmla="*/ 2522216 w 3296788"/>
                <a:gd name="connsiteY362" fmla="*/ 734814 h 1960491"/>
                <a:gd name="connsiteX363" fmla="*/ 2521563 w 3296788"/>
                <a:gd name="connsiteY363" fmla="*/ 766663 h 1960491"/>
                <a:gd name="connsiteX364" fmla="*/ 2428916 w 3296788"/>
                <a:gd name="connsiteY364" fmla="*/ 821261 h 1960491"/>
                <a:gd name="connsiteX365" fmla="*/ 2394989 w 3296788"/>
                <a:gd name="connsiteY365" fmla="*/ 821261 h 1960491"/>
                <a:gd name="connsiteX366" fmla="*/ 2310171 w 3296788"/>
                <a:gd name="connsiteY366" fmla="*/ 773163 h 1960491"/>
                <a:gd name="connsiteX367" fmla="*/ 2310171 w 3296788"/>
                <a:gd name="connsiteY367" fmla="*/ 741314 h 1960491"/>
                <a:gd name="connsiteX368" fmla="*/ 2402166 w 3296788"/>
                <a:gd name="connsiteY368" fmla="*/ 687365 h 1960491"/>
                <a:gd name="connsiteX369" fmla="*/ 2418803 w 3296788"/>
                <a:gd name="connsiteY369" fmla="*/ 682409 h 1960491"/>
                <a:gd name="connsiteX370" fmla="*/ 1266680 w 3296788"/>
                <a:gd name="connsiteY370" fmla="*/ 676649 h 1960491"/>
                <a:gd name="connsiteX371" fmla="*/ 1283317 w 3296788"/>
                <a:gd name="connsiteY371" fmla="*/ 680955 h 1960491"/>
                <a:gd name="connsiteX372" fmla="*/ 1370093 w 3296788"/>
                <a:gd name="connsiteY372" fmla="*/ 729053 h 1960491"/>
                <a:gd name="connsiteX373" fmla="*/ 1369440 w 3296788"/>
                <a:gd name="connsiteY373" fmla="*/ 760902 h 1960491"/>
                <a:gd name="connsiteX374" fmla="*/ 1276793 w 3296788"/>
                <a:gd name="connsiteY374" fmla="*/ 815501 h 1960491"/>
                <a:gd name="connsiteX375" fmla="*/ 1242866 w 3296788"/>
                <a:gd name="connsiteY375" fmla="*/ 816151 h 1960491"/>
                <a:gd name="connsiteX376" fmla="*/ 1158048 w 3296788"/>
                <a:gd name="connsiteY376" fmla="*/ 767402 h 1960491"/>
                <a:gd name="connsiteX377" fmla="*/ 1158048 w 3296788"/>
                <a:gd name="connsiteY377" fmla="*/ 736203 h 1960491"/>
                <a:gd name="connsiteX378" fmla="*/ 1250043 w 3296788"/>
                <a:gd name="connsiteY378" fmla="*/ 681605 h 1960491"/>
                <a:gd name="connsiteX379" fmla="*/ 1266680 w 3296788"/>
                <a:gd name="connsiteY379" fmla="*/ 676649 h 1960491"/>
                <a:gd name="connsiteX380" fmla="*/ 2032754 w 3296788"/>
                <a:gd name="connsiteY380" fmla="*/ 676648 h 1960491"/>
                <a:gd name="connsiteX381" fmla="*/ 2049102 w 3296788"/>
                <a:gd name="connsiteY381" fmla="*/ 680954 h 1960491"/>
                <a:gd name="connsiteX382" fmla="*/ 2135638 w 3296788"/>
                <a:gd name="connsiteY382" fmla="*/ 729052 h 1960491"/>
                <a:gd name="connsiteX383" fmla="*/ 2135638 w 3296788"/>
                <a:gd name="connsiteY383" fmla="*/ 760901 h 1960491"/>
                <a:gd name="connsiteX384" fmla="*/ 2042595 w 3296788"/>
                <a:gd name="connsiteY384" fmla="*/ 815500 h 1960491"/>
                <a:gd name="connsiteX385" fmla="*/ 2009412 w 3296788"/>
                <a:gd name="connsiteY385" fmla="*/ 816150 h 1960491"/>
                <a:gd name="connsiteX386" fmla="*/ 1924828 w 3296788"/>
                <a:gd name="connsiteY386" fmla="*/ 767401 h 1960491"/>
                <a:gd name="connsiteX387" fmla="*/ 1924828 w 3296788"/>
                <a:gd name="connsiteY387" fmla="*/ 736202 h 1960491"/>
                <a:gd name="connsiteX388" fmla="*/ 2015919 w 3296788"/>
                <a:gd name="connsiteY388" fmla="*/ 681604 h 1960491"/>
                <a:gd name="connsiteX389" fmla="*/ 2032754 w 3296788"/>
                <a:gd name="connsiteY389" fmla="*/ 676648 h 1960491"/>
                <a:gd name="connsiteX390" fmla="*/ 1649431 w 3296788"/>
                <a:gd name="connsiteY390" fmla="*/ 674084 h 1960491"/>
                <a:gd name="connsiteX391" fmla="*/ 1666022 w 3296788"/>
                <a:gd name="connsiteY391" fmla="*/ 678695 h 1960491"/>
                <a:gd name="connsiteX392" fmla="*/ 1752558 w 3296788"/>
                <a:gd name="connsiteY392" fmla="*/ 726581 h 1960491"/>
                <a:gd name="connsiteX393" fmla="*/ 1751907 w 3296788"/>
                <a:gd name="connsiteY393" fmla="*/ 757643 h 1960491"/>
                <a:gd name="connsiteX394" fmla="*/ 1659515 w 3296788"/>
                <a:gd name="connsiteY394" fmla="*/ 812000 h 1960491"/>
                <a:gd name="connsiteX395" fmla="*/ 1625682 w 3296788"/>
                <a:gd name="connsiteY395" fmla="*/ 812648 h 1960491"/>
                <a:gd name="connsiteX396" fmla="*/ 1541748 w 3296788"/>
                <a:gd name="connsiteY396" fmla="*/ 764114 h 1960491"/>
                <a:gd name="connsiteX397" fmla="*/ 1541748 w 3296788"/>
                <a:gd name="connsiteY397" fmla="*/ 733053 h 1960491"/>
                <a:gd name="connsiteX398" fmla="*/ 1632839 w 3296788"/>
                <a:gd name="connsiteY398" fmla="*/ 678695 h 1960491"/>
                <a:gd name="connsiteX399" fmla="*/ 1649431 w 3296788"/>
                <a:gd name="connsiteY399" fmla="*/ 674084 h 1960491"/>
                <a:gd name="connsiteX400" fmla="*/ 2991739 w 3296788"/>
                <a:gd name="connsiteY400" fmla="*/ 575837 h 1960491"/>
                <a:gd name="connsiteX401" fmla="*/ 3008621 w 3296788"/>
                <a:gd name="connsiteY401" fmla="*/ 580143 h 1960491"/>
                <a:gd name="connsiteX402" fmla="*/ 3095397 w 3296788"/>
                <a:gd name="connsiteY402" fmla="*/ 628241 h 1960491"/>
                <a:gd name="connsiteX403" fmla="*/ 3094744 w 3296788"/>
                <a:gd name="connsiteY403" fmla="*/ 660090 h 1960491"/>
                <a:gd name="connsiteX404" fmla="*/ 3002097 w 3296788"/>
                <a:gd name="connsiteY404" fmla="*/ 714688 h 1960491"/>
                <a:gd name="connsiteX405" fmla="*/ 2968170 w 3296788"/>
                <a:gd name="connsiteY405" fmla="*/ 714688 h 1960491"/>
                <a:gd name="connsiteX406" fmla="*/ 2883352 w 3296788"/>
                <a:gd name="connsiteY406" fmla="*/ 666590 h 1960491"/>
                <a:gd name="connsiteX407" fmla="*/ 2883352 w 3296788"/>
                <a:gd name="connsiteY407" fmla="*/ 634741 h 1960491"/>
                <a:gd name="connsiteX408" fmla="*/ 2975347 w 3296788"/>
                <a:gd name="connsiteY408" fmla="*/ 580793 h 1960491"/>
                <a:gd name="connsiteX409" fmla="*/ 2991739 w 3296788"/>
                <a:gd name="connsiteY409" fmla="*/ 575837 h 1960491"/>
                <a:gd name="connsiteX410" fmla="*/ 2608815 w 3296788"/>
                <a:gd name="connsiteY410" fmla="*/ 570076 h 1960491"/>
                <a:gd name="connsiteX411" fmla="*/ 2625163 w 3296788"/>
                <a:gd name="connsiteY411" fmla="*/ 574382 h 1960491"/>
                <a:gd name="connsiteX412" fmla="*/ 2711699 w 3296788"/>
                <a:gd name="connsiteY412" fmla="*/ 622480 h 1960491"/>
                <a:gd name="connsiteX413" fmla="*/ 2711699 w 3296788"/>
                <a:gd name="connsiteY413" fmla="*/ 654329 h 1960491"/>
                <a:gd name="connsiteX414" fmla="*/ 2618656 w 3296788"/>
                <a:gd name="connsiteY414" fmla="*/ 708927 h 1960491"/>
                <a:gd name="connsiteX415" fmla="*/ 2585473 w 3296788"/>
                <a:gd name="connsiteY415" fmla="*/ 708927 h 1960491"/>
                <a:gd name="connsiteX416" fmla="*/ 2500889 w 3296788"/>
                <a:gd name="connsiteY416" fmla="*/ 660829 h 1960491"/>
                <a:gd name="connsiteX417" fmla="*/ 2500889 w 3296788"/>
                <a:gd name="connsiteY417" fmla="*/ 629630 h 1960491"/>
                <a:gd name="connsiteX418" fmla="*/ 2591980 w 3296788"/>
                <a:gd name="connsiteY418" fmla="*/ 575032 h 1960491"/>
                <a:gd name="connsiteX419" fmla="*/ 2608815 w 3296788"/>
                <a:gd name="connsiteY419" fmla="*/ 570076 h 1960491"/>
                <a:gd name="connsiteX420" fmla="*/ 1459573 w 3296788"/>
                <a:gd name="connsiteY420" fmla="*/ 564552 h 1960491"/>
                <a:gd name="connsiteX421" fmla="*/ 1475921 w 3296788"/>
                <a:gd name="connsiteY421" fmla="*/ 568597 h 1960491"/>
                <a:gd name="connsiteX422" fmla="*/ 1562457 w 3296788"/>
                <a:gd name="connsiteY422" fmla="*/ 617130 h 1960491"/>
                <a:gd name="connsiteX423" fmla="*/ 1562457 w 3296788"/>
                <a:gd name="connsiteY423" fmla="*/ 648192 h 1960491"/>
                <a:gd name="connsiteX424" fmla="*/ 1469414 w 3296788"/>
                <a:gd name="connsiteY424" fmla="*/ 702549 h 1960491"/>
                <a:gd name="connsiteX425" fmla="*/ 1436231 w 3296788"/>
                <a:gd name="connsiteY425" fmla="*/ 703197 h 1960491"/>
                <a:gd name="connsiteX426" fmla="*/ 1351647 w 3296788"/>
                <a:gd name="connsiteY426" fmla="*/ 654663 h 1960491"/>
                <a:gd name="connsiteX427" fmla="*/ 1351647 w 3296788"/>
                <a:gd name="connsiteY427" fmla="*/ 623602 h 1960491"/>
                <a:gd name="connsiteX428" fmla="*/ 1442738 w 3296788"/>
                <a:gd name="connsiteY428" fmla="*/ 569244 h 1960491"/>
                <a:gd name="connsiteX429" fmla="*/ 1459573 w 3296788"/>
                <a:gd name="connsiteY429" fmla="*/ 564552 h 1960491"/>
                <a:gd name="connsiteX430" fmla="*/ 2225491 w 3296788"/>
                <a:gd name="connsiteY430" fmla="*/ 564551 h 1960491"/>
                <a:gd name="connsiteX431" fmla="*/ 2242083 w 3296788"/>
                <a:gd name="connsiteY431" fmla="*/ 568596 h 1960491"/>
                <a:gd name="connsiteX432" fmla="*/ 2328619 w 3296788"/>
                <a:gd name="connsiteY432" fmla="*/ 617129 h 1960491"/>
                <a:gd name="connsiteX433" fmla="*/ 2327968 w 3296788"/>
                <a:gd name="connsiteY433" fmla="*/ 648191 h 1960491"/>
                <a:gd name="connsiteX434" fmla="*/ 2235576 w 3296788"/>
                <a:gd name="connsiteY434" fmla="*/ 702548 h 1960491"/>
                <a:gd name="connsiteX435" fmla="*/ 2201743 w 3296788"/>
                <a:gd name="connsiteY435" fmla="*/ 703196 h 1960491"/>
                <a:gd name="connsiteX436" fmla="*/ 2117809 w 3296788"/>
                <a:gd name="connsiteY436" fmla="*/ 654662 h 1960491"/>
                <a:gd name="connsiteX437" fmla="*/ 2117809 w 3296788"/>
                <a:gd name="connsiteY437" fmla="*/ 623601 h 1960491"/>
                <a:gd name="connsiteX438" fmla="*/ 2208900 w 3296788"/>
                <a:gd name="connsiteY438" fmla="*/ 569243 h 1960491"/>
                <a:gd name="connsiteX439" fmla="*/ 2225491 w 3296788"/>
                <a:gd name="connsiteY439" fmla="*/ 564551 h 1960491"/>
                <a:gd name="connsiteX440" fmla="*/ 1842421 w 3296788"/>
                <a:gd name="connsiteY440" fmla="*/ 561274 h 1960491"/>
                <a:gd name="connsiteX441" fmla="*/ 1859104 w 3296788"/>
                <a:gd name="connsiteY441" fmla="*/ 565093 h 1960491"/>
                <a:gd name="connsiteX442" fmla="*/ 1946119 w 3296788"/>
                <a:gd name="connsiteY442" fmla="*/ 613841 h 1960491"/>
                <a:gd name="connsiteX443" fmla="*/ 1945465 w 3296788"/>
                <a:gd name="connsiteY443" fmla="*/ 645690 h 1960491"/>
                <a:gd name="connsiteX444" fmla="*/ 1852561 w 3296788"/>
                <a:gd name="connsiteY444" fmla="*/ 699639 h 1960491"/>
                <a:gd name="connsiteX445" fmla="*/ 1818540 w 3296788"/>
                <a:gd name="connsiteY445" fmla="*/ 700289 h 1960491"/>
                <a:gd name="connsiteX446" fmla="*/ 1734142 w 3296788"/>
                <a:gd name="connsiteY446" fmla="*/ 652190 h 1960491"/>
                <a:gd name="connsiteX447" fmla="*/ 1734142 w 3296788"/>
                <a:gd name="connsiteY447" fmla="*/ 620341 h 1960491"/>
                <a:gd name="connsiteX448" fmla="*/ 1825737 w 3296788"/>
                <a:gd name="connsiteY448" fmla="*/ 565743 h 1960491"/>
                <a:gd name="connsiteX449" fmla="*/ 1842421 w 3296788"/>
                <a:gd name="connsiteY449" fmla="*/ 561274 h 1960491"/>
                <a:gd name="connsiteX450" fmla="*/ 3184875 w 3296788"/>
                <a:gd name="connsiteY450" fmla="*/ 463507 h 1960491"/>
                <a:gd name="connsiteX451" fmla="*/ 3201223 w 3296788"/>
                <a:gd name="connsiteY451" fmla="*/ 467813 h 1960491"/>
                <a:gd name="connsiteX452" fmla="*/ 3287759 w 3296788"/>
                <a:gd name="connsiteY452" fmla="*/ 515912 h 1960491"/>
                <a:gd name="connsiteX453" fmla="*/ 3287759 w 3296788"/>
                <a:gd name="connsiteY453" fmla="*/ 547761 h 1960491"/>
                <a:gd name="connsiteX454" fmla="*/ 3194716 w 3296788"/>
                <a:gd name="connsiteY454" fmla="*/ 602359 h 1960491"/>
                <a:gd name="connsiteX455" fmla="*/ 3161533 w 3296788"/>
                <a:gd name="connsiteY455" fmla="*/ 603009 h 1960491"/>
                <a:gd name="connsiteX456" fmla="*/ 3076949 w 3296788"/>
                <a:gd name="connsiteY456" fmla="*/ 554261 h 1960491"/>
                <a:gd name="connsiteX457" fmla="*/ 3076949 w 3296788"/>
                <a:gd name="connsiteY457" fmla="*/ 523062 h 1960491"/>
                <a:gd name="connsiteX458" fmla="*/ 3168040 w 3296788"/>
                <a:gd name="connsiteY458" fmla="*/ 468463 h 1960491"/>
                <a:gd name="connsiteX459" fmla="*/ 3184875 w 3296788"/>
                <a:gd name="connsiteY459" fmla="*/ 463507 h 1960491"/>
                <a:gd name="connsiteX460" fmla="*/ 2801554 w 3296788"/>
                <a:gd name="connsiteY460" fmla="*/ 457982 h 1960491"/>
                <a:gd name="connsiteX461" fmla="*/ 2818145 w 3296788"/>
                <a:gd name="connsiteY461" fmla="*/ 462026 h 1960491"/>
                <a:gd name="connsiteX462" fmla="*/ 2904681 w 3296788"/>
                <a:gd name="connsiteY462" fmla="*/ 509913 h 1960491"/>
                <a:gd name="connsiteX463" fmla="*/ 2904030 w 3296788"/>
                <a:gd name="connsiteY463" fmla="*/ 541622 h 1960491"/>
                <a:gd name="connsiteX464" fmla="*/ 2811638 w 3296788"/>
                <a:gd name="connsiteY464" fmla="*/ 595980 h 1960491"/>
                <a:gd name="connsiteX465" fmla="*/ 2777805 w 3296788"/>
                <a:gd name="connsiteY465" fmla="*/ 596627 h 1960491"/>
                <a:gd name="connsiteX466" fmla="*/ 2693871 w 3296788"/>
                <a:gd name="connsiteY466" fmla="*/ 548093 h 1960491"/>
                <a:gd name="connsiteX467" fmla="*/ 2693871 w 3296788"/>
                <a:gd name="connsiteY467" fmla="*/ 516384 h 1960491"/>
                <a:gd name="connsiteX468" fmla="*/ 2784962 w 3296788"/>
                <a:gd name="connsiteY468" fmla="*/ 462673 h 1960491"/>
                <a:gd name="connsiteX469" fmla="*/ 2801554 w 3296788"/>
                <a:gd name="connsiteY469" fmla="*/ 457982 h 1960491"/>
                <a:gd name="connsiteX470" fmla="*/ 2418803 w 3296788"/>
                <a:gd name="connsiteY470" fmla="*/ 452220 h 1960491"/>
                <a:gd name="connsiteX471" fmla="*/ 2435440 w 3296788"/>
                <a:gd name="connsiteY471" fmla="*/ 456264 h 1960491"/>
                <a:gd name="connsiteX472" fmla="*/ 2522216 w 3296788"/>
                <a:gd name="connsiteY472" fmla="*/ 504798 h 1960491"/>
                <a:gd name="connsiteX473" fmla="*/ 2521563 w 3296788"/>
                <a:gd name="connsiteY473" fmla="*/ 536507 h 1960491"/>
                <a:gd name="connsiteX474" fmla="*/ 2428916 w 3296788"/>
                <a:gd name="connsiteY474" fmla="*/ 590218 h 1960491"/>
                <a:gd name="connsiteX475" fmla="*/ 2394989 w 3296788"/>
                <a:gd name="connsiteY475" fmla="*/ 590865 h 1960491"/>
                <a:gd name="connsiteX476" fmla="*/ 2310171 w 3296788"/>
                <a:gd name="connsiteY476" fmla="*/ 542978 h 1960491"/>
                <a:gd name="connsiteX477" fmla="*/ 2310171 w 3296788"/>
                <a:gd name="connsiteY477" fmla="*/ 511269 h 1960491"/>
                <a:gd name="connsiteX478" fmla="*/ 2402166 w 3296788"/>
                <a:gd name="connsiteY478" fmla="*/ 456911 h 1960491"/>
                <a:gd name="connsiteX479" fmla="*/ 2418803 w 3296788"/>
                <a:gd name="connsiteY479" fmla="*/ 452220 h 1960491"/>
                <a:gd name="connsiteX480" fmla="*/ 1649430 w 3296788"/>
                <a:gd name="connsiteY480" fmla="*/ 452220 h 1960491"/>
                <a:gd name="connsiteX481" fmla="*/ 1666021 w 3296788"/>
                <a:gd name="connsiteY481" fmla="*/ 456265 h 1960491"/>
                <a:gd name="connsiteX482" fmla="*/ 1752557 w 3296788"/>
                <a:gd name="connsiteY482" fmla="*/ 504799 h 1960491"/>
                <a:gd name="connsiteX483" fmla="*/ 1751906 w 3296788"/>
                <a:gd name="connsiteY483" fmla="*/ 536508 h 1960491"/>
                <a:gd name="connsiteX484" fmla="*/ 1659514 w 3296788"/>
                <a:gd name="connsiteY484" fmla="*/ 590218 h 1960491"/>
                <a:gd name="connsiteX485" fmla="*/ 1625681 w 3296788"/>
                <a:gd name="connsiteY485" fmla="*/ 590866 h 1960491"/>
                <a:gd name="connsiteX486" fmla="*/ 1541747 w 3296788"/>
                <a:gd name="connsiteY486" fmla="*/ 542979 h 1960491"/>
                <a:gd name="connsiteX487" fmla="*/ 1541747 w 3296788"/>
                <a:gd name="connsiteY487" fmla="*/ 511270 h 1960491"/>
                <a:gd name="connsiteX488" fmla="*/ 1632838 w 3296788"/>
                <a:gd name="connsiteY488" fmla="*/ 456912 h 1960491"/>
                <a:gd name="connsiteX489" fmla="*/ 1649430 w 3296788"/>
                <a:gd name="connsiteY489" fmla="*/ 452220 h 1960491"/>
                <a:gd name="connsiteX490" fmla="*/ 2032754 w 3296788"/>
                <a:gd name="connsiteY490" fmla="*/ 446217 h 1960491"/>
                <a:gd name="connsiteX491" fmla="*/ 2049102 w 3296788"/>
                <a:gd name="connsiteY491" fmla="*/ 450504 h 1960491"/>
                <a:gd name="connsiteX492" fmla="*/ 2135638 w 3296788"/>
                <a:gd name="connsiteY492" fmla="*/ 498391 h 1960491"/>
                <a:gd name="connsiteX493" fmla="*/ 2135638 w 3296788"/>
                <a:gd name="connsiteY493" fmla="*/ 529453 h 1960491"/>
                <a:gd name="connsiteX494" fmla="*/ 2042595 w 3296788"/>
                <a:gd name="connsiteY494" fmla="*/ 584458 h 1960491"/>
                <a:gd name="connsiteX495" fmla="*/ 2009412 w 3296788"/>
                <a:gd name="connsiteY495" fmla="*/ 584458 h 1960491"/>
                <a:gd name="connsiteX496" fmla="*/ 1924828 w 3296788"/>
                <a:gd name="connsiteY496" fmla="*/ 535924 h 1960491"/>
                <a:gd name="connsiteX497" fmla="*/ 1924828 w 3296788"/>
                <a:gd name="connsiteY497" fmla="*/ 504862 h 1960491"/>
                <a:gd name="connsiteX498" fmla="*/ 2015919 w 3296788"/>
                <a:gd name="connsiteY498" fmla="*/ 451151 h 1960491"/>
                <a:gd name="connsiteX499" fmla="*/ 2032754 w 3296788"/>
                <a:gd name="connsiteY499" fmla="*/ 446217 h 1960491"/>
                <a:gd name="connsiteX500" fmla="*/ 2991740 w 3296788"/>
                <a:gd name="connsiteY500" fmla="*/ 345333 h 1960491"/>
                <a:gd name="connsiteX501" fmla="*/ 3008622 w 3296788"/>
                <a:gd name="connsiteY501" fmla="*/ 349070 h 1960491"/>
                <a:gd name="connsiteX502" fmla="*/ 3095398 w 3296788"/>
                <a:gd name="connsiteY502" fmla="*/ 397818 h 1960491"/>
                <a:gd name="connsiteX503" fmla="*/ 3094745 w 3296788"/>
                <a:gd name="connsiteY503" fmla="*/ 429667 h 1960491"/>
                <a:gd name="connsiteX504" fmla="*/ 3002098 w 3296788"/>
                <a:gd name="connsiteY504" fmla="*/ 483615 h 1960491"/>
                <a:gd name="connsiteX505" fmla="*/ 2968171 w 3296788"/>
                <a:gd name="connsiteY505" fmla="*/ 484265 h 1960491"/>
                <a:gd name="connsiteX506" fmla="*/ 2883353 w 3296788"/>
                <a:gd name="connsiteY506" fmla="*/ 436167 h 1960491"/>
                <a:gd name="connsiteX507" fmla="*/ 2883353 w 3296788"/>
                <a:gd name="connsiteY507" fmla="*/ 404318 h 1960491"/>
                <a:gd name="connsiteX508" fmla="*/ 2975348 w 3296788"/>
                <a:gd name="connsiteY508" fmla="*/ 350370 h 1960491"/>
                <a:gd name="connsiteX509" fmla="*/ 2991740 w 3296788"/>
                <a:gd name="connsiteY509" fmla="*/ 345333 h 1960491"/>
                <a:gd name="connsiteX510" fmla="*/ 1842420 w 3296788"/>
                <a:gd name="connsiteY510" fmla="*/ 339653 h 1960491"/>
                <a:gd name="connsiteX511" fmla="*/ 1859103 w 3296788"/>
                <a:gd name="connsiteY511" fmla="*/ 343959 h 1960491"/>
                <a:gd name="connsiteX512" fmla="*/ 1946118 w 3296788"/>
                <a:gd name="connsiteY512" fmla="*/ 392057 h 1960491"/>
                <a:gd name="connsiteX513" fmla="*/ 1945464 w 3296788"/>
                <a:gd name="connsiteY513" fmla="*/ 423256 h 1960491"/>
                <a:gd name="connsiteX514" fmla="*/ 1852560 w 3296788"/>
                <a:gd name="connsiteY514" fmla="*/ 477854 h 1960491"/>
                <a:gd name="connsiteX515" fmla="*/ 1818539 w 3296788"/>
                <a:gd name="connsiteY515" fmla="*/ 478504 h 1960491"/>
                <a:gd name="connsiteX516" fmla="*/ 1734141 w 3296788"/>
                <a:gd name="connsiteY516" fmla="*/ 429756 h 1960491"/>
                <a:gd name="connsiteX517" fmla="*/ 1734141 w 3296788"/>
                <a:gd name="connsiteY517" fmla="*/ 398557 h 1960491"/>
                <a:gd name="connsiteX518" fmla="*/ 1825736 w 3296788"/>
                <a:gd name="connsiteY518" fmla="*/ 344609 h 1960491"/>
                <a:gd name="connsiteX519" fmla="*/ 1842420 w 3296788"/>
                <a:gd name="connsiteY519" fmla="*/ 339653 h 1960491"/>
                <a:gd name="connsiteX520" fmla="*/ 2608815 w 3296788"/>
                <a:gd name="connsiteY520" fmla="*/ 339652 h 1960491"/>
                <a:gd name="connsiteX521" fmla="*/ 2625163 w 3296788"/>
                <a:gd name="connsiteY521" fmla="*/ 343958 h 1960491"/>
                <a:gd name="connsiteX522" fmla="*/ 2711699 w 3296788"/>
                <a:gd name="connsiteY522" fmla="*/ 392056 h 1960491"/>
                <a:gd name="connsiteX523" fmla="*/ 2711699 w 3296788"/>
                <a:gd name="connsiteY523" fmla="*/ 423255 h 1960491"/>
                <a:gd name="connsiteX524" fmla="*/ 2618656 w 3296788"/>
                <a:gd name="connsiteY524" fmla="*/ 477853 h 1960491"/>
                <a:gd name="connsiteX525" fmla="*/ 2585473 w 3296788"/>
                <a:gd name="connsiteY525" fmla="*/ 478503 h 1960491"/>
                <a:gd name="connsiteX526" fmla="*/ 2500889 w 3296788"/>
                <a:gd name="connsiteY526" fmla="*/ 429755 h 1960491"/>
                <a:gd name="connsiteX527" fmla="*/ 2500889 w 3296788"/>
                <a:gd name="connsiteY527" fmla="*/ 398556 h 1960491"/>
                <a:gd name="connsiteX528" fmla="*/ 2591980 w 3296788"/>
                <a:gd name="connsiteY528" fmla="*/ 344608 h 1960491"/>
                <a:gd name="connsiteX529" fmla="*/ 2608815 w 3296788"/>
                <a:gd name="connsiteY529" fmla="*/ 339652 h 1960491"/>
                <a:gd name="connsiteX530" fmla="*/ 2225492 w 3296788"/>
                <a:gd name="connsiteY530" fmla="*/ 333811 h 1960491"/>
                <a:gd name="connsiteX531" fmla="*/ 2242083 w 3296788"/>
                <a:gd name="connsiteY531" fmla="*/ 338198 h 1960491"/>
                <a:gd name="connsiteX532" fmla="*/ 2328619 w 3296788"/>
                <a:gd name="connsiteY532" fmla="*/ 386296 h 1960491"/>
                <a:gd name="connsiteX533" fmla="*/ 2327968 w 3296788"/>
                <a:gd name="connsiteY533" fmla="*/ 418145 h 1960491"/>
                <a:gd name="connsiteX534" fmla="*/ 2235576 w 3296788"/>
                <a:gd name="connsiteY534" fmla="*/ 472743 h 1960491"/>
                <a:gd name="connsiteX535" fmla="*/ 2201743 w 3296788"/>
                <a:gd name="connsiteY535" fmla="*/ 472743 h 1960491"/>
                <a:gd name="connsiteX536" fmla="*/ 2117809 w 3296788"/>
                <a:gd name="connsiteY536" fmla="*/ 424645 h 1960491"/>
                <a:gd name="connsiteX537" fmla="*/ 2117809 w 3296788"/>
                <a:gd name="connsiteY537" fmla="*/ 393446 h 1960491"/>
                <a:gd name="connsiteX538" fmla="*/ 2208900 w 3296788"/>
                <a:gd name="connsiteY538" fmla="*/ 338198 h 1960491"/>
                <a:gd name="connsiteX539" fmla="*/ 2225492 w 3296788"/>
                <a:gd name="connsiteY539" fmla="*/ 333811 h 1960491"/>
                <a:gd name="connsiteX540" fmla="*/ 2801554 w 3296788"/>
                <a:gd name="connsiteY540" fmla="*/ 227322 h 1960491"/>
                <a:gd name="connsiteX541" fmla="*/ 2818145 w 3296788"/>
                <a:gd name="connsiteY541" fmla="*/ 231628 h 1960491"/>
                <a:gd name="connsiteX542" fmla="*/ 2904681 w 3296788"/>
                <a:gd name="connsiteY542" fmla="*/ 279727 h 1960491"/>
                <a:gd name="connsiteX543" fmla="*/ 2904030 w 3296788"/>
                <a:gd name="connsiteY543" fmla="*/ 311576 h 1960491"/>
                <a:gd name="connsiteX544" fmla="*/ 2811638 w 3296788"/>
                <a:gd name="connsiteY544" fmla="*/ 366174 h 1960491"/>
                <a:gd name="connsiteX545" fmla="*/ 2777805 w 3296788"/>
                <a:gd name="connsiteY545" fmla="*/ 366174 h 1960491"/>
                <a:gd name="connsiteX546" fmla="*/ 2693871 w 3296788"/>
                <a:gd name="connsiteY546" fmla="*/ 318076 h 1960491"/>
                <a:gd name="connsiteX547" fmla="*/ 2693871 w 3296788"/>
                <a:gd name="connsiteY547" fmla="*/ 286227 h 1960491"/>
                <a:gd name="connsiteX548" fmla="*/ 2784962 w 3296788"/>
                <a:gd name="connsiteY548" fmla="*/ 232278 h 1960491"/>
                <a:gd name="connsiteX549" fmla="*/ 2801554 w 3296788"/>
                <a:gd name="connsiteY549" fmla="*/ 227322 h 1960491"/>
                <a:gd name="connsiteX550" fmla="*/ 2032752 w 3296788"/>
                <a:gd name="connsiteY550" fmla="*/ 227322 h 1960491"/>
                <a:gd name="connsiteX551" fmla="*/ 2049100 w 3296788"/>
                <a:gd name="connsiteY551" fmla="*/ 231628 h 1960491"/>
                <a:gd name="connsiteX552" fmla="*/ 2135636 w 3296788"/>
                <a:gd name="connsiteY552" fmla="*/ 279726 h 1960491"/>
                <a:gd name="connsiteX553" fmla="*/ 2135636 w 3296788"/>
                <a:gd name="connsiteY553" fmla="*/ 311575 h 1960491"/>
                <a:gd name="connsiteX554" fmla="*/ 2042593 w 3296788"/>
                <a:gd name="connsiteY554" fmla="*/ 366174 h 1960491"/>
                <a:gd name="connsiteX555" fmla="*/ 2009410 w 3296788"/>
                <a:gd name="connsiteY555" fmla="*/ 366174 h 1960491"/>
                <a:gd name="connsiteX556" fmla="*/ 1924826 w 3296788"/>
                <a:gd name="connsiteY556" fmla="*/ 318075 h 1960491"/>
                <a:gd name="connsiteX557" fmla="*/ 1924826 w 3296788"/>
                <a:gd name="connsiteY557" fmla="*/ 286226 h 1960491"/>
                <a:gd name="connsiteX558" fmla="*/ 2015917 w 3296788"/>
                <a:gd name="connsiteY558" fmla="*/ 232278 h 1960491"/>
                <a:gd name="connsiteX559" fmla="*/ 2032752 w 3296788"/>
                <a:gd name="connsiteY559" fmla="*/ 227322 h 1960491"/>
                <a:gd name="connsiteX560" fmla="*/ 2418803 w 3296788"/>
                <a:gd name="connsiteY560" fmla="*/ 221560 h 1960491"/>
                <a:gd name="connsiteX561" fmla="*/ 2435440 w 3296788"/>
                <a:gd name="connsiteY561" fmla="*/ 225866 h 1960491"/>
                <a:gd name="connsiteX562" fmla="*/ 2522216 w 3296788"/>
                <a:gd name="connsiteY562" fmla="*/ 273965 h 1960491"/>
                <a:gd name="connsiteX563" fmla="*/ 2521563 w 3296788"/>
                <a:gd name="connsiteY563" fmla="*/ 305814 h 1960491"/>
                <a:gd name="connsiteX564" fmla="*/ 2428916 w 3296788"/>
                <a:gd name="connsiteY564" fmla="*/ 360412 h 1960491"/>
                <a:gd name="connsiteX565" fmla="*/ 2394989 w 3296788"/>
                <a:gd name="connsiteY565" fmla="*/ 361062 h 1960491"/>
                <a:gd name="connsiteX566" fmla="*/ 2310171 w 3296788"/>
                <a:gd name="connsiteY566" fmla="*/ 312314 h 1960491"/>
                <a:gd name="connsiteX567" fmla="*/ 2310171 w 3296788"/>
                <a:gd name="connsiteY567" fmla="*/ 281115 h 1960491"/>
                <a:gd name="connsiteX568" fmla="*/ 2402166 w 3296788"/>
                <a:gd name="connsiteY568" fmla="*/ 226516 h 1960491"/>
                <a:gd name="connsiteX569" fmla="*/ 2418803 w 3296788"/>
                <a:gd name="connsiteY569" fmla="*/ 221560 h 1960491"/>
                <a:gd name="connsiteX570" fmla="*/ 2225490 w 3296788"/>
                <a:gd name="connsiteY570" fmla="*/ 112110 h 1960491"/>
                <a:gd name="connsiteX571" fmla="*/ 2242081 w 3296788"/>
                <a:gd name="connsiteY571" fmla="*/ 116416 h 1960491"/>
                <a:gd name="connsiteX572" fmla="*/ 2328617 w 3296788"/>
                <a:gd name="connsiteY572" fmla="*/ 164514 h 1960491"/>
                <a:gd name="connsiteX573" fmla="*/ 2327966 w 3296788"/>
                <a:gd name="connsiteY573" fmla="*/ 196363 h 1960491"/>
                <a:gd name="connsiteX574" fmla="*/ 2235574 w 3296788"/>
                <a:gd name="connsiteY574" fmla="*/ 250962 h 1960491"/>
                <a:gd name="connsiteX575" fmla="*/ 2201741 w 3296788"/>
                <a:gd name="connsiteY575" fmla="*/ 251612 h 1960491"/>
                <a:gd name="connsiteX576" fmla="*/ 2117807 w 3296788"/>
                <a:gd name="connsiteY576" fmla="*/ 202863 h 1960491"/>
                <a:gd name="connsiteX577" fmla="*/ 2117807 w 3296788"/>
                <a:gd name="connsiteY577" fmla="*/ 171664 h 1960491"/>
                <a:gd name="connsiteX578" fmla="*/ 2208898 w 3296788"/>
                <a:gd name="connsiteY578" fmla="*/ 117066 h 1960491"/>
                <a:gd name="connsiteX579" fmla="*/ 2225490 w 3296788"/>
                <a:gd name="connsiteY579" fmla="*/ 112110 h 1960491"/>
                <a:gd name="connsiteX580" fmla="*/ 2608815 w 3296788"/>
                <a:gd name="connsiteY580" fmla="*/ 109464 h 1960491"/>
                <a:gd name="connsiteX581" fmla="*/ 2625163 w 3296788"/>
                <a:gd name="connsiteY581" fmla="*/ 113508 h 1960491"/>
                <a:gd name="connsiteX582" fmla="*/ 2711699 w 3296788"/>
                <a:gd name="connsiteY582" fmla="*/ 162042 h 1960491"/>
                <a:gd name="connsiteX583" fmla="*/ 2711699 w 3296788"/>
                <a:gd name="connsiteY583" fmla="*/ 193103 h 1960491"/>
                <a:gd name="connsiteX584" fmla="*/ 2618656 w 3296788"/>
                <a:gd name="connsiteY584" fmla="*/ 247461 h 1960491"/>
                <a:gd name="connsiteX585" fmla="*/ 2585473 w 3296788"/>
                <a:gd name="connsiteY585" fmla="*/ 248108 h 1960491"/>
                <a:gd name="connsiteX586" fmla="*/ 2500889 w 3296788"/>
                <a:gd name="connsiteY586" fmla="*/ 199575 h 1960491"/>
                <a:gd name="connsiteX587" fmla="*/ 2500889 w 3296788"/>
                <a:gd name="connsiteY587" fmla="*/ 168513 h 1960491"/>
                <a:gd name="connsiteX588" fmla="*/ 2591980 w 3296788"/>
                <a:gd name="connsiteY588" fmla="*/ 114155 h 1960491"/>
                <a:gd name="connsiteX589" fmla="*/ 2608815 w 3296788"/>
                <a:gd name="connsiteY589" fmla="*/ 109464 h 1960491"/>
                <a:gd name="connsiteX590" fmla="*/ 2418801 w 3296788"/>
                <a:gd name="connsiteY590" fmla="*/ 13 h 1960491"/>
                <a:gd name="connsiteX591" fmla="*/ 2435438 w 3296788"/>
                <a:gd name="connsiteY591" fmla="*/ 4058 h 1960491"/>
                <a:gd name="connsiteX592" fmla="*/ 2522214 w 3296788"/>
                <a:gd name="connsiteY592" fmla="*/ 52591 h 1960491"/>
                <a:gd name="connsiteX593" fmla="*/ 2521561 w 3296788"/>
                <a:gd name="connsiteY593" fmla="*/ 83653 h 1960491"/>
                <a:gd name="connsiteX594" fmla="*/ 2428914 w 3296788"/>
                <a:gd name="connsiteY594" fmla="*/ 138010 h 1960491"/>
                <a:gd name="connsiteX595" fmla="*/ 2394987 w 3296788"/>
                <a:gd name="connsiteY595" fmla="*/ 138658 h 1960491"/>
                <a:gd name="connsiteX596" fmla="*/ 2310169 w 3296788"/>
                <a:gd name="connsiteY596" fmla="*/ 90124 h 1960491"/>
                <a:gd name="connsiteX597" fmla="*/ 2310169 w 3296788"/>
                <a:gd name="connsiteY597" fmla="*/ 59063 h 1960491"/>
                <a:gd name="connsiteX598" fmla="*/ 2402164 w 3296788"/>
                <a:gd name="connsiteY598" fmla="*/ 4705 h 1960491"/>
                <a:gd name="connsiteX599" fmla="*/ 2418801 w 3296788"/>
                <a:gd name="connsiteY599" fmla="*/ 13 h 1960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</a:cxnLst>
              <a:rect l="l" t="t" r="r" b="b"/>
              <a:pathLst>
                <a:path w="3296788" h="1960491">
                  <a:moveTo>
                    <a:pt x="883514" y="1817173"/>
                  </a:moveTo>
                  <a:cubicBezTo>
                    <a:pt x="889289" y="1817010"/>
                    <a:pt x="894982" y="1818316"/>
                    <a:pt x="899862" y="1820927"/>
                  </a:cubicBezTo>
                  <a:lnTo>
                    <a:pt x="986398" y="1869893"/>
                  </a:lnTo>
                  <a:cubicBezTo>
                    <a:pt x="998760" y="1877074"/>
                    <a:pt x="998110" y="1894702"/>
                    <a:pt x="986398" y="1901883"/>
                  </a:cubicBezTo>
                  <a:lnTo>
                    <a:pt x="893355" y="1955419"/>
                  </a:lnTo>
                  <a:cubicBezTo>
                    <a:pt x="883596" y="1961947"/>
                    <a:pt x="870583" y="1961947"/>
                    <a:pt x="860172" y="1956724"/>
                  </a:cubicBezTo>
                  <a:lnTo>
                    <a:pt x="775588" y="1908412"/>
                  </a:lnTo>
                  <a:cubicBezTo>
                    <a:pt x="763226" y="1901230"/>
                    <a:pt x="763877" y="1883603"/>
                    <a:pt x="775588" y="1876421"/>
                  </a:cubicBezTo>
                  <a:lnTo>
                    <a:pt x="866679" y="1822233"/>
                  </a:lnTo>
                  <a:cubicBezTo>
                    <a:pt x="871884" y="1818969"/>
                    <a:pt x="877740" y="1817336"/>
                    <a:pt x="883514" y="1817173"/>
                  </a:cubicBezTo>
                  <a:close/>
                  <a:moveTo>
                    <a:pt x="1076253" y="1705153"/>
                  </a:moveTo>
                  <a:cubicBezTo>
                    <a:pt x="1081946" y="1704991"/>
                    <a:pt x="1087639" y="1706285"/>
                    <a:pt x="1092844" y="1709197"/>
                  </a:cubicBezTo>
                  <a:lnTo>
                    <a:pt x="1179380" y="1757084"/>
                  </a:lnTo>
                  <a:cubicBezTo>
                    <a:pt x="1191742" y="1764202"/>
                    <a:pt x="1191092" y="1781674"/>
                    <a:pt x="1178729" y="1788145"/>
                  </a:cubicBezTo>
                  <a:lnTo>
                    <a:pt x="1086337" y="1843150"/>
                  </a:lnTo>
                  <a:cubicBezTo>
                    <a:pt x="1075927" y="1848974"/>
                    <a:pt x="1062914" y="1849621"/>
                    <a:pt x="1053154" y="1843150"/>
                  </a:cubicBezTo>
                  <a:lnTo>
                    <a:pt x="968570" y="1795264"/>
                  </a:lnTo>
                  <a:cubicBezTo>
                    <a:pt x="956208" y="1788145"/>
                    <a:pt x="956859" y="1771320"/>
                    <a:pt x="968570" y="1763555"/>
                  </a:cubicBezTo>
                  <a:lnTo>
                    <a:pt x="1059661" y="1709844"/>
                  </a:lnTo>
                  <a:cubicBezTo>
                    <a:pt x="1064866" y="1706932"/>
                    <a:pt x="1070559" y="1705315"/>
                    <a:pt x="1076253" y="1705153"/>
                  </a:cubicBezTo>
                  <a:close/>
                  <a:moveTo>
                    <a:pt x="693747" y="1699148"/>
                  </a:moveTo>
                  <a:cubicBezTo>
                    <a:pt x="699537" y="1699067"/>
                    <a:pt x="705246" y="1700523"/>
                    <a:pt x="710139" y="1703435"/>
                  </a:cubicBezTo>
                  <a:lnTo>
                    <a:pt x="796915" y="1751969"/>
                  </a:lnTo>
                  <a:cubicBezTo>
                    <a:pt x="808659" y="1758440"/>
                    <a:pt x="808659" y="1775912"/>
                    <a:pt x="796262" y="1783030"/>
                  </a:cubicBezTo>
                  <a:lnTo>
                    <a:pt x="703615" y="1837388"/>
                  </a:lnTo>
                  <a:cubicBezTo>
                    <a:pt x="693176" y="1843212"/>
                    <a:pt x="680127" y="1843859"/>
                    <a:pt x="670340" y="1838035"/>
                  </a:cubicBezTo>
                  <a:lnTo>
                    <a:pt x="584870" y="1789502"/>
                  </a:lnTo>
                  <a:cubicBezTo>
                    <a:pt x="573126" y="1782383"/>
                    <a:pt x="573126" y="1765558"/>
                    <a:pt x="584870" y="1758440"/>
                  </a:cubicBezTo>
                  <a:lnTo>
                    <a:pt x="676865" y="1704082"/>
                  </a:lnTo>
                  <a:cubicBezTo>
                    <a:pt x="682085" y="1700847"/>
                    <a:pt x="687957" y="1699229"/>
                    <a:pt x="693747" y="1699148"/>
                  </a:cubicBezTo>
                  <a:close/>
                  <a:moveTo>
                    <a:pt x="1266684" y="1589704"/>
                  </a:moveTo>
                  <a:cubicBezTo>
                    <a:pt x="1272393" y="1589623"/>
                    <a:pt x="1278102" y="1591085"/>
                    <a:pt x="1283321" y="1594010"/>
                  </a:cubicBezTo>
                  <a:lnTo>
                    <a:pt x="1370097" y="1642108"/>
                  </a:lnTo>
                  <a:cubicBezTo>
                    <a:pt x="1381841" y="1649258"/>
                    <a:pt x="1381841" y="1666808"/>
                    <a:pt x="1369444" y="1673957"/>
                  </a:cubicBezTo>
                  <a:lnTo>
                    <a:pt x="1276797" y="1728555"/>
                  </a:lnTo>
                  <a:cubicBezTo>
                    <a:pt x="1266358" y="1734405"/>
                    <a:pt x="1253309" y="1734405"/>
                    <a:pt x="1242870" y="1729205"/>
                  </a:cubicBezTo>
                  <a:lnTo>
                    <a:pt x="1158052" y="1680457"/>
                  </a:lnTo>
                  <a:cubicBezTo>
                    <a:pt x="1146308" y="1673307"/>
                    <a:pt x="1146308" y="1656408"/>
                    <a:pt x="1158052" y="1649258"/>
                  </a:cubicBezTo>
                  <a:lnTo>
                    <a:pt x="1250047" y="1594660"/>
                  </a:lnTo>
                  <a:cubicBezTo>
                    <a:pt x="1255266" y="1591410"/>
                    <a:pt x="1260975" y="1589785"/>
                    <a:pt x="1266684" y="1589704"/>
                  </a:cubicBezTo>
                  <a:close/>
                  <a:moveTo>
                    <a:pt x="883514" y="1586662"/>
                  </a:moveTo>
                  <a:cubicBezTo>
                    <a:pt x="889289" y="1586580"/>
                    <a:pt x="894982" y="1587880"/>
                    <a:pt x="899862" y="1590480"/>
                  </a:cubicBezTo>
                  <a:lnTo>
                    <a:pt x="986398" y="1639229"/>
                  </a:lnTo>
                  <a:cubicBezTo>
                    <a:pt x="998760" y="1645729"/>
                    <a:pt x="998110" y="1663278"/>
                    <a:pt x="986398" y="1670428"/>
                  </a:cubicBezTo>
                  <a:lnTo>
                    <a:pt x="893355" y="1725026"/>
                  </a:lnTo>
                  <a:cubicBezTo>
                    <a:pt x="883596" y="1731526"/>
                    <a:pt x="870583" y="1731526"/>
                    <a:pt x="860172" y="1725676"/>
                  </a:cubicBezTo>
                  <a:lnTo>
                    <a:pt x="775588" y="1676928"/>
                  </a:lnTo>
                  <a:cubicBezTo>
                    <a:pt x="763226" y="1670428"/>
                    <a:pt x="763877" y="1652878"/>
                    <a:pt x="775588" y="1645729"/>
                  </a:cubicBezTo>
                  <a:lnTo>
                    <a:pt x="866679" y="1591130"/>
                  </a:lnTo>
                  <a:cubicBezTo>
                    <a:pt x="871884" y="1588205"/>
                    <a:pt x="877740" y="1586743"/>
                    <a:pt x="883514" y="1586662"/>
                  </a:cubicBezTo>
                  <a:close/>
                  <a:moveTo>
                    <a:pt x="500433" y="1581063"/>
                  </a:moveTo>
                  <a:cubicBezTo>
                    <a:pt x="506208" y="1580982"/>
                    <a:pt x="511901" y="1582444"/>
                    <a:pt x="516781" y="1585369"/>
                  </a:cubicBezTo>
                  <a:lnTo>
                    <a:pt x="603317" y="1633468"/>
                  </a:lnTo>
                  <a:cubicBezTo>
                    <a:pt x="615679" y="1639968"/>
                    <a:pt x="615029" y="1658167"/>
                    <a:pt x="602666" y="1665317"/>
                  </a:cubicBezTo>
                  <a:lnTo>
                    <a:pt x="510274" y="1719915"/>
                  </a:lnTo>
                  <a:cubicBezTo>
                    <a:pt x="499864" y="1725765"/>
                    <a:pt x="486851" y="1725765"/>
                    <a:pt x="477091" y="1719915"/>
                  </a:cubicBezTo>
                  <a:lnTo>
                    <a:pt x="392507" y="1671817"/>
                  </a:lnTo>
                  <a:cubicBezTo>
                    <a:pt x="380145" y="1664667"/>
                    <a:pt x="380796" y="1647117"/>
                    <a:pt x="392507" y="1639968"/>
                  </a:cubicBezTo>
                  <a:lnTo>
                    <a:pt x="483598" y="1586019"/>
                  </a:lnTo>
                  <a:cubicBezTo>
                    <a:pt x="488803" y="1582769"/>
                    <a:pt x="494659" y="1581144"/>
                    <a:pt x="500433" y="1581063"/>
                  </a:cubicBezTo>
                  <a:close/>
                  <a:moveTo>
                    <a:pt x="1076251" y="1471929"/>
                  </a:moveTo>
                  <a:cubicBezTo>
                    <a:pt x="1081944" y="1471848"/>
                    <a:pt x="1087637" y="1473304"/>
                    <a:pt x="1092842" y="1476539"/>
                  </a:cubicBezTo>
                  <a:lnTo>
                    <a:pt x="1179378" y="1524426"/>
                  </a:lnTo>
                  <a:cubicBezTo>
                    <a:pt x="1191740" y="1531545"/>
                    <a:pt x="1191090" y="1548370"/>
                    <a:pt x="1178727" y="1556135"/>
                  </a:cubicBezTo>
                  <a:lnTo>
                    <a:pt x="1086335" y="1610493"/>
                  </a:lnTo>
                  <a:cubicBezTo>
                    <a:pt x="1075925" y="1616317"/>
                    <a:pt x="1062912" y="1616317"/>
                    <a:pt x="1053152" y="1610493"/>
                  </a:cubicBezTo>
                  <a:lnTo>
                    <a:pt x="968568" y="1562606"/>
                  </a:lnTo>
                  <a:cubicBezTo>
                    <a:pt x="956206" y="1555488"/>
                    <a:pt x="956857" y="1538016"/>
                    <a:pt x="968568" y="1530897"/>
                  </a:cubicBezTo>
                  <a:lnTo>
                    <a:pt x="1059659" y="1476539"/>
                  </a:lnTo>
                  <a:cubicBezTo>
                    <a:pt x="1064864" y="1473627"/>
                    <a:pt x="1070557" y="1472009"/>
                    <a:pt x="1076251" y="1471929"/>
                  </a:cubicBezTo>
                  <a:close/>
                  <a:moveTo>
                    <a:pt x="693747" y="1468975"/>
                  </a:moveTo>
                  <a:cubicBezTo>
                    <a:pt x="699537" y="1468812"/>
                    <a:pt x="705246" y="1470112"/>
                    <a:pt x="710139" y="1473037"/>
                  </a:cubicBezTo>
                  <a:lnTo>
                    <a:pt x="796915" y="1521135"/>
                  </a:lnTo>
                  <a:cubicBezTo>
                    <a:pt x="808659" y="1528285"/>
                    <a:pt x="808659" y="1545835"/>
                    <a:pt x="796262" y="1552984"/>
                  </a:cubicBezTo>
                  <a:lnTo>
                    <a:pt x="703615" y="1606932"/>
                  </a:lnTo>
                  <a:cubicBezTo>
                    <a:pt x="693176" y="1613432"/>
                    <a:pt x="680127" y="1613432"/>
                    <a:pt x="670340" y="1607582"/>
                  </a:cubicBezTo>
                  <a:lnTo>
                    <a:pt x="584870" y="1559484"/>
                  </a:lnTo>
                  <a:cubicBezTo>
                    <a:pt x="573126" y="1552334"/>
                    <a:pt x="573126" y="1534785"/>
                    <a:pt x="584870" y="1527635"/>
                  </a:cubicBezTo>
                  <a:lnTo>
                    <a:pt x="676865" y="1473687"/>
                  </a:lnTo>
                  <a:cubicBezTo>
                    <a:pt x="682085" y="1470762"/>
                    <a:pt x="687957" y="1469137"/>
                    <a:pt x="693747" y="1468975"/>
                  </a:cubicBezTo>
                  <a:close/>
                  <a:moveTo>
                    <a:pt x="307453" y="1463207"/>
                  </a:moveTo>
                  <a:cubicBezTo>
                    <a:pt x="313228" y="1463045"/>
                    <a:pt x="318921" y="1464339"/>
                    <a:pt x="323801" y="1467251"/>
                  </a:cubicBezTo>
                  <a:lnTo>
                    <a:pt x="410337" y="1515138"/>
                  </a:lnTo>
                  <a:cubicBezTo>
                    <a:pt x="422699" y="1521609"/>
                    <a:pt x="422049" y="1539728"/>
                    <a:pt x="410337" y="1546846"/>
                  </a:cubicBezTo>
                  <a:lnTo>
                    <a:pt x="317294" y="1601204"/>
                  </a:lnTo>
                  <a:cubicBezTo>
                    <a:pt x="307535" y="1607028"/>
                    <a:pt x="294522" y="1607675"/>
                    <a:pt x="284111" y="1601204"/>
                  </a:cubicBezTo>
                  <a:lnTo>
                    <a:pt x="199527" y="1553318"/>
                  </a:lnTo>
                  <a:cubicBezTo>
                    <a:pt x="187165" y="1546199"/>
                    <a:pt x="187816" y="1529374"/>
                    <a:pt x="199527" y="1521609"/>
                  </a:cubicBezTo>
                  <a:lnTo>
                    <a:pt x="290618" y="1467898"/>
                  </a:lnTo>
                  <a:cubicBezTo>
                    <a:pt x="295823" y="1464986"/>
                    <a:pt x="301679" y="1463369"/>
                    <a:pt x="307453" y="1463207"/>
                  </a:cubicBezTo>
                  <a:close/>
                  <a:moveTo>
                    <a:pt x="1266682" y="1359198"/>
                  </a:moveTo>
                  <a:cubicBezTo>
                    <a:pt x="1272391" y="1359035"/>
                    <a:pt x="1278100" y="1360335"/>
                    <a:pt x="1283319" y="1362935"/>
                  </a:cubicBezTo>
                  <a:lnTo>
                    <a:pt x="1370095" y="1411683"/>
                  </a:lnTo>
                  <a:cubicBezTo>
                    <a:pt x="1381839" y="1418833"/>
                    <a:pt x="1381839" y="1436383"/>
                    <a:pt x="1369442" y="1443532"/>
                  </a:cubicBezTo>
                  <a:lnTo>
                    <a:pt x="1276795" y="1497480"/>
                  </a:lnTo>
                  <a:cubicBezTo>
                    <a:pt x="1266356" y="1503980"/>
                    <a:pt x="1253307" y="1503980"/>
                    <a:pt x="1242868" y="1498130"/>
                  </a:cubicBezTo>
                  <a:lnTo>
                    <a:pt x="1158050" y="1450032"/>
                  </a:lnTo>
                  <a:cubicBezTo>
                    <a:pt x="1146306" y="1442882"/>
                    <a:pt x="1146306" y="1425333"/>
                    <a:pt x="1158050" y="1418183"/>
                  </a:cubicBezTo>
                  <a:lnTo>
                    <a:pt x="1250045" y="1364235"/>
                  </a:lnTo>
                  <a:cubicBezTo>
                    <a:pt x="1255265" y="1360985"/>
                    <a:pt x="1260973" y="1359360"/>
                    <a:pt x="1266682" y="1359198"/>
                  </a:cubicBezTo>
                  <a:close/>
                  <a:moveTo>
                    <a:pt x="117685" y="1356636"/>
                  </a:moveTo>
                  <a:cubicBezTo>
                    <a:pt x="123475" y="1356474"/>
                    <a:pt x="129184" y="1357768"/>
                    <a:pt x="134077" y="1360680"/>
                  </a:cubicBezTo>
                  <a:lnTo>
                    <a:pt x="220853" y="1409214"/>
                  </a:lnTo>
                  <a:cubicBezTo>
                    <a:pt x="232597" y="1415685"/>
                    <a:pt x="232597" y="1433158"/>
                    <a:pt x="220853" y="1440276"/>
                  </a:cubicBezTo>
                  <a:lnTo>
                    <a:pt x="127553" y="1494634"/>
                  </a:lnTo>
                  <a:cubicBezTo>
                    <a:pt x="117114" y="1500458"/>
                    <a:pt x="104065" y="1501105"/>
                    <a:pt x="94278" y="1494634"/>
                  </a:cubicBezTo>
                  <a:lnTo>
                    <a:pt x="8808" y="1446747"/>
                  </a:lnTo>
                  <a:cubicBezTo>
                    <a:pt x="-2936" y="1439629"/>
                    <a:pt x="-2936" y="1422804"/>
                    <a:pt x="8808" y="1415685"/>
                  </a:cubicBezTo>
                  <a:lnTo>
                    <a:pt x="100803" y="1361327"/>
                  </a:lnTo>
                  <a:cubicBezTo>
                    <a:pt x="106023" y="1358415"/>
                    <a:pt x="111895" y="1356798"/>
                    <a:pt x="117685" y="1356636"/>
                  </a:cubicBezTo>
                  <a:close/>
                  <a:moveTo>
                    <a:pt x="883514" y="1356634"/>
                  </a:moveTo>
                  <a:cubicBezTo>
                    <a:pt x="889289" y="1356473"/>
                    <a:pt x="894982" y="1357767"/>
                    <a:pt x="899862" y="1360679"/>
                  </a:cubicBezTo>
                  <a:lnTo>
                    <a:pt x="986398" y="1409213"/>
                  </a:lnTo>
                  <a:cubicBezTo>
                    <a:pt x="998760" y="1415684"/>
                    <a:pt x="998110" y="1433156"/>
                    <a:pt x="986398" y="1440274"/>
                  </a:cubicBezTo>
                  <a:lnTo>
                    <a:pt x="893355" y="1494633"/>
                  </a:lnTo>
                  <a:cubicBezTo>
                    <a:pt x="883596" y="1500457"/>
                    <a:pt x="870583" y="1501104"/>
                    <a:pt x="860172" y="1494633"/>
                  </a:cubicBezTo>
                  <a:lnTo>
                    <a:pt x="775588" y="1446746"/>
                  </a:lnTo>
                  <a:cubicBezTo>
                    <a:pt x="763226" y="1439627"/>
                    <a:pt x="763877" y="1422802"/>
                    <a:pt x="775588" y="1415684"/>
                  </a:cubicBezTo>
                  <a:lnTo>
                    <a:pt x="866679" y="1361326"/>
                  </a:lnTo>
                  <a:cubicBezTo>
                    <a:pt x="871884" y="1358414"/>
                    <a:pt x="877740" y="1356796"/>
                    <a:pt x="883514" y="1356634"/>
                  </a:cubicBezTo>
                  <a:close/>
                  <a:moveTo>
                    <a:pt x="500432" y="1350483"/>
                  </a:moveTo>
                  <a:cubicBezTo>
                    <a:pt x="506207" y="1350402"/>
                    <a:pt x="511900" y="1351707"/>
                    <a:pt x="516780" y="1354319"/>
                  </a:cubicBezTo>
                  <a:lnTo>
                    <a:pt x="603316" y="1402631"/>
                  </a:lnTo>
                  <a:cubicBezTo>
                    <a:pt x="615678" y="1409813"/>
                    <a:pt x="615028" y="1427440"/>
                    <a:pt x="602665" y="1434622"/>
                  </a:cubicBezTo>
                  <a:lnTo>
                    <a:pt x="510273" y="1489464"/>
                  </a:lnTo>
                  <a:cubicBezTo>
                    <a:pt x="499863" y="1495339"/>
                    <a:pt x="486850" y="1495339"/>
                    <a:pt x="477090" y="1490116"/>
                  </a:cubicBezTo>
                  <a:lnTo>
                    <a:pt x="392506" y="1441151"/>
                  </a:lnTo>
                  <a:cubicBezTo>
                    <a:pt x="380144" y="1434622"/>
                    <a:pt x="380795" y="1416994"/>
                    <a:pt x="392506" y="1409813"/>
                  </a:cubicBezTo>
                  <a:lnTo>
                    <a:pt x="483597" y="1354972"/>
                  </a:lnTo>
                  <a:cubicBezTo>
                    <a:pt x="488802" y="1352034"/>
                    <a:pt x="494658" y="1350565"/>
                    <a:pt x="500432" y="1350483"/>
                  </a:cubicBezTo>
                  <a:close/>
                  <a:moveTo>
                    <a:pt x="1459575" y="1247184"/>
                  </a:moveTo>
                  <a:cubicBezTo>
                    <a:pt x="1465350" y="1247022"/>
                    <a:pt x="1471043" y="1248316"/>
                    <a:pt x="1475923" y="1251228"/>
                  </a:cubicBezTo>
                  <a:lnTo>
                    <a:pt x="1562459" y="1299762"/>
                  </a:lnTo>
                  <a:cubicBezTo>
                    <a:pt x="1574821" y="1305586"/>
                    <a:pt x="1574171" y="1323059"/>
                    <a:pt x="1562459" y="1330824"/>
                  </a:cubicBezTo>
                  <a:lnTo>
                    <a:pt x="1469416" y="1385182"/>
                  </a:lnTo>
                  <a:cubicBezTo>
                    <a:pt x="1459657" y="1391006"/>
                    <a:pt x="1446644" y="1391653"/>
                    <a:pt x="1436233" y="1385182"/>
                  </a:cubicBezTo>
                  <a:lnTo>
                    <a:pt x="1351649" y="1336648"/>
                  </a:lnTo>
                  <a:cubicBezTo>
                    <a:pt x="1339287" y="1330177"/>
                    <a:pt x="1339938" y="1313352"/>
                    <a:pt x="1351649" y="1305586"/>
                  </a:cubicBezTo>
                  <a:lnTo>
                    <a:pt x="1442740" y="1251875"/>
                  </a:lnTo>
                  <a:cubicBezTo>
                    <a:pt x="1447945" y="1248963"/>
                    <a:pt x="1453801" y="1247345"/>
                    <a:pt x="1459575" y="1247184"/>
                  </a:cubicBezTo>
                  <a:close/>
                  <a:moveTo>
                    <a:pt x="307452" y="1241188"/>
                  </a:moveTo>
                  <a:cubicBezTo>
                    <a:pt x="313227" y="1241106"/>
                    <a:pt x="318920" y="1242569"/>
                    <a:pt x="323800" y="1245494"/>
                  </a:cubicBezTo>
                  <a:lnTo>
                    <a:pt x="410336" y="1293592"/>
                  </a:lnTo>
                  <a:cubicBezTo>
                    <a:pt x="422698" y="1300742"/>
                    <a:pt x="422048" y="1318292"/>
                    <a:pt x="410336" y="1325441"/>
                  </a:cubicBezTo>
                  <a:lnTo>
                    <a:pt x="317293" y="1380040"/>
                  </a:lnTo>
                  <a:cubicBezTo>
                    <a:pt x="307534" y="1385890"/>
                    <a:pt x="294521" y="1385890"/>
                    <a:pt x="284110" y="1380690"/>
                  </a:cubicBezTo>
                  <a:lnTo>
                    <a:pt x="199526" y="1331941"/>
                  </a:lnTo>
                  <a:cubicBezTo>
                    <a:pt x="187164" y="1324791"/>
                    <a:pt x="187815" y="1307892"/>
                    <a:pt x="199526" y="1300742"/>
                  </a:cubicBezTo>
                  <a:lnTo>
                    <a:pt x="290617" y="1246144"/>
                  </a:lnTo>
                  <a:cubicBezTo>
                    <a:pt x="295822" y="1242894"/>
                    <a:pt x="301678" y="1241269"/>
                    <a:pt x="307452" y="1241188"/>
                  </a:cubicBezTo>
                  <a:close/>
                  <a:moveTo>
                    <a:pt x="1076251" y="1241187"/>
                  </a:moveTo>
                  <a:cubicBezTo>
                    <a:pt x="1081944" y="1241105"/>
                    <a:pt x="1087637" y="1242568"/>
                    <a:pt x="1092842" y="1245493"/>
                  </a:cubicBezTo>
                  <a:lnTo>
                    <a:pt x="1179378" y="1293591"/>
                  </a:lnTo>
                  <a:cubicBezTo>
                    <a:pt x="1191740" y="1300741"/>
                    <a:pt x="1191090" y="1318291"/>
                    <a:pt x="1178727" y="1325440"/>
                  </a:cubicBezTo>
                  <a:lnTo>
                    <a:pt x="1086335" y="1380039"/>
                  </a:lnTo>
                  <a:cubicBezTo>
                    <a:pt x="1075925" y="1385889"/>
                    <a:pt x="1062912" y="1385889"/>
                    <a:pt x="1053152" y="1380689"/>
                  </a:cubicBezTo>
                  <a:lnTo>
                    <a:pt x="968568" y="1331940"/>
                  </a:lnTo>
                  <a:cubicBezTo>
                    <a:pt x="956206" y="1324790"/>
                    <a:pt x="956857" y="1307891"/>
                    <a:pt x="968568" y="1300741"/>
                  </a:cubicBezTo>
                  <a:lnTo>
                    <a:pt x="1059659" y="1246143"/>
                  </a:lnTo>
                  <a:cubicBezTo>
                    <a:pt x="1064864" y="1242893"/>
                    <a:pt x="1070557" y="1241268"/>
                    <a:pt x="1076251" y="1241187"/>
                  </a:cubicBezTo>
                  <a:close/>
                  <a:moveTo>
                    <a:pt x="693746" y="1238226"/>
                  </a:moveTo>
                  <a:cubicBezTo>
                    <a:pt x="699536" y="1238226"/>
                    <a:pt x="705245" y="1239689"/>
                    <a:pt x="710138" y="1242614"/>
                  </a:cubicBezTo>
                  <a:lnTo>
                    <a:pt x="796914" y="1290712"/>
                  </a:lnTo>
                  <a:cubicBezTo>
                    <a:pt x="808658" y="1297212"/>
                    <a:pt x="808658" y="1314761"/>
                    <a:pt x="796261" y="1321911"/>
                  </a:cubicBezTo>
                  <a:lnTo>
                    <a:pt x="703614" y="1376509"/>
                  </a:lnTo>
                  <a:cubicBezTo>
                    <a:pt x="693175" y="1383009"/>
                    <a:pt x="680126" y="1383009"/>
                    <a:pt x="670339" y="1377159"/>
                  </a:cubicBezTo>
                  <a:lnTo>
                    <a:pt x="584869" y="1328411"/>
                  </a:lnTo>
                  <a:cubicBezTo>
                    <a:pt x="573125" y="1321911"/>
                    <a:pt x="573125" y="1304361"/>
                    <a:pt x="584869" y="1297212"/>
                  </a:cubicBezTo>
                  <a:lnTo>
                    <a:pt x="676864" y="1242614"/>
                  </a:lnTo>
                  <a:cubicBezTo>
                    <a:pt x="682084" y="1239689"/>
                    <a:pt x="687956" y="1238226"/>
                    <a:pt x="693746" y="1238226"/>
                  </a:cubicBezTo>
                  <a:close/>
                  <a:moveTo>
                    <a:pt x="1649432" y="1134616"/>
                  </a:moveTo>
                  <a:cubicBezTo>
                    <a:pt x="1655125" y="1134535"/>
                    <a:pt x="1660818" y="1135997"/>
                    <a:pt x="1666023" y="1138922"/>
                  </a:cubicBezTo>
                  <a:lnTo>
                    <a:pt x="1752559" y="1187020"/>
                  </a:lnTo>
                  <a:cubicBezTo>
                    <a:pt x="1764921" y="1194170"/>
                    <a:pt x="1764271" y="1211720"/>
                    <a:pt x="1751908" y="1218869"/>
                  </a:cubicBezTo>
                  <a:lnTo>
                    <a:pt x="1659516" y="1273467"/>
                  </a:lnTo>
                  <a:cubicBezTo>
                    <a:pt x="1649106" y="1279317"/>
                    <a:pt x="1636093" y="1279317"/>
                    <a:pt x="1625683" y="1274117"/>
                  </a:cubicBezTo>
                  <a:lnTo>
                    <a:pt x="1541749" y="1225369"/>
                  </a:lnTo>
                  <a:cubicBezTo>
                    <a:pt x="1529387" y="1218219"/>
                    <a:pt x="1530038" y="1201320"/>
                    <a:pt x="1541749" y="1194170"/>
                  </a:cubicBezTo>
                  <a:lnTo>
                    <a:pt x="1632840" y="1139572"/>
                  </a:lnTo>
                  <a:cubicBezTo>
                    <a:pt x="1638045" y="1136322"/>
                    <a:pt x="1643738" y="1134697"/>
                    <a:pt x="1649432" y="1134616"/>
                  </a:cubicBezTo>
                  <a:close/>
                  <a:moveTo>
                    <a:pt x="500431" y="1128774"/>
                  </a:moveTo>
                  <a:cubicBezTo>
                    <a:pt x="506206" y="1128774"/>
                    <a:pt x="511899" y="1130237"/>
                    <a:pt x="516779" y="1133162"/>
                  </a:cubicBezTo>
                  <a:lnTo>
                    <a:pt x="603315" y="1181260"/>
                  </a:lnTo>
                  <a:cubicBezTo>
                    <a:pt x="615677" y="1187760"/>
                    <a:pt x="615027" y="1205309"/>
                    <a:pt x="602664" y="1212459"/>
                  </a:cubicBezTo>
                  <a:lnTo>
                    <a:pt x="510272" y="1267057"/>
                  </a:lnTo>
                  <a:cubicBezTo>
                    <a:pt x="499862" y="1273557"/>
                    <a:pt x="486849" y="1273557"/>
                    <a:pt x="477089" y="1267707"/>
                  </a:cubicBezTo>
                  <a:lnTo>
                    <a:pt x="392505" y="1218959"/>
                  </a:lnTo>
                  <a:cubicBezTo>
                    <a:pt x="380143" y="1212459"/>
                    <a:pt x="380794" y="1194909"/>
                    <a:pt x="392505" y="1187760"/>
                  </a:cubicBezTo>
                  <a:lnTo>
                    <a:pt x="483596" y="1133162"/>
                  </a:lnTo>
                  <a:cubicBezTo>
                    <a:pt x="488801" y="1130237"/>
                    <a:pt x="494657" y="1128774"/>
                    <a:pt x="500431" y="1128774"/>
                  </a:cubicBezTo>
                  <a:close/>
                  <a:moveTo>
                    <a:pt x="1266682" y="1128773"/>
                  </a:moveTo>
                  <a:cubicBezTo>
                    <a:pt x="1272391" y="1128773"/>
                    <a:pt x="1278100" y="1130236"/>
                    <a:pt x="1283319" y="1133161"/>
                  </a:cubicBezTo>
                  <a:lnTo>
                    <a:pt x="1370095" y="1181259"/>
                  </a:lnTo>
                  <a:cubicBezTo>
                    <a:pt x="1381839" y="1187759"/>
                    <a:pt x="1381839" y="1205308"/>
                    <a:pt x="1369442" y="1212458"/>
                  </a:cubicBezTo>
                  <a:lnTo>
                    <a:pt x="1276795" y="1267056"/>
                  </a:lnTo>
                  <a:cubicBezTo>
                    <a:pt x="1266356" y="1273556"/>
                    <a:pt x="1253307" y="1273556"/>
                    <a:pt x="1242868" y="1267706"/>
                  </a:cubicBezTo>
                  <a:lnTo>
                    <a:pt x="1158050" y="1218958"/>
                  </a:lnTo>
                  <a:cubicBezTo>
                    <a:pt x="1146306" y="1212458"/>
                    <a:pt x="1146306" y="1194908"/>
                    <a:pt x="1158050" y="1187759"/>
                  </a:cubicBezTo>
                  <a:lnTo>
                    <a:pt x="1250045" y="1133161"/>
                  </a:lnTo>
                  <a:cubicBezTo>
                    <a:pt x="1255264" y="1130236"/>
                    <a:pt x="1260973" y="1128773"/>
                    <a:pt x="1266682" y="1128773"/>
                  </a:cubicBezTo>
                  <a:close/>
                  <a:moveTo>
                    <a:pt x="883513" y="1125894"/>
                  </a:moveTo>
                  <a:cubicBezTo>
                    <a:pt x="889288" y="1125732"/>
                    <a:pt x="894981" y="1127032"/>
                    <a:pt x="899861" y="1129632"/>
                  </a:cubicBezTo>
                  <a:lnTo>
                    <a:pt x="986397" y="1178380"/>
                  </a:lnTo>
                  <a:cubicBezTo>
                    <a:pt x="998759" y="1185530"/>
                    <a:pt x="998109" y="1203080"/>
                    <a:pt x="986397" y="1210229"/>
                  </a:cubicBezTo>
                  <a:lnTo>
                    <a:pt x="893354" y="1264828"/>
                  </a:lnTo>
                  <a:cubicBezTo>
                    <a:pt x="883595" y="1270678"/>
                    <a:pt x="870582" y="1270678"/>
                    <a:pt x="860171" y="1264828"/>
                  </a:cubicBezTo>
                  <a:lnTo>
                    <a:pt x="775587" y="1216729"/>
                  </a:lnTo>
                  <a:cubicBezTo>
                    <a:pt x="763225" y="1209579"/>
                    <a:pt x="763876" y="1192030"/>
                    <a:pt x="775587" y="1184880"/>
                  </a:cubicBezTo>
                  <a:lnTo>
                    <a:pt x="866678" y="1130932"/>
                  </a:lnTo>
                  <a:cubicBezTo>
                    <a:pt x="871883" y="1127682"/>
                    <a:pt x="877739" y="1126057"/>
                    <a:pt x="883513" y="1125894"/>
                  </a:cubicBezTo>
                  <a:close/>
                  <a:moveTo>
                    <a:pt x="1842422" y="1022122"/>
                  </a:moveTo>
                  <a:cubicBezTo>
                    <a:pt x="1848146" y="1022040"/>
                    <a:pt x="1853871" y="1023340"/>
                    <a:pt x="1859105" y="1025940"/>
                  </a:cubicBezTo>
                  <a:lnTo>
                    <a:pt x="1946120" y="1074039"/>
                  </a:lnTo>
                  <a:cubicBezTo>
                    <a:pt x="1957897" y="1081189"/>
                    <a:pt x="1957897" y="1098738"/>
                    <a:pt x="1945466" y="1105888"/>
                  </a:cubicBezTo>
                  <a:lnTo>
                    <a:pt x="1852562" y="1160486"/>
                  </a:lnTo>
                  <a:cubicBezTo>
                    <a:pt x="1842094" y="1166986"/>
                    <a:pt x="1829009" y="1166986"/>
                    <a:pt x="1818541" y="1161136"/>
                  </a:cubicBezTo>
                  <a:lnTo>
                    <a:pt x="1734143" y="1112388"/>
                  </a:lnTo>
                  <a:cubicBezTo>
                    <a:pt x="1722366" y="1105888"/>
                    <a:pt x="1722366" y="1088338"/>
                    <a:pt x="1734143" y="1081189"/>
                  </a:cubicBezTo>
                  <a:lnTo>
                    <a:pt x="1825738" y="1026590"/>
                  </a:lnTo>
                  <a:cubicBezTo>
                    <a:pt x="1830972" y="1023665"/>
                    <a:pt x="1836697" y="1022203"/>
                    <a:pt x="1842422" y="1022122"/>
                  </a:cubicBezTo>
                  <a:close/>
                  <a:moveTo>
                    <a:pt x="693745" y="1016760"/>
                  </a:moveTo>
                  <a:cubicBezTo>
                    <a:pt x="699535" y="1016599"/>
                    <a:pt x="705244" y="1017893"/>
                    <a:pt x="710137" y="1020805"/>
                  </a:cubicBezTo>
                  <a:lnTo>
                    <a:pt x="796913" y="1069339"/>
                  </a:lnTo>
                  <a:cubicBezTo>
                    <a:pt x="808657" y="1076457"/>
                    <a:pt x="808657" y="1093282"/>
                    <a:pt x="796260" y="1101048"/>
                  </a:cubicBezTo>
                  <a:lnTo>
                    <a:pt x="703613" y="1154758"/>
                  </a:lnTo>
                  <a:cubicBezTo>
                    <a:pt x="693174" y="1161230"/>
                    <a:pt x="680125" y="1161230"/>
                    <a:pt x="670338" y="1155406"/>
                  </a:cubicBezTo>
                  <a:lnTo>
                    <a:pt x="584868" y="1107519"/>
                  </a:lnTo>
                  <a:cubicBezTo>
                    <a:pt x="573124" y="1100400"/>
                    <a:pt x="573124" y="1082928"/>
                    <a:pt x="584868" y="1075810"/>
                  </a:cubicBezTo>
                  <a:lnTo>
                    <a:pt x="676863" y="1021452"/>
                  </a:lnTo>
                  <a:cubicBezTo>
                    <a:pt x="682082" y="1018540"/>
                    <a:pt x="687954" y="1016922"/>
                    <a:pt x="693745" y="1016760"/>
                  </a:cubicBezTo>
                  <a:close/>
                  <a:moveTo>
                    <a:pt x="1459575" y="1016759"/>
                  </a:moveTo>
                  <a:cubicBezTo>
                    <a:pt x="1465350" y="1016598"/>
                    <a:pt x="1471043" y="1017892"/>
                    <a:pt x="1475923" y="1020804"/>
                  </a:cubicBezTo>
                  <a:lnTo>
                    <a:pt x="1562459" y="1069338"/>
                  </a:lnTo>
                  <a:cubicBezTo>
                    <a:pt x="1574821" y="1076456"/>
                    <a:pt x="1574171" y="1093281"/>
                    <a:pt x="1562459" y="1101047"/>
                  </a:cubicBezTo>
                  <a:lnTo>
                    <a:pt x="1469416" y="1154757"/>
                  </a:lnTo>
                  <a:cubicBezTo>
                    <a:pt x="1459657" y="1161229"/>
                    <a:pt x="1446644" y="1161229"/>
                    <a:pt x="1436233" y="1155405"/>
                  </a:cubicBezTo>
                  <a:lnTo>
                    <a:pt x="1351649" y="1107518"/>
                  </a:lnTo>
                  <a:cubicBezTo>
                    <a:pt x="1339287" y="1100399"/>
                    <a:pt x="1339938" y="1082927"/>
                    <a:pt x="1351649" y="1075809"/>
                  </a:cubicBezTo>
                  <a:lnTo>
                    <a:pt x="1442740" y="1021451"/>
                  </a:lnTo>
                  <a:cubicBezTo>
                    <a:pt x="1447945" y="1018539"/>
                    <a:pt x="1453801" y="1016921"/>
                    <a:pt x="1459575" y="1016759"/>
                  </a:cubicBezTo>
                  <a:close/>
                  <a:moveTo>
                    <a:pt x="1076249" y="1011007"/>
                  </a:moveTo>
                  <a:cubicBezTo>
                    <a:pt x="1081943" y="1010845"/>
                    <a:pt x="1087636" y="1012145"/>
                    <a:pt x="1092841" y="1015070"/>
                  </a:cubicBezTo>
                  <a:lnTo>
                    <a:pt x="1179377" y="1063168"/>
                  </a:lnTo>
                  <a:cubicBezTo>
                    <a:pt x="1191739" y="1070318"/>
                    <a:pt x="1191089" y="1087868"/>
                    <a:pt x="1178726" y="1095017"/>
                  </a:cubicBezTo>
                  <a:lnTo>
                    <a:pt x="1086334" y="1148966"/>
                  </a:lnTo>
                  <a:cubicBezTo>
                    <a:pt x="1075924" y="1155466"/>
                    <a:pt x="1062911" y="1155466"/>
                    <a:pt x="1053151" y="1149616"/>
                  </a:cubicBezTo>
                  <a:lnTo>
                    <a:pt x="968567" y="1101517"/>
                  </a:lnTo>
                  <a:cubicBezTo>
                    <a:pt x="956205" y="1095017"/>
                    <a:pt x="956856" y="1076818"/>
                    <a:pt x="968567" y="1069668"/>
                  </a:cubicBezTo>
                  <a:lnTo>
                    <a:pt x="1059658" y="1015720"/>
                  </a:lnTo>
                  <a:cubicBezTo>
                    <a:pt x="1064863" y="1012795"/>
                    <a:pt x="1070556" y="1011170"/>
                    <a:pt x="1076249" y="1011007"/>
                  </a:cubicBezTo>
                  <a:close/>
                  <a:moveTo>
                    <a:pt x="2450028" y="912842"/>
                  </a:moveTo>
                  <a:cubicBezTo>
                    <a:pt x="2455821" y="912761"/>
                    <a:pt x="2461532" y="914233"/>
                    <a:pt x="2466428" y="917178"/>
                  </a:cubicBezTo>
                  <a:lnTo>
                    <a:pt x="2553241" y="965601"/>
                  </a:lnTo>
                  <a:cubicBezTo>
                    <a:pt x="2565642" y="972800"/>
                    <a:pt x="2564989" y="990468"/>
                    <a:pt x="2552588" y="997666"/>
                  </a:cubicBezTo>
                  <a:lnTo>
                    <a:pt x="1475592" y="1621286"/>
                  </a:lnTo>
                  <a:cubicBezTo>
                    <a:pt x="1465801" y="1627830"/>
                    <a:pt x="1452747" y="1627830"/>
                    <a:pt x="1442303" y="1621940"/>
                  </a:cubicBezTo>
                  <a:lnTo>
                    <a:pt x="1357449" y="1573517"/>
                  </a:lnTo>
                  <a:cubicBezTo>
                    <a:pt x="1345047" y="1566319"/>
                    <a:pt x="1345700" y="1548650"/>
                    <a:pt x="1357449" y="1541452"/>
                  </a:cubicBezTo>
                  <a:lnTo>
                    <a:pt x="2433139" y="917832"/>
                  </a:lnTo>
                  <a:cubicBezTo>
                    <a:pt x="2438361" y="914560"/>
                    <a:pt x="2444236" y="912924"/>
                    <a:pt x="2450028" y="912842"/>
                  </a:cubicBezTo>
                  <a:close/>
                  <a:moveTo>
                    <a:pt x="2032754" y="907308"/>
                  </a:moveTo>
                  <a:cubicBezTo>
                    <a:pt x="2038529" y="907146"/>
                    <a:pt x="2044222" y="908440"/>
                    <a:pt x="2049102" y="911352"/>
                  </a:cubicBezTo>
                  <a:lnTo>
                    <a:pt x="2135638" y="959886"/>
                  </a:lnTo>
                  <a:cubicBezTo>
                    <a:pt x="2148000" y="966357"/>
                    <a:pt x="2147350" y="983830"/>
                    <a:pt x="2135638" y="991595"/>
                  </a:cubicBezTo>
                  <a:lnTo>
                    <a:pt x="2042595" y="1045306"/>
                  </a:lnTo>
                  <a:cubicBezTo>
                    <a:pt x="2032836" y="1051777"/>
                    <a:pt x="2019823" y="1051777"/>
                    <a:pt x="2009412" y="1045953"/>
                  </a:cubicBezTo>
                  <a:lnTo>
                    <a:pt x="1924828" y="998066"/>
                  </a:lnTo>
                  <a:cubicBezTo>
                    <a:pt x="1912466" y="990948"/>
                    <a:pt x="1913117" y="973476"/>
                    <a:pt x="1924828" y="966357"/>
                  </a:cubicBezTo>
                  <a:lnTo>
                    <a:pt x="2015919" y="911999"/>
                  </a:lnTo>
                  <a:cubicBezTo>
                    <a:pt x="2021124" y="909087"/>
                    <a:pt x="2026980" y="907470"/>
                    <a:pt x="2032754" y="907308"/>
                  </a:cubicBezTo>
                  <a:close/>
                  <a:moveTo>
                    <a:pt x="883512" y="904111"/>
                  </a:moveTo>
                  <a:cubicBezTo>
                    <a:pt x="889287" y="903949"/>
                    <a:pt x="894980" y="905249"/>
                    <a:pt x="899860" y="907849"/>
                  </a:cubicBezTo>
                  <a:lnTo>
                    <a:pt x="986396" y="956597"/>
                  </a:lnTo>
                  <a:cubicBezTo>
                    <a:pt x="998758" y="963747"/>
                    <a:pt x="998108" y="981296"/>
                    <a:pt x="986396" y="987796"/>
                  </a:cubicBezTo>
                  <a:lnTo>
                    <a:pt x="893353" y="1042394"/>
                  </a:lnTo>
                  <a:cubicBezTo>
                    <a:pt x="883594" y="1048894"/>
                    <a:pt x="870581" y="1048894"/>
                    <a:pt x="860170" y="1043044"/>
                  </a:cubicBezTo>
                  <a:lnTo>
                    <a:pt x="775586" y="994946"/>
                  </a:lnTo>
                  <a:cubicBezTo>
                    <a:pt x="763224" y="987796"/>
                    <a:pt x="763875" y="970246"/>
                    <a:pt x="775586" y="963097"/>
                  </a:cubicBezTo>
                  <a:lnTo>
                    <a:pt x="866677" y="909149"/>
                  </a:lnTo>
                  <a:cubicBezTo>
                    <a:pt x="871882" y="905899"/>
                    <a:pt x="877738" y="904274"/>
                    <a:pt x="883512" y="904111"/>
                  </a:cubicBezTo>
                  <a:close/>
                  <a:moveTo>
                    <a:pt x="1649432" y="904110"/>
                  </a:moveTo>
                  <a:cubicBezTo>
                    <a:pt x="1655125" y="903948"/>
                    <a:pt x="1660818" y="905248"/>
                    <a:pt x="1666023" y="907848"/>
                  </a:cubicBezTo>
                  <a:lnTo>
                    <a:pt x="1752559" y="956596"/>
                  </a:lnTo>
                  <a:cubicBezTo>
                    <a:pt x="1764921" y="963746"/>
                    <a:pt x="1764271" y="981295"/>
                    <a:pt x="1751908" y="987795"/>
                  </a:cubicBezTo>
                  <a:lnTo>
                    <a:pt x="1659516" y="1042393"/>
                  </a:lnTo>
                  <a:cubicBezTo>
                    <a:pt x="1649106" y="1048893"/>
                    <a:pt x="1636093" y="1048893"/>
                    <a:pt x="1625683" y="1043043"/>
                  </a:cubicBezTo>
                  <a:lnTo>
                    <a:pt x="1541749" y="994945"/>
                  </a:lnTo>
                  <a:cubicBezTo>
                    <a:pt x="1529387" y="987795"/>
                    <a:pt x="1530038" y="970245"/>
                    <a:pt x="1541749" y="963096"/>
                  </a:cubicBezTo>
                  <a:lnTo>
                    <a:pt x="1632840" y="909148"/>
                  </a:lnTo>
                  <a:cubicBezTo>
                    <a:pt x="1638045" y="905898"/>
                    <a:pt x="1643738" y="904273"/>
                    <a:pt x="1649432" y="904110"/>
                  </a:cubicBezTo>
                  <a:close/>
                  <a:moveTo>
                    <a:pt x="1266681" y="898432"/>
                  </a:moveTo>
                  <a:cubicBezTo>
                    <a:pt x="1272390" y="898350"/>
                    <a:pt x="1278098" y="899813"/>
                    <a:pt x="1283318" y="902738"/>
                  </a:cubicBezTo>
                  <a:lnTo>
                    <a:pt x="1370094" y="950836"/>
                  </a:lnTo>
                  <a:cubicBezTo>
                    <a:pt x="1381838" y="957986"/>
                    <a:pt x="1381838" y="975535"/>
                    <a:pt x="1369441" y="982685"/>
                  </a:cubicBezTo>
                  <a:lnTo>
                    <a:pt x="1276794" y="1037283"/>
                  </a:lnTo>
                  <a:cubicBezTo>
                    <a:pt x="1266355" y="1043133"/>
                    <a:pt x="1253306" y="1043133"/>
                    <a:pt x="1242867" y="1037283"/>
                  </a:cubicBezTo>
                  <a:lnTo>
                    <a:pt x="1158049" y="989185"/>
                  </a:lnTo>
                  <a:cubicBezTo>
                    <a:pt x="1146305" y="982035"/>
                    <a:pt x="1146305" y="965135"/>
                    <a:pt x="1158049" y="957986"/>
                  </a:cubicBezTo>
                  <a:lnTo>
                    <a:pt x="1250044" y="903388"/>
                  </a:lnTo>
                  <a:cubicBezTo>
                    <a:pt x="1255264" y="900138"/>
                    <a:pt x="1260972" y="898513"/>
                    <a:pt x="1266681" y="898432"/>
                  </a:cubicBezTo>
                  <a:close/>
                  <a:moveTo>
                    <a:pt x="2608815" y="800737"/>
                  </a:moveTo>
                  <a:cubicBezTo>
                    <a:pt x="2614590" y="800575"/>
                    <a:pt x="2620283" y="801869"/>
                    <a:pt x="2625163" y="804781"/>
                  </a:cubicBezTo>
                  <a:lnTo>
                    <a:pt x="2711699" y="853315"/>
                  </a:lnTo>
                  <a:cubicBezTo>
                    <a:pt x="2724061" y="859786"/>
                    <a:pt x="2723411" y="877905"/>
                    <a:pt x="2711699" y="885023"/>
                  </a:cubicBezTo>
                  <a:lnTo>
                    <a:pt x="2618656" y="938734"/>
                  </a:lnTo>
                  <a:cubicBezTo>
                    <a:pt x="2608897" y="945205"/>
                    <a:pt x="2595884" y="945205"/>
                    <a:pt x="2585473" y="939381"/>
                  </a:cubicBezTo>
                  <a:lnTo>
                    <a:pt x="2500889" y="891495"/>
                  </a:lnTo>
                  <a:cubicBezTo>
                    <a:pt x="2488527" y="884376"/>
                    <a:pt x="2489178" y="866904"/>
                    <a:pt x="2500889" y="859786"/>
                  </a:cubicBezTo>
                  <a:lnTo>
                    <a:pt x="2591980" y="805428"/>
                  </a:lnTo>
                  <a:cubicBezTo>
                    <a:pt x="2597185" y="802516"/>
                    <a:pt x="2603041" y="800898"/>
                    <a:pt x="2608815" y="800737"/>
                  </a:cubicBezTo>
                  <a:close/>
                  <a:moveTo>
                    <a:pt x="2225492" y="794740"/>
                  </a:moveTo>
                  <a:cubicBezTo>
                    <a:pt x="2231185" y="794659"/>
                    <a:pt x="2236878" y="796121"/>
                    <a:pt x="2242083" y="799046"/>
                  </a:cubicBezTo>
                  <a:lnTo>
                    <a:pt x="2328619" y="847144"/>
                  </a:lnTo>
                  <a:cubicBezTo>
                    <a:pt x="2340981" y="854294"/>
                    <a:pt x="2340331" y="871844"/>
                    <a:pt x="2327968" y="878343"/>
                  </a:cubicBezTo>
                  <a:lnTo>
                    <a:pt x="2235576" y="932941"/>
                  </a:lnTo>
                  <a:cubicBezTo>
                    <a:pt x="2225166" y="939441"/>
                    <a:pt x="2212153" y="939441"/>
                    <a:pt x="2201743" y="933591"/>
                  </a:cubicBezTo>
                  <a:lnTo>
                    <a:pt x="2117809" y="885493"/>
                  </a:lnTo>
                  <a:cubicBezTo>
                    <a:pt x="2105447" y="878343"/>
                    <a:pt x="2106098" y="860794"/>
                    <a:pt x="2117809" y="853644"/>
                  </a:cubicBezTo>
                  <a:lnTo>
                    <a:pt x="2208900" y="799696"/>
                  </a:lnTo>
                  <a:cubicBezTo>
                    <a:pt x="2214105" y="796446"/>
                    <a:pt x="2219798" y="794821"/>
                    <a:pt x="2225492" y="794740"/>
                  </a:cubicBezTo>
                  <a:close/>
                  <a:moveTo>
                    <a:pt x="1076248" y="791861"/>
                  </a:moveTo>
                  <a:cubicBezTo>
                    <a:pt x="1081942" y="791779"/>
                    <a:pt x="1087635" y="793242"/>
                    <a:pt x="1092840" y="796167"/>
                  </a:cubicBezTo>
                  <a:lnTo>
                    <a:pt x="1179376" y="844265"/>
                  </a:lnTo>
                  <a:cubicBezTo>
                    <a:pt x="1191738" y="851415"/>
                    <a:pt x="1191088" y="868315"/>
                    <a:pt x="1178725" y="876114"/>
                  </a:cubicBezTo>
                  <a:lnTo>
                    <a:pt x="1086333" y="930713"/>
                  </a:lnTo>
                  <a:cubicBezTo>
                    <a:pt x="1075923" y="936563"/>
                    <a:pt x="1062910" y="936563"/>
                    <a:pt x="1053150" y="930713"/>
                  </a:cubicBezTo>
                  <a:lnTo>
                    <a:pt x="968566" y="882614"/>
                  </a:lnTo>
                  <a:cubicBezTo>
                    <a:pt x="956204" y="875464"/>
                    <a:pt x="956855" y="858565"/>
                    <a:pt x="968566" y="851415"/>
                  </a:cubicBezTo>
                  <a:lnTo>
                    <a:pt x="1059657" y="796817"/>
                  </a:lnTo>
                  <a:cubicBezTo>
                    <a:pt x="1064862" y="793567"/>
                    <a:pt x="1070555" y="791942"/>
                    <a:pt x="1076248" y="791861"/>
                  </a:cubicBezTo>
                  <a:close/>
                  <a:moveTo>
                    <a:pt x="1842422" y="791860"/>
                  </a:moveTo>
                  <a:cubicBezTo>
                    <a:pt x="1848146" y="791778"/>
                    <a:pt x="1853871" y="793241"/>
                    <a:pt x="1859105" y="796166"/>
                  </a:cubicBezTo>
                  <a:lnTo>
                    <a:pt x="1946120" y="844264"/>
                  </a:lnTo>
                  <a:cubicBezTo>
                    <a:pt x="1957897" y="851414"/>
                    <a:pt x="1957897" y="868314"/>
                    <a:pt x="1945466" y="876113"/>
                  </a:cubicBezTo>
                  <a:lnTo>
                    <a:pt x="1852562" y="930712"/>
                  </a:lnTo>
                  <a:cubicBezTo>
                    <a:pt x="1842094" y="936562"/>
                    <a:pt x="1829009" y="936562"/>
                    <a:pt x="1818541" y="930712"/>
                  </a:cubicBezTo>
                  <a:lnTo>
                    <a:pt x="1734143" y="882613"/>
                  </a:lnTo>
                  <a:cubicBezTo>
                    <a:pt x="1722366" y="875463"/>
                    <a:pt x="1722366" y="858564"/>
                    <a:pt x="1734143" y="851414"/>
                  </a:cubicBezTo>
                  <a:lnTo>
                    <a:pt x="1825738" y="796816"/>
                  </a:lnTo>
                  <a:cubicBezTo>
                    <a:pt x="1830972" y="793566"/>
                    <a:pt x="1836697" y="791941"/>
                    <a:pt x="1842422" y="791860"/>
                  </a:cubicBezTo>
                  <a:close/>
                  <a:moveTo>
                    <a:pt x="1459574" y="785938"/>
                  </a:moveTo>
                  <a:cubicBezTo>
                    <a:pt x="1465349" y="785857"/>
                    <a:pt x="1471042" y="787157"/>
                    <a:pt x="1475922" y="789757"/>
                  </a:cubicBezTo>
                  <a:lnTo>
                    <a:pt x="1562458" y="837855"/>
                  </a:lnTo>
                  <a:cubicBezTo>
                    <a:pt x="1574820" y="845005"/>
                    <a:pt x="1574170" y="862555"/>
                    <a:pt x="1562458" y="869704"/>
                  </a:cubicBezTo>
                  <a:lnTo>
                    <a:pt x="1469415" y="924303"/>
                  </a:lnTo>
                  <a:cubicBezTo>
                    <a:pt x="1459656" y="930803"/>
                    <a:pt x="1446643" y="930803"/>
                    <a:pt x="1436232" y="924953"/>
                  </a:cubicBezTo>
                  <a:lnTo>
                    <a:pt x="1351648" y="876204"/>
                  </a:lnTo>
                  <a:cubicBezTo>
                    <a:pt x="1339286" y="869054"/>
                    <a:pt x="1339937" y="852155"/>
                    <a:pt x="1351648" y="845005"/>
                  </a:cubicBezTo>
                  <a:lnTo>
                    <a:pt x="1442739" y="790407"/>
                  </a:lnTo>
                  <a:cubicBezTo>
                    <a:pt x="1447944" y="787482"/>
                    <a:pt x="1453800" y="786019"/>
                    <a:pt x="1459574" y="785938"/>
                  </a:cubicBezTo>
                  <a:close/>
                  <a:moveTo>
                    <a:pt x="2801553" y="688169"/>
                  </a:moveTo>
                  <a:cubicBezTo>
                    <a:pt x="2807246" y="688088"/>
                    <a:pt x="2812939" y="689550"/>
                    <a:pt x="2818144" y="692475"/>
                  </a:cubicBezTo>
                  <a:lnTo>
                    <a:pt x="2904680" y="740574"/>
                  </a:lnTo>
                  <a:cubicBezTo>
                    <a:pt x="2917042" y="747724"/>
                    <a:pt x="2916392" y="765273"/>
                    <a:pt x="2904029" y="771773"/>
                  </a:cubicBezTo>
                  <a:lnTo>
                    <a:pt x="2811637" y="826371"/>
                  </a:lnTo>
                  <a:cubicBezTo>
                    <a:pt x="2801227" y="832871"/>
                    <a:pt x="2788214" y="832871"/>
                    <a:pt x="2777804" y="827021"/>
                  </a:cubicBezTo>
                  <a:lnTo>
                    <a:pt x="2693870" y="778273"/>
                  </a:lnTo>
                  <a:cubicBezTo>
                    <a:pt x="2681508" y="771773"/>
                    <a:pt x="2681508" y="754223"/>
                    <a:pt x="2693870" y="747074"/>
                  </a:cubicBezTo>
                  <a:lnTo>
                    <a:pt x="2784961" y="693125"/>
                  </a:lnTo>
                  <a:cubicBezTo>
                    <a:pt x="2790166" y="689875"/>
                    <a:pt x="2795859" y="688250"/>
                    <a:pt x="2801553" y="688169"/>
                  </a:cubicBezTo>
                  <a:close/>
                  <a:moveTo>
                    <a:pt x="2418803" y="682409"/>
                  </a:moveTo>
                  <a:cubicBezTo>
                    <a:pt x="2424512" y="682328"/>
                    <a:pt x="2430221" y="683790"/>
                    <a:pt x="2435440" y="686715"/>
                  </a:cubicBezTo>
                  <a:lnTo>
                    <a:pt x="2522216" y="734814"/>
                  </a:lnTo>
                  <a:cubicBezTo>
                    <a:pt x="2533960" y="741314"/>
                    <a:pt x="2533960" y="759513"/>
                    <a:pt x="2521563" y="766663"/>
                  </a:cubicBezTo>
                  <a:lnTo>
                    <a:pt x="2428916" y="821261"/>
                  </a:lnTo>
                  <a:cubicBezTo>
                    <a:pt x="2418477" y="827111"/>
                    <a:pt x="2405428" y="827111"/>
                    <a:pt x="2394989" y="821261"/>
                  </a:cubicBezTo>
                  <a:lnTo>
                    <a:pt x="2310171" y="773163"/>
                  </a:lnTo>
                  <a:cubicBezTo>
                    <a:pt x="2298427" y="766013"/>
                    <a:pt x="2298427" y="749113"/>
                    <a:pt x="2310171" y="741314"/>
                  </a:cubicBezTo>
                  <a:lnTo>
                    <a:pt x="2402166" y="687365"/>
                  </a:lnTo>
                  <a:cubicBezTo>
                    <a:pt x="2407385" y="684115"/>
                    <a:pt x="2413094" y="682490"/>
                    <a:pt x="2418803" y="682409"/>
                  </a:cubicBezTo>
                  <a:close/>
                  <a:moveTo>
                    <a:pt x="1266680" y="676649"/>
                  </a:moveTo>
                  <a:cubicBezTo>
                    <a:pt x="1272389" y="676567"/>
                    <a:pt x="1278097" y="678030"/>
                    <a:pt x="1283317" y="680955"/>
                  </a:cubicBezTo>
                  <a:lnTo>
                    <a:pt x="1370093" y="729053"/>
                  </a:lnTo>
                  <a:cubicBezTo>
                    <a:pt x="1381837" y="736203"/>
                    <a:pt x="1381837" y="753753"/>
                    <a:pt x="1369440" y="760902"/>
                  </a:cubicBezTo>
                  <a:lnTo>
                    <a:pt x="1276793" y="815501"/>
                  </a:lnTo>
                  <a:cubicBezTo>
                    <a:pt x="1266354" y="821351"/>
                    <a:pt x="1253305" y="821351"/>
                    <a:pt x="1242866" y="816151"/>
                  </a:cubicBezTo>
                  <a:lnTo>
                    <a:pt x="1158048" y="767402"/>
                  </a:lnTo>
                  <a:cubicBezTo>
                    <a:pt x="1146304" y="760252"/>
                    <a:pt x="1146304" y="743353"/>
                    <a:pt x="1158048" y="736203"/>
                  </a:cubicBezTo>
                  <a:lnTo>
                    <a:pt x="1250043" y="681605"/>
                  </a:lnTo>
                  <a:cubicBezTo>
                    <a:pt x="1255263" y="678355"/>
                    <a:pt x="1260971" y="676730"/>
                    <a:pt x="1266680" y="676649"/>
                  </a:cubicBezTo>
                  <a:close/>
                  <a:moveTo>
                    <a:pt x="2032754" y="676648"/>
                  </a:moveTo>
                  <a:cubicBezTo>
                    <a:pt x="2038529" y="676566"/>
                    <a:pt x="2044222" y="678029"/>
                    <a:pt x="2049102" y="680954"/>
                  </a:cubicBezTo>
                  <a:lnTo>
                    <a:pt x="2135638" y="729052"/>
                  </a:lnTo>
                  <a:cubicBezTo>
                    <a:pt x="2148000" y="736202"/>
                    <a:pt x="2147350" y="753752"/>
                    <a:pt x="2135638" y="760901"/>
                  </a:cubicBezTo>
                  <a:lnTo>
                    <a:pt x="2042595" y="815500"/>
                  </a:lnTo>
                  <a:cubicBezTo>
                    <a:pt x="2032836" y="821350"/>
                    <a:pt x="2019823" y="821350"/>
                    <a:pt x="2009412" y="816150"/>
                  </a:cubicBezTo>
                  <a:lnTo>
                    <a:pt x="1924828" y="767401"/>
                  </a:lnTo>
                  <a:cubicBezTo>
                    <a:pt x="1912466" y="760251"/>
                    <a:pt x="1913117" y="743352"/>
                    <a:pt x="1924828" y="736202"/>
                  </a:cubicBezTo>
                  <a:lnTo>
                    <a:pt x="2015919" y="681604"/>
                  </a:lnTo>
                  <a:cubicBezTo>
                    <a:pt x="2021124" y="678354"/>
                    <a:pt x="2026980" y="676729"/>
                    <a:pt x="2032754" y="676648"/>
                  </a:cubicBezTo>
                  <a:close/>
                  <a:moveTo>
                    <a:pt x="1649431" y="674084"/>
                  </a:moveTo>
                  <a:cubicBezTo>
                    <a:pt x="1655124" y="674003"/>
                    <a:pt x="1660817" y="675459"/>
                    <a:pt x="1666022" y="678695"/>
                  </a:cubicBezTo>
                  <a:lnTo>
                    <a:pt x="1752558" y="726581"/>
                  </a:lnTo>
                  <a:cubicBezTo>
                    <a:pt x="1764920" y="733053"/>
                    <a:pt x="1764270" y="750525"/>
                    <a:pt x="1751907" y="757643"/>
                  </a:cubicBezTo>
                  <a:lnTo>
                    <a:pt x="1659515" y="812000"/>
                  </a:lnTo>
                  <a:cubicBezTo>
                    <a:pt x="1649105" y="818472"/>
                    <a:pt x="1636092" y="818472"/>
                    <a:pt x="1625682" y="812648"/>
                  </a:cubicBezTo>
                  <a:lnTo>
                    <a:pt x="1541748" y="764114"/>
                  </a:lnTo>
                  <a:cubicBezTo>
                    <a:pt x="1529386" y="757643"/>
                    <a:pt x="1530037" y="740171"/>
                    <a:pt x="1541748" y="733053"/>
                  </a:cubicBezTo>
                  <a:lnTo>
                    <a:pt x="1632839" y="678695"/>
                  </a:lnTo>
                  <a:cubicBezTo>
                    <a:pt x="1638044" y="675783"/>
                    <a:pt x="1643737" y="674165"/>
                    <a:pt x="1649431" y="674084"/>
                  </a:cubicBezTo>
                  <a:close/>
                  <a:moveTo>
                    <a:pt x="2991739" y="575837"/>
                  </a:moveTo>
                  <a:cubicBezTo>
                    <a:pt x="2997530" y="575756"/>
                    <a:pt x="3003402" y="577218"/>
                    <a:pt x="3008621" y="580143"/>
                  </a:cubicBezTo>
                  <a:lnTo>
                    <a:pt x="3095397" y="628241"/>
                  </a:lnTo>
                  <a:cubicBezTo>
                    <a:pt x="3107141" y="634741"/>
                    <a:pt x="3107141" y="652941"/>
                    <a:pt x="3094744" y="660090"/>
                  </a:cubicBezTo>
                  <a:lnTo>
                    <a:pt x="3002097" y="714688"/>
                  </a:lnTo>
                  <a:cubicBezTo>
                    <a:pt x="2991658" y="720538"/>
                    <a:pt x="2978609" y="720538"/>
                    <a:pt x="2968170" y="714688"/>
                  </a:cubicBezTo>
                  <a:lnTo>
                    <a:pt x="2883352" y="666590"/>
                  </a:lnTo>
                  <a:cubicBezTo>
                    <a:pt x="2871608" y="659440"/>
                    <a:pt x="2871608" y="642541"/>
                    <a:pt x="2883352" y="634741"/>
                  </a:cubicBezTo>
                  <a:lnTo>
                    <a:pt x="2975347" y="580793"/>
                  </a:lnTo>
                  <a:cubicBezTo>
                    <a:pt x="2980240" y="577543"/>
                    <a:pt x="2985949" y="575918"/>
                    <a:pt x="2991739" y="575837"/>
                  </a:cubicBezTo>
                  <a:close/>
                  <a:moveTo>
                    <a:pt x="2608815" y="570076"/>
                  </a:moveTo>
                  <a:cubicBezTo>
                    <a:pt x="2614590" y="569995"/>
                    <a:pt x="2620283" y="571457"/>
                    <a:pt x="2625163" y="574382"/>
                  </a:cubicBezTo>
                  <a:lnTo>
                    <a:pt x="2711699" y="622480"/>
                  </a:lnTo>
                  <a:cubicBezTo>
                    <a:pt x="2724061" y="629630"/>
                    <a:pt x="2723411" y="647180"/>
                    <a:pt x="2711699" y="654329"/>
                  </a:cubicBezTo>
                  <a:lnTo>
                    <a:pt x="2618656" y="708927"/>
                  </a:lnTo>
                  <a:cubicBezTo>
                    <a:pt x="2608897" y="714777"/>
                    <a:pt x="2595884" y="714777"/>
                    <a:pt x="2585473" y="708927"/>
                  </a:cubicBezTo>
                  <a:lnTo>
                    <a:pt x="2500889" y="660829"/>
                  </a:lnTo>
                  <a:cubicBezTo>
                    <a:pt x="2488527" y="653679"/>
                    <a:pt x="2489178" y="636780"/>
                    <a:pt x="2500889" y="629630"/>
                  </a:cubicBezTo>
                  <a:lnTo>
                    <a:pt x="2591980" y="575032"/>
                  </a:lnTo>
                  <a:cubicBezTo>
                    <a:pt x="2597185" y="571782"/>
                    <a:pt x="2603041" y="570157"/>
                    <a:pt x="2608815" y="570076"/>
                  </a:cubicBezTo>
                  <a:close/>
                  <a:moveTo>
                    <a:pt x="1459573" y="564552"/>
                  </a:moveTo>
                  <a:cubicBezTo>
                    <a:pt x="1465348" y="564391"/>
                    <a:pt x="1471041" y="565685"/>
                    <a:pt x="1475921" y="568597"/>
                  </a:cubicBezTo>
                  <a:lnTo>
                    <a:pt x="1562457" y="617130"/>
                  </a:lnTo>
                  <a:cubicBezTo>
                    <a:pt x="1574819" y="623602"/>
                    <a:pt x="1574169" y="641074"/>
                    <a:pt x="1562457" y="648192"/>
                  </a:cubicBezTo>
                  <a:lnTo>
                    <a:pt x="1469414" y="702549"/>
                  </a:lnTo>
                  <a:cubicBezTo>
                    <a:pt x="1459655" y="709021"/>
                    <a:pt x="1446642" y="709021"/>
                    <a:pt x="1436231" y="703197"/>
                  </a:cubicBezTo>
                  <a:lnTo>
                    <a:pt x="1351647" y="654663"/>
                  </a:lnTo>
                  <a:cubicBezTo>
                    <a:pt x="1339285" y="648192"/>
                    <a:pt x="1339936" y="630720"/>
                    <a:pt x="1351647" y="623602"/>
                  </a:cubicBezTo>
                  <a:lnTo>
                    <a:pt x="1442738" y="569244"/>
                  </a:lnTo>
                  <a:cubicBezTo>
                    <a:pt x="1447943" y="566332"/>
                    <a:pt x="1453799" y="564714"/>
                    <a:pt x="1459573" y="564552"/>
                  </a:cubicBezTo>
                  <a:close/>
                  <a:moveTo>
                    <a:pt x="2225491" y="564551"/>
                  </a:moveTo>
                  <a:cubicBezTo>
                    <a:pt x="2231185" y="564390"/>
                    <a:pt x="2236878" y="565684"/>
                    <a:pt x="2242083" y="568596"/>
                  </a:cubicBezTo>
                  <a:lnTo>
                    <a:pt x="2328619" y="617129"/>
                  </a:lnTo>
                  <a:cubicBezTo>
                    <a:pt x="2340981" y="623601"/>
                    <a:pt x="2340331" y="641073"/>
                    <a:pt x="2327968" y="648191"/>
                  </a:cubicBezTo>
                  <a:lnTo>
                    <a:pt x="2235576" y="702548"/>
                  </a:lnTo>
                  <a:cubicBezTo>
                    <a:pt x="2225166" y="709020"/>
                    <a:pt x="2212153" y="709020"/>
                    <a:pt x="2201743" y="703196"/>
                  </a:cubicBezTo>
                  <a:lnTo>
                    <a:pt x="2117809" y="654662"/>
                  </a:lnTo>
                  <a:cubicBezTo>
                    <a:pt x="2105447" y="648191"/>
                    <a:pt x="2106098" y="630719"/>
                    <a:pt x="2117809" y="623601"/>
                  </a:cubicBezTo>
                  <a:lnTo>
                    <a:pt x="2208900" y="569243"/>
                  </a:lnTo>
                  <a:cubicBezTo>
                    <a:pt x="2214105" y="566331"/>
                    <a:pt x="2219798" y="564713"/>
                    <a:pt x="2225491" y="564551"/>
                  </a:cubicBezTo>
                  <a:close/>
                  <a:moveTo>
                    <a:pt x="1842421" y="561274"/>
                  </a:moveTo>
                  <a:cubicBezTo>
                    <a:pt x="1848145" y="561193"/>
                    <a:pt x="1853870" y="562493"/>
                    <a:pt x="1859104" y="565093"/>
                  </a:cubicBezTo>
                  <a:lnTo>
                    <a:pt x="1946119" y="613841"/>
                  </a:lnTo>
                  <a:cubicBezTo>
                    <a:pt x="1957896" y="620991"/>
                    <a:pt x="1957896" y="637891"/>
                    <a:pt x="1945465" y="645690"/>
                  </a:cubicBezTo>
                  <a:lnTo>
                    <a:pt x="1852561" y="699639"/>
                  </a:lnTo>
                  <a:cubicBezTo>
                    <a:pt x="1842093" y="706139"/>
                    <a:pt x="1829008" y="706139"/>
                    <a:pt x="1818540" y="700289"/>
                  </a:cubicBezTo>
                  <a:lnTo>
                    <a:pt x="1734142" y="652190"/>
                  </a:lnTo>
                  <a:cubicBezTo>
                    <a:pt x="1722365" y="645040"/>
                    <a:pt x="1722365" y="627491"/>
                    <a:pt x="1734142" y="620341"/>
                  </a:cubicBezTo>
                  <a:lnTo>
                    <a:pt x="1825737" y="565743"/>
                  </a:lnTo>
                  <a:cubicBezTo>
                    <a:pt x="1830971" y="562818"/>
                    <a:pt x="1836696" y="561355"/>
                    <a:pt x="1842421" y="561274"/>
                  </a:cubicBezTo>
                  <a:close/>
                  <a:moveTo>
                    <a:pt x="3184875" y="463507"/>
                  </a:moveTo>
                  <a:cubicBezTo>
                    <a:pt x="3190650" y="463426"/>
                    <a:pt x="3196343" y="464888"/>
                    <a:pt x="3201223" y="467813"/>
                  </a:cubicBezTo>
                  <a:lnTo>
                    <a:pt x="3287759" y="515912"/>
                  </a:lnTo>
                  <a:cubicBezTo>
                    <a:pt x="3300121" y="523062"/>
                    <a:pt x="3299471" y="540611"/>
                    <a:pt x="3287759" y="547761"/>
                  </a:cubicBezTo>
                  <a:lnTo>
                    <a:pt x="3194716" y="602359"/>
                  </a:lnTo>
                  <a:cubicBezTo>
                    <a:pt x="3184957" y="608209"/>
                    <a:pt x="3171944" y="608209"/>
                    <a:pt x="3161533" y="603009"/>
                  </a:cubicBezTo>
                  <a:lnTo>
                    <a:pt x="3076949" y="554261"/>
                  </a:lnTo>
                  <a:cubicBezTo>
                    <a:pt x="3064587" y="547111"/>
                    <a:pt x="3065238" y="530211"/>
                    <a:pt x="3076949" y="523062"/>
                  </a:cubicBezTo>
                  <a:lnTo>
                    <a:pt x="3168040" y="468463"/>
                  </a:lnTo>
                  <a:cubicBezTo>
                    <a:pt x="3173245" y="465213"/>
                    <a:pt x="3179101" y="463588"/>
                    <a:pt x="3184875" y="463507"/>
                  </a:cubicBezTo>
                  <a:close/>
                  <a:moveTo>
                    <a:pt x="2801554" y="457982"/>
                  </a:moveTo>
                  <a:cubicBezTo>
                    <a:pt x="2807247" y="457820"/>
                    <a:pt x="2812940" y="459114"/>
                    <a:pt x="2818145" y="462026"/>
                  </a:cubicBezTo>
                  <a:lnTo>
                    <a:pt x="2904681" y="509913"/>
                  </a:lnTo>
                  <a:cubicBezTo>
                    <a:pt x="2917043" y="517031"/>
                    <a:pt x="2916393" y="534504"/>
                    <a:pt x="2904030" y="541622"/>
                  </a:cubicBezTo>
                  <a:lnTo>
                    <a:pt x="2811638" y="595980"/>
                  </a:lnTo>
                  <a:cubicBezTo>
                    <a:pt x="2801228" y="602451"/>
                    <a:pt x="2788215" y="602451"/>
                    <a:pt x="2777805" y="596627"/>
                  </a:cubicBezTo>
                  <a:lnTo>
                    <a:pt x="2693871" y="548093"/>
                  </a:lnTo>
                  <a:cubicBezTo>
                    <a:pt x="2681509" y="541622"/>
                    <a:pt x="2681509" y="524150"/>
                    <a:pt x="2693871" y="516384"/>
                  </a:cubicBezTo>
                  <a:lnTo>
                    <a:pt x="2784962" y="462673"/>
                  </a:lnTo>
                  <a:cubicBezTo>
                    <a:pt x="2790167" y="459761"/>
                    <a:pt x="2795860" y="458144"/>
                    <a:pt x="2801554" y="457982"/>
                  </a:cubicBezTo>
                  <a:close/>
                  <a:moveTo>
                    <a:pt x="2418803" y="452220"/>
                  </a:moveTo>
                  <a:cubicBezTo>
                    <a:pt x="2424512" y="452058"/>
                    <a:pt x="2430221" y="453352"/>
                    <a:pt x="2435440" y="456264"/>
                  </a:cubicBezTo>
                  <a:lnTo>
                    <a:pt x="2522216" y="504798"/>
                  </a:lnTo>
                  <a:cubicBezTo>
                    <a:pt x="2533960" y="511269"/>
                    <a:pt x="2533960" y="528742"/>
                    <a:pt x="2521563" y="536507"/>
                  </a:cubicBezTo>
                  <a:lnTo>
                    <a:pt x="2428916" y="590218"/>
                  </a:lnTo>
                  <a:cubicBezTo>
                    <a:pt x="2418477" y="596042"/>
                    <a:pt x="2405428" y="596689"/>
                    <a:pt x="2394989" y="590865"/>
                  </a:cubicBezTo>
                  <a:lnTo>
                    <a:pt x="2310171" y="542978"/>
                  </a:lnTo>
                  <a:cubicBezTo>
                    <a:pt x="2298427" y="535860"/>
                    <a:pt x="2298427" y="518388"/>
                    <a:pt x="2310171" y="511269"/>
                  </a:cubicBezTo>
                  <a:lnTo>
                    <a:pt x="2402166" y="456911"/>
                  </a:lnTo>
                  <a:cubicBezTo>
                    <a:pt x="2407385" y="453999"/>
                    <a:pt x="2413094" y="452382"/>
                    <a:pt x="2418803" y="452220"/>
                  </a:cubicBezTo>
                  <a:close/>
                  <a:moveTo>
                    <a:pt x="1649430" y="452220"/>
                  </a:moveTo>
                  <a:cubicBezTo>
                    <a:pt x="1655123" y="452059"/>
                    <a:pt x="1660816" y="453353"/>
                    <a:pt x="1666021" y="456265"/>
                  </a:cubicBezTo>
                  <a:lnTo>
                    <a:pt x="1752557" y="504799"/>
                  </a:lnTo>
                  <a:cubicBezTo>
                    <a:pt x="1764919" y="511270"/>
                    <a:pt x="1764269" y="528742"/>
                    <a:pt x="1751906" y="536508"/>
                  </a:cubicBezTo>
                  <a:lnTo>
                    <a:pt x="1659514" y="590218"/>
                  </a:lnTo>
                  <a:cubicBezTo>
                    <a:pt x="1649104" y="596043"/>
                    <a:pt x="1636091" y="596690"/>
                    <a:pt x="1625681" y="590866"/>
                  </a:cubicBezTo>
                  <a:lnTo>
                    <a:pt x="1541747" y="542979"/>
                  </a:lnTo>
                  <a:cubicBezTo>
                    <a:pt x="1529385" y="535860"/>
                    <a:pt x="1530036" y="518388"/>
                    <a:pt x="1541747" y="511270"/>
                  </a:cubicBezTo>
                  <a:lnTo>
                    <a:pt x="1632838" y="456912"/>
                  </a:lnTo>
                  <a:cubicBezTo>
                    <a:pt x="1638043" y="454000"/>
                    <a:pt x="1643736" y="452382"/>
                    <a:pt x="1649430" y="452220"/>
                  </a:cubicBezTo>
                  <a:close/>
                  <a:moveTo>
                    <a:pt x="2032754" y="446217"/>
                  </a:moveTo>
                  <a:cubicBezTo>
                    <a:pt x="2038529" y="446136"/>
                    <a:pt x="2044222" y="447592"/>
                    <a:pt x="2049102" y="450504"/>
                  </a:cubicBezTo>
                  <a:lnTo>
                    <a:pt x="2135638" y="498391"/>
                  </a:lnTo>
                  <a:cubicBezTo>
                    <a:pt x="2148000" y="504862"/>
                    <a:pt x="2147350" y="522335"/>
                    <a:pt x="2135638" y="529453"/>
                  </a:cubicBezTo>
                  <a:lnTo>
                    <a:pt x="2042595" y="584458"/>
                  </a:lnTo>
                  <a:cubicBezTo>
                    <a:pt x="2032836" y="590282"/>
                    <a:pt x="2019823" y="590929"/>
                    <a:pt x="2009412" y="584458"/>
                  </a:cubicBezTo>
                  <a:lnTo>
                    <a:pt x="1924828" y="535924"/>
                  </a:lnTo>
                  <a:cubicBezTo>
                    <a:pt x="1912466" y="529453"/>
                    <a:pt x="1913117" y="512628"/>
                    <a:pt x="1924828" y="504862"/>
                  </a:cubicBezTo>
                  <a:lnTo>
                    <a:pt x="2015919" y="451151"/>
                  </a:lnTo>
                  <a:cubicBezTo>
                    <a:pt x="2021124" y="447916"/>
                    <a:pt x="2026980" y="446298"/>
                    <a:pt x="2032754" y="446217"/>
                  </a:cubicBezTo>
                  <a:close/>
                  <a:moveTo>
                    <a:pt x="2991740" y="345333"/>
                  </a:moveTo>
                  <a:cubicBezTo>
                    <a:pt x="2997530" y="345170"/>
                    <a:pt x="3003402" y="346470"/>
                    <a:pt x="3008622" y="349070"/>
                  </a:cubicBezTo>
                  <a:lnTo>
                    <a:pt x="3095398" y="397818"/>
                  </a:lnTo>
                  <a:cubicBezTo>
                    <a:pt x="3107142" y="404318"/>
                    <a:pt x="3107142" y="422518"/>
                    <a:pt x="3094745" y="429667"/>
                  </a:cubicBezTo>
                  <a:lnTo>
                    <a:pt x="3002098" y="483615"/>
                  </a:lnTo>
                  <a:cubicBezTo>
                    <a:pt x="2991659" y="489465"/>
                    <a:pt x="2978610" y="490115"/>
                    <a:pt x="2968171" y="484265"/>
                  </a:cubicBezTo>
                  <a:lnTo>
                    <a:pt x="2883353" y="436167"/>
                  </a:lnTo>
                  <a:cubicBezTo>
                    <a:pt x="2871609" y="429017"/>
                    <a:pt x="2871609" y="411468"/>
                    <a:pt x="2883353" y="404318"/>
                  </a:cubicBezTo>
                  <a:lnTo>
                    <a:pt x="2975348" y="350370"/>
                  </a:lnTo>
                  <a:cubicBezTo>
                    <a:pt x="2980241" y="347120"/>
                    <a:pt x="2985950" y="345495"/>
                    <a:pt x="2991740" y="345333"/>
                  </a:cubicBezTo>
                  <a:close/>
                  <a:moveTo>
                    <a:pt x="1842420" y="339653"/>
                  </a:moveTo>
                  <a:cubicBezTo>
                    <a:pt x="1848144" y="339571"/>
                    <a:pt x="1853869" y="341034"/>
                    <a:pt x="1859103" y="343959"/>
                  </a:cubicBezTo>
                  <a:lnTo>
                    <a:pt x="1946118" y="392057"/>
                  </a:lnTo>
                  <a:cubicBezTo>
                    <a:pt x="1957895" y="398557"/>
                    <a:pt x="1957895" y="416106"/>
                    <a:pt x="1945464" y="423256"/>
                  </a:cubicBezTo>
                  <a:lnTo>
                    <a:pt x="1852560" y="477854"/>
                  </a:lnTo>
                  <a:cubicBezTo>
                    <a:pt x="1842092" y="484354"/>
                    <a:pt x="1829007" y="484354"/>
                    <a:pt x="1818539" y="478504"/>
                  </a:cubicBezTo>
                  <a:lnTo>
                    <a:pt x="1734141" y="429756"/>
                  </a:lnTo>
                  <a:cubicBezTo>
                    <a:pt x="1722364" y="423256"/>
                    <a:pt x="1722364" y="405706"/>
                    <a:pt x="1734141" y="398557"/>
                  </a:cubicBezTo>
                  <a:lnTo>
                    <a:pt x="1825736" y="344609"/>
                  </a:lnTo>
                  <a:cubicBezTo>
                    <a:pt x="1830970" y="341359"/>
                    <a:pt x="1836695" y="339734"/>
                    <a:pt x="1842420" y="339653"/>
                  </a:cubicBezTo>
                  <a:close/>
                  <a:moveTo>
                    <a:pt x="2608815" y="339652"/>
                  </a:moveTo>
                  <a:cubicBezTo>
                    <a:pt x="2614590" y="339571"/>
                    <a:pt x="2620283" y="341033"/>
                    <a:pt x="2625163" y="343958"/>
                  </a:cubicBezTo>
                  <a:lnTo>
                    <a:pt x="2711699" y="392056"/>
                  </a:lnTo>
                  <a:cubicBezTo>
                    <a:pt x="2724061" y="398556"/>
                    <a:pt x="2723411" y="416106"/>
                    <a:pt x="2711699" y="423255"/>
                  </a:cubicBezTo>
                  <a:lnTo>
                    <a:pt x="2618656" y="477853"/>
                  </a:lnTo>
                  <a:cubicBezTo>
                    <a:pt x="2608897" y="484353"/>
                    <a:pt x="2595884" y="484353"/>
                    <a:pt x="2585473" y="478503"/>
                  </a:cubicBezTo>
                  <a:lnTo>
                    <a:pt x="2500889" y="429755"/>
                  </a:lnTo>
                  <a:cubicBezTo>
                    <a:pt x="2488527" y="423255"/>
                    <a:pt x="2489178" y="405706"/>
                    <a:pt x="2500889" y="398556"/>
                  </a:cubicBezTo>
                  <a:lnTo>
                    <a:pt x="2591980" y="344608"/>
                  </a:lnTo>
                  <a:cubicBezTo>
                    <a:pt x="2597185" y="341358"/>
                    <a:pt x="2603041" y="339733"/>
                    <a:pt x="2608815" y="339652"/>
                  </a:cubicBezTo>
                  <a:close/>
                  <a:moveTo>
                    <a:pt x="2225492" y="333811"/>
                  </a:moveTo>
                  <a:cubicBezTo>
                    <a:pt x="2231185" y="333811"/>
                    <a:pt x="2236878" y="335273"/>
                    <a:pt x="2242083" y="338198"/>
                  </a:cubicBezTo>
                  <a:lnTo>
                    <a:pt x="2328619" y="386296"/>
                  </a:lnTo>
                  <a:cubicBezTo>
                    <a:pt x="2340981" y="393446"/>
                    <a:pt x="2340331" y="410996"/>
                    <a:pt x="2327968" y="418145"/>
                  </a:cubicBezTo>
                  <a:lnTo>
                    <a:pt x="2235576" y="472743"/>
                  </a:lnTo>
                  <a:cubicBezTo>
                    <a:pt x="2225166" y="478593"/>
                    <a:pt x="2212153" y="478593"/>
                    <a:pt x="2201743" y="472743"/>
                  </a:cubicBezTo>
                  <a:lnTo>
                    <a:pt x="2117809" y="424645"/>
                  </a:lnTo>
                  <a:cubicBezTo>
                    <a:pt x="2105447" y="417495"/>
                    <a:pt x="2106098" y="400596"/>
                    <a:pt x="2117809" y="393446"/>
                  </a:cubicBezTo>
                  <a:lnTo>
                    <a:pt x="2208900" y="338198"/>
                  </a:lnTo>
                  <a:cubicBezTo>
                    <a:pt x="2214105" y="335273"/>
                    <a:pt x="2219798" y="333811"/>
                    <a:pt x="2225492" y="333811"/>
                  </a:cubicBezTo>
                  <a:close/>
                  <a:moveTo>
                    <a:pt x="2801554" y="227322"/>
                  </a:moveTo>
                  <a:cubicBezTo>
                    <a:pt x="2807247" y="227241"/>
                    <a:pt x="2812940" y="228703"/>
                    <a:pt x="2818145" y="231628"/>
                  </a:cubicBezTo>
                  <a:lnTo>
                    <a:pt x="2904681" y="279727"/>
                  </a:lnTo>
                  <a:cubicBezTo>
                    <a:pt x="2917043" y="286227"/>
                    <a:pt x="2916393" y="304426"/>
                    <a:pt x="2904030" y="311576"/>
                  </a:cubicBezTo>
                  <a:lnTo>
                    <a:pt x="2811638" y="366174"/>
                  </a:lnTo>
                  <a:cubicBezTo>
                    <a:pt x="2801228" y="372024"/>
                    <a:pt x="2788215" y="372024"/>
                    <a:pt x="2777805" y="366174"/>
                  </a:cubicBezTo>
                  <a:lnTo>
                    <a:pt x="2693871" y="318076"/>
                  </a:lnTo>
                  <a:cubicBezTo>
                    <a:pt x="2681509" y="310926"/>
                    <a:pt x="2681509" y="294026"/>
                    <a:pt x="2693871" y="286227"/>
                  </a:cubicBezTo>
                  <a:lnTo>
                    <a:pt x="2784962" y="232278"/>
                  </a:lnTo>
                  <a:cubicBezTo>
                    <a:pt x="2790167" y="229028"/>
                    <a:pt x="2795860" y="227403"/>
                    <a:pt x="2801554" y="227322"/>
                  </a:cubicBezTo>
                  <a:close/>
                  <a:moveTo>
                    <a:pt x="2032752" y="227322"/>
                  </a:moveTo>
                  <a:cubicBezTo>
                    <a:pt x="2038527" y="227240"/>
                    <a:pt x="2044220" y="228703"/>
                    <a:pt x="2049100" y="231628"/>
                  </a:cubicBezTo>
                  <a:lnTo>
                    <a:pt x="2135636" y="279726"/>
                  </a:lnTo>
                  <a:cubicBezTo>
                    <a:pt x="2147998" y="286226"/>
                    <a:pt x="2147348" y="304426"/>
                    <a:pt x="2135636" y="311575"/>
                  </a:cubicBezTo>
                  <a:lnTo>
                    <a:pt x="2042593" y="366174"/>
                  </a:lnTo>
                  <a:cubicBezTo>
                    <a:pt x="2032834" y="372024"/>
                    <a:pt x="2019821" y="372024"/>
                    <a:pt x="2009410" y="366174"/>
                  </a:cubicBezTo>
                  <a:lnTo>
                    <a:pt x="1924826" y="318075"/>
                  </a:lnTo>
                  <a:cubicBezTo>
                    <a:pt x="1912464" y="310925"/>
                    <a:pt x="1913115" y="294026"/>
                    <a:pt x="1924826" y="286226"/>
                  </a:cubicBezTo>
                  <a:lnTo>
                    <a:pt x="2015917" y="232278"/>
                  </a:lnTo>
                  <a:cubicBezTo>
                    <a:pt x="2021122" y="229028"/>
                    <a:pt x="2026978" y="227403"/>
                    <a:pt x="2032752" y="227322"/>
                  </a:cubicBezTo>
                  <a:close/>
                  <a:moveTo>
                    <a:pt x="2418803" y="221560"/>
                  </a:moveTo>
                  <a:cubicBezTo>
                    <a:pt x="2424512" y="221479"/>
                    <a:pt x="2430221" y="222941"/>
                    <a:pt x="2435440" y="225866"/>
                  </a:cubicBezTo>
                  <a:lnTo>
                    <a:pt x="2522216" y="273965"/>
                  </a:lnTo>
                  <a:cubicBezTo>
                    <a:pt x="2533960" y="281115"/>
                    <a:pt x="2533960" y="298664"/>
                    <a:pt x="2521563" y="305814"/>
                  </a:cubicBezTo>
                  <a:lnTo>
                    <a:pt x="2428916" y="360412"/>
                  </a:lnTo>
                  <a:cubicBezTo>
                    <a:pt x="2418477" y="366262"/>
                    <a:pt x="2405428" y="366262"/>
                    <a:pt x="2394989" y="361062"/>
                  </a:cubicBezTo>
                  <a:lnTo>
                    <a:pt x="2310171" y="312314"/>
                  </a:lnTo>
                  <a:cubicBezTo>
                    <a:pt x="2298427" y="305164"/>
                    <a:pt x="2298427" y="288264"/>
                    <a:pt x="2310171" y="281115"/>
                  </a:cubicBezTo>
                  <a:lnTo>
                    <a:pt x="2402166" y="226516"/>
                  </a:lnTo>
                  <a:cubicBezTo>
                    <a:pt x="2407385" y="223266"/>
                    <a:pt x="2413094" y="221641"/>
                    <a:pt x="2418803" y="221560"/>
                  </a:cubicBezTo>
                  <a:close/>
                  <a:moveTo>
                    <a:pt x="2225490" y="112110"/>
                  </a:moveTo>
                  <a:cubicBezTo>
                    <a:pt x="2231183" y="112028"/>
                    <a:pt x="2236876" y="113491"/>
                    <a:pt x="2242081" y="116416"/>
                  </a:cubicBezTo>
                  <a:lnTo>
                    <a:pt x="2328617" y="164514"/>
                  </a:lnTo>
                  <a:cubicBezTo>
                    <a:pt x="2340979" y="171664"/>
                    <a:pt x="2340329" y="189214"/>
                    <a:pt x="2327966" y="196363"/>
                  </a:cubicBezTo>
                  <a:lnTo>
                    <a:pt x="2235574" y="250962"/>
                  </a:lnTo>
                  <a:cubicBezTo>
                    <a:pt x="2225164" y="256812"/>
                    <a:pt x="2212151" y="256812"/>
                    <a:pt x="2201741" y="251612"/>
                  </a:cubicBezTo>
                  <a:lnTo>
                    <a:pt x="2117807" y="202863"/>
                  </a:lnTo>
                  <a:cubicBezTo>
                    <a:pt x="2105445" y="196363"/>
                    <a:pt x="2106096" y="178164"/>
                    <a:pt x="2117807" y="171664"/>
                  </a:cubicBezTo>
                  <a:lnTo>
                    <a:pt x="2208898" y="117066"/>
                  </a:lnTo>
                  <a:cubicBezTo>
                    <a:pt x="2214103" y="113816"/>
                    <a:pt x="2219796" y="112191"/>
                    <a:pt x="2225490" y="112110"/>
                  </a:cubicBezTo>
                  <a:close/>
                  <a:moveTo>
                    <a:pt x="2608815" y="109464"/>
                  </a:moveTo>
                  <a:cubicBezTo>
                    <a:pt x="2614590" y="109302"/>
                    <a:pt x="2620283" y="110596"/>
                    <a:pt x="2625163" y="113508"/>
                  </a:cubicBezTo>
                  <a:lnTo>
                    <a:pt x="2711699" y="162042"/>
                  </a:lnTo>
                  <a:cubicBezTo>
                    <a:pt x="2724061" y="168513"/>
                    <a:pt x="2723411" y="185985"/>
                    <a:pt x="2711699" y="193103"/>
                  </a:cubicBezTo>
                  <a:lnTo>
                    <a:pt x="2618656" y="247461"/>
                  </a:lnTo>
                  <a:cubicBezTo>
                    <a:pt x="2608897" y="253932"/>
                    <a:pt x="2595884" y="253932"/>
                    <a:pt x="2585473" y="248108"/>
                  </a:cubicBezTo>
                  <a:lnTo>
                    <a:pt x="2500889" y="199575"/>
                  </a:lnTo>
                  <a:cubicBezTo>
                    <a:pt x="2488527" y="193103"/>
                    <a:pt x="2489178" y="175631"/>
                    <a:pt x="2500889" y="168513"/>
                  </a:cubicBezTo>
                  <a:lnTo>
                    <a:pt x="2591980" y="114155"/>
                  </a:lnTo>
                  <a:cubicBezTo>
                    <a:pt x="2597185" y="111243"/>
                    <a:pt x="2603041" y="109626"/>
                    <a:pt x="2608815" y="109464"/>
                  </a:cubicBezTo>
                  <a:close/>
                  <a:moveTo>
                    <a:pt x="2418801" y="13"/>
                  </a:moveTo>
                  <a:cubicBezTo>
                    <a:pt x="2424510" y="-148"/>
                    <a:pt x="2430219" y="1146"/>
                    <a:pt x="2435438" y="4058"/>
                  </a:cubicBezTo>
                  <a:lnTo>
                    <a:pt x="2522214" y="52591"/>
                  </a:lnTo>
                  <a:cubicBezTo>
                    <a:pt x="2533958" y="59063"/>
                    <a:pt x="2533958" y="76535"/>
                    <a:pt x="2521561" y="83653"/>
                  </a:cubicBezTo>
                  <a:lnTo>
                    <a:pt x="2428914" y="138010"/>
                  </a:lnTo>
                  <a:cubicBezTo>
                    <a:pt x="2418475" y="144482"/>
                    <a:pt x="2405426" y="144482"/>
                    <a:pt x="2394987" y="138658"/>
                  </a:cubicBezTo>
                  <a:lnTo>
                    <a:pt x="2310169" y="90124"/>
                  </a:lnTo>
                  <a:cubicBezTo>
                    <a:pt x="2298425" y="83653"/>
                    <a:pt x="2298425" y="66181"/>
                    <a:pt x="2310169" y="59063"/>
                  </a:cubicBezTo>
                  <a:lnTo>
                    <a:pt x="2402164" y="4705"/>
                  </a:lnTo>
                  <a:cubicBezTo>
                    <a:pt x="2407383" y="1793"/>
                    <a:pt x="2413092" y="175"/>
                    <a:pt x="2418801" y="13"/>
                  </a:cubicBezTo>
                  <a:close/>
                </a:path>
              </a:pathLst>
            </a:custGeom>
            <a:solidFill>
              <a:schemeClr val="accent6">
                <a:lumMod val="2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99" name="Freeform 123">
              <a:extLst>
                <a:ext uri="{FF2B5EF4-FFF2-40B4-BE49-F238E27FC236}">
                  <a16:creationId xmlns:a16="http://schemas.microsoft.com/office/drawing/2014/main" id="{6ADDA293-68C4-F448-B2FA-9F33031A67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94296" y="6690945"/>
              <a:ext cx="1480475" cy="959140"/>
            </a:xfrm>
            <a:custGeom>
              <a:avLst/>
              <a:gdLst>
                <a:gd name="T0" fmla="*/ 0 w 2266"/>
                <a:gd name="T1" fmla="*/ 456 h 1469"/>
                <a:gd name="T2" fmla="*/ 0 w 2266"/>
                <a:gd name="T3" fmla="*/ 456 h 1469"/>
                <a:gd name="T4" fmla="*/ 0 w 2266"/>
                <a:gd name="T5" fmla="*/ 456 h 1469"/>
                <a:gd name="T6" fmla="*/ 0 w 2266"/>
                <a:gd name="T7" fmla="*/ 456 h 1469"/>
                <a:gd name="T8" fmla="*/ 4 w 2266"/>
                <a:gd name="T9" fmla="*/ 429 h 1469"/>
                <a:gd name="T10" fmla="*/ 4 w 2266"/>
                <a:gd name="T11" fmla="*/ 429 h 1469"/>
                <a:gd name="T12" fmla="*/ 63 w 2266"/>
                <a:gd name="T13" fmla="*/ 346 h 1469"/>
                <a:gd name="T14" fmla="*/ 588 w 2266"/>
                <a:gd name="T15" fmla="*/ 44 h 1469"/>
                <a:gd name="T16" fmla="*/ 588 w 2266"/>
                <a:gd name="T17" fmla="*/ 44 h 1469"/>
                <a:gd name="T18" fmla="*/ 871 w 2266"/>
                <a:gd name="T19" fmla="*/ 44 h 1469"/>
                <a:gd name="T20" fmla="*/ 2201 w 2266"/>
                <a:gd name="T21" fmla="*/ 812 h 1469"/>
                <a:gd name="T22" fmla="*/ 2201 w 2266"/>
                <a:gd name="T23" fmla="*/ 812 h 1469"/>
                <a:gd name="T24" fmla="*/ 2259 w 2266"/>
                <a:gd name="T25" fmla="*/ 896 h 1469"/>
                <a:gd name="T26" fmla="*/ 2259 w 2266"/>
                <a:gd name="T27" fmla="*/ 896 h 1469"/>
                <a:gd name="T28" fmla="*/ 2264 w 2266"/>
                <a:gd name="T29" fmla="*/ 918 h 1469"/>
                <a:gd name="T30" fmla="*/ 2264 w 2266"/>
                <a:gd name="T31" fmla="*/ 918 h 1469"/>
                <a:gd name="T32" fmla="*/ 2264 w 2266"/>
                <a:gd name="T33" fmla="*/ 918 h 1469"/>
                <a:gd name="T34" fmla="*/ 2264 w 2266"/>
                <a:gd name="T35" fmla="*/ 921 h 1469"/>
                <a:gd name="T36" fmla="*/ 2264 w 2266"/>
                <a:gd name="T37" fmla="*/ 921 h 1469"/>
                <a:gd name="T38" fmla="*/ 2264 w 2266"/>
                <a:gd name="T39" fmla="*/ 923 h 1469"/>
                <a:gd name="T40" fmla="*/ 2264 w 2266"/>
                <a:gd name="T41" fmla="*/ 923 h 1469"/>
                <a:gd name="T42" fmla="*/ 2264 w 2266"/>
                <a:gd name="T43" fmla="*/ 1035 h 1469"/>
                <a:gd name="T44" fmla="*/ 2264 w 2266"/>
                <a:gd name="T45" fmla="*/ 1035 h 1469"/>
                <a:gd name="T46" fmla="*/ 2206 w 2266"/>
                <a:gd name="T47" fmla="*/ 1119 h 1469"/>
                <a:gd name="T48" fmla="*/ 1679 w 2266"/>
                <a:gd name="T49" fmla="*/ 1422 h 1469"/>
                <a:gd name="T50" fmla="*/ 1679 w 2266"/>
                <a:gd name="T51" fmla="*/ 1422 h 1469"/>
                <a:gd name="T52" fmla="*/ 1396 w 2266"/>
                <a:gd name="T53" fmla="*/ 1422 h 1469"/>
                <a:gd name="T54" fmla="*/ 151 w 2266"/>
                <a:gd name="T55" fmla="*/ 704 h 1469"/>
                <a:gd name="T56" fmla="*/ 151 w 2266"/>
                <a:gd name="T57" fmla="*/ 704 h 1469"/>
                <a:gd name="T58" fmla="*/ 130 w 2266"/>
                <a:gd name="T59" fmla="*/ 692 h 1469"/>
                <a:gd name="T60" fmla="*/ 58 w 2266"/>
                <a:gd name="T61" fmla="*/ 650 h 1469"/>
                <a:gd name="T62" fmla="*/ 58 w 2266"/>
                <a:gd name="T63" fmla="*/ 650 h 1469"/>
                <a:gd name="T64" fmla="*/ 0 w 2266"/>
                <a:gd name="T65" fmla="*/ 570 h 1469"/>
                <a:gd name="T66" fmla="*/ 0 w 2266"/>
                <a:gd name="T67" fmla="*/ 570 h 1469"/>
                <a:gd name="T68" fmla="*/ 0 w 2266"/>
                <a:gd name="T69" fmla="*/ 456 h 1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266" h="1469">
                  <a:moveTo>
                    <a:pt x="0" y="456"/>
                  </a:moveTo>
                  <a:lnTo>
                    <a:pt x="0" y="456"/>
                  </a:lnTo>
                  <a:lnTo>
                    <a:pt x="0" y="456"/>
                  </a:lnTo>
                  <a:lnTo>
                    <a:pt x="0" y="456"/>
                  </a:lnTo>
                  <a:cubicBezTo>
                    <a:pt x="0" y="446"/>
                    <a:pt x="1" y="437"/>
                    <a:pt x="4" y="429"/>
                  </a:cubicBezTo>
                  <a:lnTo>
                    <a:pt x="4" y="429"/>
                  </a:lnTo>
                  <a:cubicBezTo>
                    <a:pt x="4" y="399"/>
                    <a:pt x="24" y="368"/>
                    <a:pt x="63" y="346"/>
                  </a:cubicBezTo>
                  <a:lnTo>
                    <a:pt x="588" y="44"/>
                  </a:lnTo>
                  <a:lnTo>
                    <a:pt x="588" y="44"/>
                  </a:lnTo>
                  <a:cubicBezTo>
                    <a:pt x="666" y="0"/>
                    <a:pt x="793" y="0"/>
                    <a:pt x="871" y="44"/>
                  </a:cubicBezTo>
                  <a:lnTo>
                    <a:pt x="2201" y="812"/>
                  </a:lnTo>
                  <a:lnTo>
                    <a:pt x="2201" y="812"/>
                  </a:lnTo>
                  <a:cubicBezTo>
                    <a:pt x="2241" y="835"/>
                    <a:pt x="2261" y="866"/>
                    <a:pt x="2259" y="896"/>
                  </a:cubicBezTo>
                  <a:lnTo>
                    <a:pt x="2259" y="896"/>
                  </a:lnTo>
                  <a:cubicBezTo>
                    <a:pt x="2262" y="904"/>
                    <a:pt x="2264" y="911"/>
                    <a:pt x="2264" y="918"/>
                  </a:cubicBezTo>
                  <a:lnTo>
                    <a:pt x="2264" y="918"/>
                  </a:lnTo>
                  <a:lnTo>
                    <a:pt x="2264" y="918"/>
                  </a:lnTo>
                  <a:lnTo>
                    <a:pt x="2264" y="921"/>
                  </a:lnTo>
                  <a:lnTo>
                    <a:pt x="2264" y="921"/>
                  </a:lnTo>
                  <a:cubicBezTo>
                    <a:pt x="2264" y="921"/>
                    <a:pt x="2264" y="922"/>
                    <a:pt x="2264" y="923"/>
                  </a:cubicBezTo>
                  <a:lnTo>
                    <a:pt x="2264" y="923"/>
                  </a:lnTo>
                  <a:cubicBezTo>
                    <a:pt x="2264" y="945"/>
                    <a:pt x="2264" y="1025"/>
                    <a:pt x="2264" y="1035"/>
                  </a:cubicBezTo>
                  <a:lnTo>
                    <a:pt x="2264" y="1035"/>
                  </a:lnTo>
                  <a:cubicBezTo>
                    <a:pt x="2265" y="1065"/>
                    <a:pt x="2246" y="1096"/>
                    <a:pt x="2206" y="1119"/>
                  </a:cubicBezTo>
                  <a:lnTo>
                    <a:pt x="1679" y="1422"/>
                  </a:lnTo>
                  <a:lnTo>
                    <a:pt x="1679" y="1422"/>
                  </a:lnTo>
                  <a:cubicBezTo>
                    <a:pt x="1601" y="1468"/>
                    <a:pt x="1474" y="1468"/>
                    <a:pt x="1396" y="1422"/>
                  </a:cubicBezTo>
                  <a:lnTo>
                    <a:pt x="151" y="704"/>
                  </a:lnTo>
                  <a:lnTo>
                    <a:pt x="151" y="704"/>
                  </a:lnTo>
                  <a:lnTo>
                    <a:pt x="130" y="692"/>
                  </a:lnTo>
                  <a:lnTo>
                    <a:pt x="58" y="650"/>
                  </a:lnTo>
                  <a:lnTo>
                    <a:pt x="58" y="650"/>
                  </a:lnTo>
                  <a:cubicBezTo>
                    <a:pt x="20" y="628"/>
                    <a:pt x="0" y="599"/>
                    <a:pt x="0" y="570"/>
                  </a:cubicBezTo>
                  <a:lnTo>
                    <a:pt x="0" y="570"/>
                  </a:lnTo>
                  <a:cubicBezTo>
                    <a:pt x="0" y="550"/>
                    <a:pt x="0" y="482"/>
                    <a:pt x="0" y="456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00" name="Freeform 124">
              <a:extLst>
                <a:ext uri="{FF2B5EF4-FFF2-40B4-BE49-F238E27FC236}">
                  <a16:creationId xmlns:a16="http://schemas.microsoft.com/office/drawing/2014/main" id="{E5DAB59E-6ABB-D74A-9F5B-24CC1C415D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97987" y="6719748"/>
              <a:ext cx="1480475" cy="869851"/>
            </a:xfrm>
            <a:custGeom>
              <a:avLst/>
              <a:gdLst>
                <a:gd name="T0" fmla="*/ 2206 w 2266"/>
                <a:gd name="T1" fmla="*/ 816 h 1330"/>
                <a:gd name="T2" fmla="*/ 2206 w 2266"/>
                <a:gd name="T3" fmla="*/ 816 h 1330"/>
                <a:gd name="T4" fmla="*/ 2265 w 2266"/>
                <a:gd name="T5" fmla="*/ 779 h 1330"/>
                <a:gd name="T6" fmla="*/ 2265 w 2266"/>
                <a:gd name="T7" fmla="*/ 779 h 1330"/>
                <a:gd name="T8" fmla="*/ 2265 w 2266"/>
                <a:gd name="T9" fmla="*/ 897 h 1330"/>
                <a:gd name="T10" fmla="*/ 2265 w 2266"/>
                <a:gd name="T11" fmla="*/ 897 h 1330"/>
                <a:gd name="T12" fmla="*/ 2206 w 2266"/>
                <a:gd name="T13" fmla="*/ 980 h 1330"/>
                <a:gd name="T14" fmla="*/ 1680 w 2266"/>
                <a:gd name="T15" fmla="*/ 1284 h 1330"/>
                <a:gd name="T16" fmla="*/ 1680 w 2266"/>
                <a:gd name="T17" fmla="*/ 1284 h 1330"/>
                <a:gd name="T18" fmla="*/ 1396 w 2266"/>
                <a:gd name="T19" fmla="*/ 1284 h 1330"/>
                <a:gd name="T20" fmla="*/ 59 w 2266"/>
                <a:gd name="T21" fmla="*/ 512 h 1330"/>
                <a:gd name="T22" fmla="*/ 59 w 2266"/>
                <a:gd name="T23" fmla="*/ 512 h 1330"/>
                <a:gd name="T24" fmla="*/ 0 w 2266"/>
                <a:gd name="T25" fmla="*/ 431 h 1330"/>
                <a:gd name="T26" fmla="*/ 0 w 2266"/>
                <a:gd name="T27" fmla="*/ 431 h 1330"/>
                <a:gd name="T28" fmla="*/ 0 w 2266"/>
                <a:gd name="T29" fmla="*/ 317 h 1330"/>
                <a:gd name="T30" fmla="*/ 0 w 2266"/>
                <a:gd name="T31" fmla="*/ 317 h 1330"/>
                <a:gd name="T32" fmla="*/ 59 w 2266"/>
                <a:gd name="T33" fmla="*/ 348 h 1330"/>
                <a:gd name="T34" fmla="*/ 586 w 2266"/>
                <a:gd name="T35" fmla="*/ 46 h 1330"/>
                <a:gd name="T36" fmla="*/ 586 w 2266"/>
                <a:gd name="T37" fmla="*/ 46 h 1330"/>
                <a:gd name="T38" fmla="*/ 870 w 2266"/>
                <a:gd name="T39" fmla="*/ 46 h 1330"/>
                <a:gd name="T40" fmla="*/ 2206 w 2266"/>
                <a:gd name="T41" fmla="*/ 816 h 1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66" h="1330">
                  <a:moveTo>
                    <a:pt x="2206" y="816"/>
                  </a:moveTo>
                  <a:lnTo>
                    <a:pt x="2206" y="816"/>
                  </a:lnTo>
                  <a:cubicBezTo>
                    <a:pt x="2228" y="829"/>
                    <a:pt x="2265" y="779"/>
                    <a:pt x="2265" y="779"/>
                  </a:cubicBezTo>
                  <a:lnTo>
                    <a:pt x="2265" y="779"/>
                  </a:lnTo>
                  <a:cubicBezTo>
                    <a:pt x="2265" y="779"/>
                    <a:pt x="2265" y="884"/>
                    <a:pt x="2265" y="897"/>
                  </a:cubicBezTo>
                  <a:lnTo>
                    <a:pt x="2265" y="897"/>
                  </a:lnTo>
                  <a:cubicBezTo>
                    <a:pt x="2265" y="927"/>
                    <a:pt x="2246" y="957"/>
                    <a:pt x="2206" y="980"/>
                  </a:cubicBezTo>
                  <a:lnTo>
                    <a:pt x="1680" y="1284"/>
                  </a:lnTo>
                  <a:lnTo>
                    <a:pt x="1680" y="1284"/>
                  </a:lnTo>
                  <a:cubicBezTo>
                    <a:pt x="1602" y="1329"/>
                    <a:pt x="1474" y="1329"/>
                    <a:pt x="1396" y="1284"/>
                  </a:cubicBezTo>
                  <a:lnTo>
                    <a:pt x="59" y="512"/>
                  </a:lnTo>
                  <a:lnTo>
                    <a:pt x="59" y="512"/>
                  </a:lnTo>
                  <a:cubicBezTo>
                    <a:pt x="20" y="489"/>
                    <a:pt x="0" y="460"/>
                    <a:pt x="0" y="431"/>
                  </a:cubicBezTo>
                  <a:lnTo>
                    <a:pt x="0" y="431"/>
                  </a:lnTo>
                  <a:cubicBezTo>
                    <a:pt x="0" y="411"/>
                    <a:pt x="0" y="343"/>
                    <a:pt x="0" y="317"/>
                  </a:cubicBezTo>
                  <a:lnTo>
                    <a:pt x="0" y="317"/>
                  </a:lnTo>
                  <a:cubicBezTo>
                    <a:pt x="0" y="301"/>
                    <a:pt x="41" y="358"/>
                    <a:pt x="59" y="348"/>
                  </a:cubicBezTo>
                  <a:lnTo>
                    <a:pt x="586" y="46"/>
                  </a:lnTo>
                  <a:lnTo>
                    <a:pt x="586" y="46"/>
                  </a:lnTo>
                  <a:cubicBezTo>
                    <a:pt x="664" y="0"/>
                    <a:pt x="792" y="0"/>
                    <a:pt x="870" y="46"/>
                  </a:cubicBezTo>
                  <a:lnTo>
                    <a:pt x="2206" y="816"/>
                  </a:lnTo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01" name="Freeform 125">
              <a:extLst>
                <a:ext uri="{FF2B5EF4-FFF2-40B4-BE49-F238E27FC236}">
                  <a16:creationId xmlns:a16="http://schemas.microsoft.com/office/drawing/2014/main" id="{C21ED94F-F998-C649-8E44-CD7B51672C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83585" y="6647740"/>
              <a:ext cx="1506397" cy="869851"/>
            </a:xfrm>
            <a:custGeom>
              <a:avLst/>
              <a:gdLst>
                <a:gd name="T0" fmla="*/ 2226 w 2305"/>
                <a:gd name="T1" fmla="*/ 816 h 1330"/>
                <a:gd name="T2" fmla="*/ 2226 w 2305"/>
                <a:gd name="T3" fmla="*/ 816 h 1330"/>
                <a:gd name="T4" fmla="*/ 2226 w 2305"/>
                <a:gd name="T5" fmla="*/ 979 h 1330"/>
                <a:gd name="T6" fmla="*/ 1700 w 2305"/>
                <a:gd name="T7" fmla="*/ 1283 h 1330"/>
                <a:gd name="T8" fmla="*/ 1700 w 2305"/>
                <a:gd name="T9" fmla="*/ 1283 h 1330"/>
                <a:gd name="T10" fmla="*/ 1416 w 2305"/>
                <a:gd name="T11" fmla="*/ 1283 h 1330"/>
                <a:gd name="T12" fmla="*/ 79 w 2305"/>
                <a:gd name="T13" fmla="*/ 511 h 1330"/>
                <a:gd name="T14" fmla="*/ 79 w 2305"/>
                <a:gd name="T15" fmla="*/ 511 h 1330"/>
                <a:gd name="T16" fmla="*/ 79 w 2305"/>
                <a:gd name="T17" fmla="*/ 347 h 1330"/>
                <a:gd name="T18" fmla="*/ 606 w 2305"/>
                <a:gd name="T19" fmla="*/ 45 h 1330"/>
                <a:gd name="T20" fmla="*/ 606 w 2305"/>
                <a:gd name="T21" fmla="*/ 45 h 1330"/>
                <a:gd name="T22" fmla="*/ 890 w 2305"/>
                <a:gd name="T23" fmla="*/ 45 h 1330"/>
                <a:gd name="T24" fmla="*/ 2226 w 2305"/>
                <a:gd name="T25" fmla="*/ 816 h 1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05" h="1330">
                  <a:moveTo>
                    <a:pt x="2226" y="816"/>
                  </a:moveTo>
                  <a:lnTo>
                    <a:pt x="2226" y="816"/>
                  </a:lnTo>
                  <a:cubicBezTo>
                    <a:pt x="2304" y="861"/>
                    <a:pt x="2304" y="935"/>
                    <a:pt x="2226" y="979"/>
                  </a:cubicBezTo>
                  <a:lnTo>
                    <a:pt x="1700" y="1283"/>
                  </a:lnTo>
                  <a:lnTo>
                    <a:pt x="1700" y="1283"/>
                  </a:lnTo>
                  <a:cubicBezTo>
                    <a:pt x="1622" y="1329"/>
                    <a:pt x="1494" y="1329"/>
                    <a:pt x="1416" y="1283"/>
                  </a:cubicBezTo>
                  <a:lnTo>
                    <a:pt x="79" y="511"/>
                  </a:lnTo>
                  <a:lnTo>
                    <a:pt x="79" y="511"/>
                  </a:lnTo>
                  <a:cubicBezTo>
                    <a:pt x="0" y="466"/>
                    <a:pt x="0" y="392"/>
                    <a:pt x="79" y="347"/>
                  </a:cubicBezTo>
                  <a:lnTo>
                    <a:pt x="606" y="45"/>
                  </a:lnTo>
                  <a:lnTo>
                    <a:pt x="606" y="45"/>
                  </a:lnTo>
                  <a:cubicBezTo>
                    <a:pt x="684" y="0"/>
                    <a:pt x="812" y="0"/>
                    <a:pt x="890" y="45"/>
                  </a:cubicBezTo>
                  <a:lnTo>
                    <a:pt x="2226" y="816"/>
                  </a:lnTo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02" name="Freeform 126">
              <a:extLst>
                <a:ext uri="{FF2B5EF4-FFF2-40B4-BE49-F238E27FC236}">
                  <a16:creationId xmlns:a16="http://schemas.microsoft.com/office/drawing/2014/main" id="{1D82633F-E2BB-794B-B58E-7FB4C4C5D4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86465" y="6630457"/>
              <a:ext cx="1497757" cy="864091"/>
            </a:xfrm>
            <a:custGeom>
              <a:avLst/>
              <a:gdLst>
                <a:gd name="T0" fmla="*/ 2217 w 2295"/>
                <a:gd name="T1" fmla="*/ 813 h 1324"/>
                <a:gd name="T2" fmla="*/ 2217 w 2295"/>
                <a:gd name="T3" fmla="*/ 813 h 1324"/>
                <a:gd name="T4" fmla="*/ 2217 w 2295"/>
                <a:gd name="T5" fmla="*/ 975 h 1324"/>
                <a:gd name="T6" fmla="*/ 1692 w 2295"/>
                <a:gd name="T7" fmla="*/ 1278 h 1324"/>
                <a:gd name="T8" fmla="*/ 1692 w 2295"/>
                <a:gd name="T9" fmla="*/ 1278 h 1324"/>
                <a:gd name="T10" fmla="*/ 1410 w 2295"/>
                <a:gd name="T11" fmla="*/ 1278 h 1324"/>
                <a:gd name="T12" fmla="*/ 78 w 2295"/>
                <a:gd name="T13" fmla="*/ 509 h 1324"/>
                <a:gd name="T14" fmla="*/ 78 w 2295"/>
                <a:gd name="T15" fmla="*/ 509 h 1324"/>
                <a:gd name="T16" fmla="*/ 78 w 2295"/>
                <a:gd name="T17" fmla="*/ 346 h 1324"/>
                <a:gd name="T18" fmla="*/ 603 w 2295"/>
                <a:gd name="T19" fmla="*/ 45 h 1324"/>
                <a:gd name="T20" fmla="*/ 603 w 2295"/>
                <a:gd name="T21" fmla="*/ 45 h 1324"/>
                <a:gd name="T22" fmla="*/ 886 w 2295"/>
                <a:gd name="T23" fmla="*/ 45 h 1324"/>
                <a:gd name="T24" fmla="*/ 2217 w 2295"/>
                <a:gd name="T25" fmla="*/ 813 h 1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95" h="1324">
                  <a:moveTo>
                    <a:pt x="2217" y="813"/>
                  </a:moveTo>
                  <a:lnTo>
                    <a:pt x="2217" y="813"/>
                  </a:lnTo>
                  <a:cubicBezTo>
                    <a:pt x="2294" y="857"/>
                    <a:pt x="2294" y="931"/>
                    <a:pt x="2217" y="975"/>
                  </a:cubicBezTo>
                  <a:lnTo>
                    <a:pt x="1692" y="1278"/>
                  </a:lnTo>
                  <a:lnTo>
                    <a:pt x="1692" y="1278"/>
                  </a:lnTo>
                  <a:cubicBezTo>
                    <a:pt x="1615" y="1323"/>
                    <a:pt x="1488" y="1323"/>
                    <a:pt x="1410" y="1278"/>
                  </a:cubicBezTo>
                  <a:lnTo>
                    <a:pt x="78" y="509"/>
                  </a:lnTo>
                  <a:lnTo>
                    <a:pt x="78" y="509"/>
                  </a:lnTo>
                  <a:cubicBezTo>
                    <a:pt x="0" y="464"/>
                    <a:pt x="0" y="391"/>
                    <a:pt x="78" y="346"/>
                  </a:cubicBezTo>
                  <a:lnTo>
                    <a:pt x="603" y="45"/>
                  </a:lnTo>
                  <a:lnTo>
                    <a:pt x="603" y="45"/>
                  </a:lnTo>
                  <a:cubicBezTo>
                    <a:pt x="681" y="0"/>
                    <a:pt x="808" y="0"/>
                    <a:pt x="886" y="45"/>
                  </a:cubicBezTo>
                  <a:lnTo>
                    <a:pt x="2217" y="813"/>
                  </a:ln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03" name="Freeform 127">
              <a:extLst>
                <a:ext uri="{FF2B5EF4-FFF2-40B4-BE49-F238E27FC236}">
                  <a16:creationId xmlns:a16="http://schemas.microsoft.com/office/drawing/2014/main" id="{1A43DBE9-D3F9-BB4B-8C76-880BD4BDE5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64234" y="6679424"/>
              <a:ext cx="1322058" cy="754639"/>
            </a:xfrm>
            <a:custGeom>
              <a:avLst/>
              <a:gdLst>
                <a:gd name="T0" fmla="*/ 2001 w 2026"/>
                <a:gd name="T1" fmla="*/ 826 h 1157"/>
                <a:gd name="T2" fmla="*/ 1497 w 2026"/>
                <a:gd name="T3" fmla="*/ 1117 h 1157"/>
                <a:gd name="T4" fmla="*/ 1497 w 2026"/>
                <a:gd name="T5" fmla="*/ 1117 h 1157"/>
                <a:gd name="T6" fmla="*/ 1283 w 2026"/>
                <a:gd name="T7" fmla="*/ 1117 h 1157"/>
                <a:gd name="T8" fmla="*/ 23 w 2026"/>
                <a:gd name="T9" fmla="*/ 388 h 1157"/>
                <a:gd name="T10" fmla="*/ 23 w 2026"/>
                <a:gd name="T11" fmla="*/ 388 h 1157"/>
                <a:gd name="T12" fmla="*/ 23 w 2026"/>
                <a:gd name="T13" fmla="*/ 328 h 1157"/>
                <a:gd name="T14" fmla="*/ 528 w 2026"/>
                <a:gd name="T15" fmla="*/ 38 h 1157"/>
                <a:gd name="T16" fmla="*/ 528 w 2026"/>
                <a:gd name="T17" fmla="*/ 38 h 1157"/>
                <a:gd name="T18" fmla="*/ 742 w 2026"/>
                <a:gd name="T19" fmla="*/ 38 h 1157"/>
                <a:gd name="T20" fmla="*/ 2001 w 2026"/>
                <a:gd name="T21" fmla="*/ 767 h 1157"/>
                <a:gd name="T22" fmla="*/ 2001 w 2026"/>
                <a:gd name="T23" fmla="*/ 767 h 1157"/>
                <a:gd name="T24" fmla="*/ 2001 w 2026"/>
                <a:gd name="T25" fmla="*/ 826 h 1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26" h="1157">
                  <a:moveTo>
                    <a:pt x="2001" y="826"/>
                  </a:moveTo>
                  <a:lnTo>
                    <a:pt x="1497" y="1117"/>
                  </a:lnTo>
                  <a:lnTo>
                    <a:pt x="1497" y="1117"/>
                  </a:lnTo>
                  <a:cubicBezTo>
                    <a:pt x="1430" y="1156"/>
                    <a:pt x="1349" y="1156"/>
                    <a:pt x="1283" y="1117"/>
                  </a:cubicBezTo>
                  <a:lnTo>
                    <a:pt x="23" y="388"/>
                  </a:lnTo>
                  <a:lnTo>
                    <a:pt x="23" y="388"/>
                  </a:lnTo>
                  <a:cubicBezTo>
                    <a:pt x="0" y="375"/>
                    <a:pt x="0" y="342"/>
                    <a:pt x="23" y="328"/>
                  </a:cubicBezTo>
                  <a:lnTo>
                    <a:pt x="528" y="38"/>
                  </a:lnTo>
                  <a:lnTo>
                    <a:pt x="528" y="38"/>
                  </a:lnTo>
                  <a:cubicBezTo>
                    <a:pt x="594" y="0"/>
                    <a:pt x="676" y="0"/>
                    <a:pt x="742" y="38"/>
                  </a:cubicBezTo>
                  <a:lnTo>
                    <a:pt x="2001" y="767"/>
                  </a:lnTo>
                  <a:lnTo>
                    <a:pt x="2001" y="767"/>
                  </a:lnTo>
                  <a:cubicBezTo>
                    <a:pt x="2025" y="780"/>
                    <a:pt x="2025" y="813"/>
                    <a:pt x="2001" y="826"/>
                  </a:cubicBezTo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04" name="Freeform 128">
              <a:extLst>
                <a:ext uri="{FF2B5EF4-FFF2-40B4-BE49-F238E27FC236}">
                  <a16:creationId xmlns:a16="http://schemas.microsoft.com/office/drawing/2014/main" id="{A81A5158-4098-2548-8873-9F12578674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78635" y="6999136"/>
              <a:ext cx="17282" cy="92170"/>
            </a:xfrm>
            <a:custGeom>
              <a:avLst/>
              <a:gdLst>
                <a:gd name="T0" fmla="*/ 0 w 28"/>
                <a:gd name="T1" fmla="*/ 123 h 140"/>
                <a:gd name="T2" fmla="*/ 27 w 28"/>
                <a:gd name="T3" fmla="*/ 139 h 140"/>
                <a:gd name="T4" fmla="*/ 27 w 28"/>
                <a:gd name="T5" fmla="*/ 16 h 140"/>
                <a:gd name="T6" fmla="*/ 0 w 28"/>
                <a:gd name="T7" fmla="*/ 0 h 140"/>
                <a:gd name="T8" fmla="*/ 0 w 28"/>
                <a:gd name="T9" fmla="*/ 123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40">
                  <a:moveTo>
                    <a:pt x="0" y="123"/>
                  </a:moveTo>
                  <a:lnTo>
                    <a:pt x="27" y="139"/>
                  </a:lnTo>
                  <a:lnTo>
                    <a:pt x="27" y="16"/>
                  </a:lnTo>
                  <a:lnTo>
                    <a:pt x="0" y="0"/>
                  </a:lnTo>
                  <a:lnTo>
                    <a:pt x="0" y="123"/>
                  </a:lnTo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05" name="Freeform 54">
              <a:extLst>
                <a:ext uri="{FF2B5EF4-FFF2-40B4-BE49-F238E27FC236}">
                  <a16:creationId xmlns:a16="http://schemas.microsoft.com/office/drawing/2014/main" id="{9F680A4F-758B-324A-870E-D9FB8228E0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60614" y="4334923"/>
              <a:ext cx="1272442" cy="1168310"/>
            </a:xfrm>
            <a:custGeom>
              <a:avLst/>
              <a:gdLst>
                <a:gd name="connsiteX0" fmla="*/ 461324 w 1272442"/>
                <a:gd name="connsiteY0" fmla="*/ 585318 h 1168310"/>
                <a:gd name="connsiteX1" fmla="*/ 393533 w 1272442"/>
                <a:gd name="connsiteY1" fmla="*/ 591543 h 1168310"/>
                <a:gd name="connsiteX2" fmla="*/ 312090 w 1272442"/>
                <a:gd name="connsiteY2" fmla="*/ 627441 h 1168310"/>
                <a:gd name="connsiteX3" fmla="*/ 191554 w 1272442"/>
                <a:gd name="connsiteY3" fmla="*/ 748189 h 1168310"/>
                <a:gd name="connsiteX4" fmla="*/ 147900 w 1272442"/>
                <a:gd name="connsiteY4" fmla="*/ 910057 h 1168310"/>
                <a:gd name="connsiteX5" fmla="*/ 191554 w 1272442"/>
                <a:gd name="connsiteY5" fmla="*/ 1019057 h 1168310"/>
                <a:gd name="connsiteX6" fmla="*/ 312090 w 1272442"/>
                <a:gd name="connsiteY6" fmla="*/ 996213 h 1168310"/>
                <a:gd name="connsiteX7" fmla="*/ 393533 w 1272442"/>
                <a:gd name="connsiteY7" fmla="*/ 934860 h 1168310"/>
                <a:gd name="connsiteX8" fmla="*/ 432137 w 1272442"/>
                <a:gd name="connsiteY8" fmla="*/ 895127 h 1168310"/>
                <a:gd name="connsiteX9" fmla="*/ 462527 w 1272442"/>
                <a:gd name="connsiteY9" fmla="*/ 858983 h 1168310"/>
                <a:gd name="connsiteX10" fmla="*/ 462527 w 1272442"/>
                <a:gd name="connsiteY10" fmla="*/ 846493 h 1168310"/>
                <a:gd name="connsiteX11" fmla="*/ 565464 w 1272442"/>
                <a:gd name="connsiteY11" fmla="*/ 828234 h 1168310"/>
                <a:gd name="connsiteX12" fmla="*/ 660582 w 1272442"/>
                <a:gd name="connsiteY12" fmla="*/ 784544 h 1168310"/>
                <a:gd name="connsiteX13" fmla="*/ 732247 w 1272442"/>
                <a:gd name="connsiteY13" fmla="*/ 726507 h 1168310"/>
                <a:gd name="connsiteX14" fmla="*/ 757655 w 1272442"/>
                <a:gd name="connsiteY14" fmla="*/ 667167 h 1168310"/>
                <a:gd name="connsiteX15" fmla="*/ 740716 w 1272442"/>
                <a:gd name="connsiteY15" fmla="*/ 636518 h 1168310"/>
                <a:gd name="connsiteX16" fmla="*/ 672961 w 1272442"/>
                <a:gd name="connsiteY16" fmla="*/ 651516 h 1168310"/>
                <a:gd name="connsiteX17" fmla="*/ 618235 w 1272442"/>
                <a:gd name="connsiteY17" fmla="*/ 672383 h 1168310"/>
                <a:gd name="connsiteX18" fmla="*/ 495754 w 1272442"/>
                <a:gd name="connsiteY18" fmla="*/ 688686 h 1168310"/>
                <a:gd name="connsiteX19" fmla="*/ 457967 w 1272442"/>
                <a:gd name="connsiteY19" fmla="*/ 605869 h 1168310"/>
                <a:gd name="connsiteX20" fmla="*/ 841958 w 1272442"/>
                <a:gd name="connsiteY20" fmla="*/ 343988 h 1168310"/>
                <a:gd name="connsiteX21" fmla="*/ 770034 w 1272442"/>
                <a:gd name="connsiteY21" fmla="*/ 361985 h 1168310"/>
                <a:gd name="connsiteX22" fmla="*/ 687945 w 1272442"/>
                <a:gd name="connsiteY22" fmla="*/ 400459 h 1168310"/>
                <a:gd name="connsiteX23" fmla="*/ 611720 w 1272442"/>
                <a:gd name="connsiteY23" fmla="*/ 459800 h 1168310"/>
                <a:gd name="connsiteX24" fmla="*/ 587615 w 1272442"/>
                <a:gd name="connsiteY24" fmla="*/ 518488 h 1168310"/>
                <a:gd name="connsiteX25" fmla="*/ 603902 w 1272442"/>
                <a:gd name="connsiteY25" fmla="*/ 543268 h 1168310"/>
                <a:gd name="connsiteX26" fmla="*/ 663840 w 1272442"/>
                <a:gd name="connsiteY26" fmla="*/ 528922 h 1168310"/>
                <a:gd name="connsiteX27" fmla="*/ 724429 w 1272442"/>
                <a:gd name="connsiteY27" fmla="*/ 504794 h 1168310"/>
                <a:gd name="connsiteX28" fmla="*/ 856032 w 1272442"/>
                <a:gd name="connsiteY28" fmla="*/ 482623 h 1168310"/>
                <a:gd name="connsiteX29" fmla="*/ 895122 w 1272442"/>
                <a:gd name="connsiteY29" fmla="*/ 567396 h 1168310"/>
                <a:gd name="connsiteX30" fmla="*/ 887676 w 1272442"/>
                <a:gd name="connsiteY30" fmla="*/ 615634 h 1168310"/>
                <a:gd name="connsiteX31" fmla="*/ 942785 w 1272442"/>
                <a:gd name="connsiteY31" fmla="*/ 605797 h 1168310"/>
                <a:gd name="connsiteX32" fmla="*/ 1038555 w 1272442"/>
                <a:gd name="connsiteY32" fmla="*/ 562758 h 1168310"/>
                <a:gd name="connsiteX33" fmla="*/ 1110220 w 1272442"/>
                <a:gd name="connsiteY33" fmla="*/ 504070 h 1168310"/>
                <a:gd name="connsiteX34" fmla="*/ 1134977 w 1272442"/>
                <a:gd name="connsiteY34" fmla="*/ 444729 h 1168310"/>
                <a:gd name="connsiteX35" fmla="*/ 1118038 w 1272442"/>
                <a:gd name="connsiteY35" fmla="*/ 414733 h 1168310"/>
                <a:gd name="connsiteX36" fmla="*/ 1050934 w 1272442"/>
                <a:gd name="connsiteY36" fmla="*/ 429731 h 1168310"/>
                <a:gd name="connsiteX37" fmla="*/ 995557 w 1272442"/>
                <a:gd name="connsiteY37" fmla="*/ 450598 h 1168310"/>
                <a:gd name="connsiteX38" fmla="*/ 873727 w 1272442"/>
                <a:gd name="connsiteY38" fmla="*/ 466248 h 1168310"/>
                <a:gd name="connsiteX39" fmla="*/ 835288 w 1272442"/>
                <a:gd name="connsiteY39" fmla="*/ 384084 h 1168310"/>
                <a:gd name="connsiteX40" fmla="*/ 1236610 w 1272442"/>
                <a:gd name="connsiteY40" fmla="*/ 0 h 1168310"/>
                <a:gd name="connsiteX41" fmla="*/ 1236610 w 1272442"/>
                <a:gd name="connsiteY41" fmla="*/ 117377 h 1168310"/>
                <a:gd name="connsiteX42" fmla="*/ 1147355 w 1272442"/>
                <a:gd name="connsiteY42" fmla="*/ 140201 h 1168310"/>
                <a:gd name="connsiteX43" fmla="*/ 1065267 w 1272442"/>
                <a:gd name="connsiteY43" fmla="*/ 178674 h 1168310"/>
                <a:gd name="connsiteX44" fmla="*/ 989693 w 1272442"/>
                <a:gd name="connsiteY44" fmla="*/ 237363 h 1168310"/>
                <a:gd name="connsiteX45" fmla="*/ 964936 w 1272442"/>
                <a:gd name="connsiteY45" fmla="*/ 296051 h 1168310"/>
                <a:gd name="connsiteX46" fmla="*/ 981875 w 1272442"/>
                <a:gd name="connsiteY46" fmla="*/ 321483 h 1168310"/>
                <a:gd name="connsiteX47" fmla="*/ 1041813 w 1272442"/>
                <a:gd name="connsiteY47" fmla="*/ 306485 h 1168310"/>
                <a:gd name="connsiteX48" fmla="*/ 1102402 w 1272442"/>
                <a:gd name="connsiteY48" fmla="*/ 283010 h 1168310"/>
                <a:gd name="connsiteX49" fmla="*/ 1233353 w 1272442"/>
                <a:gd name="connsiteY49" fmla="*/ 260838 h 1168310"/>
                <a:gd name="connsiteX50" fmla="*/ 1272442 w 1272442"/>
                <a:gd name="connsiteY50" fmla="*/ 345611 h 1168310"/>
                <a:gd name="connsiteX51" fmla="*/ 1218368 w 1272442"/>
                <a:gd name="connsiteY51" fmla="*/ 514503 h 1168310"/>
                <a:gd name="connsiteX52" fmla="*/ 1052237 w 1272442"/>
                <a:gd name="connsiteY52" fmla="*/ 657964 h 1168310"/>
                <a:gd name="connsiteX53" fmla="*/ 946043 w 1272442"/>
                <a:gd name="connsiteY53" fmla="*/ 711436 h 1168310"/>
                <a:gd name="connsiteX54" fmla="*/ 840500 w 1272442"/>
                <a:gd name="connsiteY54" fmla="*/ 745345 h 1168310"/>
                <a:gd name="connsiteX55" fmla="*/ 840500 w 1272442"/>
                <a:gd name="connsiteY55" fmla="*/ 736878 h 1168310"/>
                <a:gd name="connsiteX56" fmla="*/ 771907 w 1272442"/>
                <a:gd name="connsiteY56" fmla="*/ 810791 h 1168310"/>
                <a:gd name="connsiteX57" fmla="*/ 674915 w 1272442"/>
                <a:gd name="connsiteY57" fmla="*/ 880402 h 1168310"/>
                <a:gd name="connsiteX58" fmla="*/ 568721 w 1272442"/>
                <a:gd name="connsiteY58" fmla="*/ 933222 h 1168310"/>
                <a:gd name="connsiteX59" fmla="*/ 469789 w 1272442"/>
                <a:gd name="connsiteY59" fmla="*/ 964813 h 1168310"/>
                <a:gd name="connsiteX60" fmla="*/ 389624 w 1272442"/>
                <a:gd name="connsiteY60" fmla="*/ 1043207 h 1168310"/>
                <a:gd name="connsiteX61" fmla="*/ 300362 w 1272442"/>
                <a:gd name="connsiteY61" fmla="*/ 1107171 h 1168310"/>
                <a:gd name="connsiteX62" fmla="*/ 81443 w 1272442"/>
                <a:gd name="connsiteY62" fmla="*/ 1160692 h 1168310"/>
                <a:gd name="connsiteX63" fmla="*/ 0 w 1272442"/>
                <a:gd name="connsiteY63" fmla="*/ 998171 h 1168310"/>
                <a:gd name="connsiteX64" fmla="*/ 81443 w 1272442"/>
                <a:gd name="connsiteY64" fmla="*/ 739704 h 1168310"/>
                <a:gd name="connsiteX65" fmla="*/ 300362 w 1272442"/>
                <a:gd name="connsiteY65" fmla="*/ 530842 h 1168310"/>
                <a:gd name="connsiteX66" fmla="*/ 389624 w 1272442"/>
                <a:gd name="connsiteY66" fmla="*/ 487765 h 1168310"/>
                <a:gd name="connsiteX67" fmla="*/ 471718 w 1272442"/>
                <a:gd name="connsiteY67" fmla="*/ 469489 h 1168310"/>
                <a:gd name="connsiteX68" fmla="*/ 471718 w 1272442"/>
                <a:gd name="connsiteY68" fmla="*/ 523677 h 1168310"/>
                <a:gd name="connsiteX69" fmla="*/ 511390 w 1272442"/>
                <a:gd name="connsiteY69" fmla="*/ 446758 h 1168310"/>
                <a:gd name="connsiteX70" fmla="*/ 665143 w 1272442"/>
                <a:gd name="connsiteY70" fmla="*/ 310469 h 1168310"/>
                <a:gd name="connsiteX71" fmla="*/ 758958 w 1272442"/>
                <a:gd name="connsiteY71" fmla="*/ 260910 h 1168310"/>
                <a:gd name="connsiteX72" fmla="*/ 858638 w 1272442"/>
                <a:gd name="connsiteY72" fmla="*/ 221784 h 1168310"/>
                <a:gd name="connsiteX73" fmla="*/ 858638 w 1272442"/>
                <a:gd name="connsiteY73" fmla="*/ 283639 h 1168310"/>
                <a:gd name="connsiteX74" fmla="*/ 888711 w 1272442"/>
                <a:gd name="connsiteY74" fmla="*/ 224973 h 1168310"/>
                <a:gd name="connsiteX75" fmla="*/ 1042464 w 1272442"/>
                <a:gd name="connsiteY75" fmla="*/ 88685 h 1168310"/>
                <a:gd name="connsiteX76" fmla="*/ 1136280 w 1272442"/>
                <a:gd name="connsiteY76" fmla="*/ 39126 h 1168310"/>
                <a:gd name="connsiteX77" fmla="*/ 1236610 w 1272442"/>
                <a:gd name="connsiteY77" fmla="*/ 0 h 1168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1272442" h="1168310">
                  <a:moveTo>
                    <a:pt x="461324" y="585318"/>
                  </a:moveTo>
                  <a:lnTo>
                    <a:pt x="393533" y="591543"/>
                  </a:lnTo>
                  <a:cubicBezTo>
                    <a:pt x="367471" y="598723"/>
                    <a:pt x="340758" y="610471"/>
                    <a:pt x="312090" y="627441"/>
                  </a:cubicBezTo>
                  <a:cubicBezTo>
                    <a:pt x="261269" y="658118"/>
                    <a:pt x="220873" y="697932"/>
                    <a:pt x="191554" y="748189"/>
                  </a:cubicBezTo>
                  <a:cubicBezTo>
                    <a:pt x="162234" y="798447"/>
                    <a:pt x="147900" y="852620"/>
                    <a:pt x="147900" y="910057"/>
                  </a:cubicBezTo>
                  <a:cubicBezTo>
                    <a:pt x="147900" y="967494"/>
                    <a:pt x="162234" y="1003393"/>
                    <a:pt x="191554" y="1019057"/>
                  </a:cubicBezTo>
                  <a:cubicBezTo>
                    <a:pt x="220873" y="1034069"/>
                    <a:pt x="261269" y="1026890"/>
                    <a:pt x="312090" y="996213"/>
                  </a:cubicBezTo>
                  <a:cubicBezTo>
                    <a:pt x="340758" y="979243"/>
                    <a:pt x="367471" y="959009"/>
                    <a:pt x="393533" y="934860"/>
                  </a:cubicBezTo>
                  <a:cubicBezTo>
                    <a:pt x="406238" y="922785"/>
                    <a:pt x="419106" y="909568"/>
                    <a:pt x="432137" y="895127"/>
                  </a:cubicBezTo>
                  <a:lnTo>
                    <a:pt x="462527" y="858983"/>
                  </a:lnTo>
                  <a:lnTo>
                    <a:pt x="462527" y="846493"/>
                  </a:lnTo>
                  <a:cubicBezTo>
                    <a:pt x="498360" y="843885"/>
                    <a:pt x="532237" y="838016"/>
                    <a:pt x="565464" y="828234"/>
                  </a:cubicBezTo>
                  <a:cubicBezTo>
                    <a:pt x="598690" y="817801"/>
                    <a:pt x="629962" y="802803"/>
                    <a:pt x="660582" y="784544"/>
                  </a:cubicBezTo>
                  <a:cubicBezTo>
                    <a:pt x="691854" y="766285"/>
                    <a:pt x="715960" y="746722"/>
                    <a:pt x="732247" y="726507"/>
                  </a:cubicBezTo>
                  <a:cubicBezTo>
                    <a:pt x="749186" y="706292"/>
                    <a:pt x="757655" y="686077"/>
                    <a:pt x="757655" y="667167"/>
                  </a:cubicBezTo>
                  <a:cubicBezTo>
                    <a:pt x="757655" y="649560"/>
                    <a:pt x="751792" y="639778"/>
                    <a:pt x="740716" y="636518"/>
                  </a:cubicBezTo>
                  <a:cubicBezTo>
                    <a:pt x="729641" y="634562"/>
                    <a:pt x="706839" y="639126"/>
                    <a:pt x="672961" y="651516"/>
                  </a:cubicBezTo>
                  <a:lnTo>
                    <a:pt x="618235" y="672383"/>
                  </a:lnTo>
                  <a:cubicBezTo>
                    <a:pt x="562858" y="693902"/>
                    <a:pt x="521813" y="699119"/>
                    <a:pt x="495754" y="688686"/>
                  </a:cubicBezTo>
                  <a:cubicBezTo>
                    <a:pt x="470997" y="677600"/>
                    <a:pt x="457967" y="650212"/>
                    <a:pt x="457967" y="605869"/>
                  </a:cubicBezTo>
                  <a:close/>
                  <a:moveTo>
                    <a:pt x="841958" y="343988"/>
                  </a:moveTo>
                  <a:lnTo>
                    <a:pt x="770034" y="361985"/>
                  </a:lnTo>
                  <a:cubicBezTo>
                    <a:pt x="740716" y="372419"/>
                    <a:pt x="713354" y="385461"/>
                    <a:pt x="687945" y="400459"/>
                  </a:cubicBezTo>
                  <a:cubicBezTo>
                    <a:pt x="653416" y="420674"/>
                    <a:pt x="628659" y="440889"/>
                    <a:pt x="611720" y="459800"/>
                  </a:cubicBezTo>
                  <a:cubicBezTo>
                    <a:pt x="595433" y="478710"/>
                    <a:pt x="587615" y="498273"/>
                    <a:pt x="587615" y="518488"/>
                  </a:cubicBezTo>
                  <a:cubicBezTo>
                    <a:pt x="587615" y="532835"/>
                    <a:pt x="592827" y="541312"/>
                    <a:pt x="603902" y="543268"/>
                  </a:cubicBezTo>
                  <a:cubicBezTo>
                    <a:pt x="614978" y="544572"/>
                    <a:pt x="634522" y="540008"/>
                    <a:pt x="663840" y="528922"/>
                  </a:cubicBezTo>
                  <a:lnTo>
                    <a:pt x="724429" y="504794"/>
                  </a:lnTo>
                  <a:cubicBezTo>
                    <a:pt x="786321" y="480015"/>
                    <a:pt x="829972" y="472842"/>
                    <a:pt x="856032" y="482623"/>
                  </a:cubicBezTo>
                  <a:cubicBezTo>
                    <a:pt x="882092" y="492405"/>
                    <a:pt x="895122" y="521097"/>
                    <a:pt x="895122" y="567396"/>
                  </a:cubicBezTo>
                  <a:lnTo>
                    <a:pt x="887676" y="615634"/>
                  </a:lnTo>
                  <a:lnTo>
                    <a:pt x="942785" y="605797"/>
                  </a:lnTo>
                  <a:cubicBezTo>
                    <a:pt x="976012" y="595363"/>
                    <a:pt x="1007935" y="581017"/>
                    <a:pt x="1038555" y="562758"/>
                  </a:cubicBezTo>
                  <a:cubicBezTo>
                    <a:pt x="1069176" y="544500"/>
                    <a:pt x="1093933" y="524937"/>
                    <a:pt x="1110220" y="504070"/>
                  </a:cubicBezTo>
                  <a:cubicBezTo>
                    <a:pt x="1127159" y="483855"/>
                    <a:pt x="1134977" y="464292"/>
                    <a:pt x="1134977" y="444729"/>
                  </a:cubicBezTo>
                  <a:cubicBezTo>
                    <a:pt x="1134977" y="427775"/>
                    <a:pt x="1129113" y="417993"/>
                    <a:pt x="1118038" y="414733"/>
                  </a:cubicBezTo>
                  <a:cubicBezTo>
                    <a:pt x="1106962" y="412124"/>
                    <a:pt x="1084160" y="417341"/>
                    <a:pt x="1050934" y="429731"/>
                  </a:cubicBezTo>
                  <a:lnTo>
                    <a:pt x="995557" y="450598"/>
                  </a:lnTo>
                  <a:cubicBezTo>
                    <a:pt x="940179" y="471465"/>
                    <a:pt x="899135" y="477334"/>
                    <a:pt x="873727" y="466248"/>
                  </a:cubicBezTo>
                  <a:cubicBezTo>
                    <a:pt x="847667" y="455815"/>
                    <a:pt x="835288" y="427775"/>
                    <a:pt x="835288" y="384084"/>
                  </a:cubicBezTo>
                  <a:close/>
                  <a:moveTo>
                    <a:pt x="1236610" y="0"/>
                  </a:moveTo>
                  <a:lnTo>
                    <a:pt x="1236610" y="117377"/>
                  </a:lnTo>
                  <a:cubicBezTo>
                    <a:pt x="1205990" y="121942"/>
                    <a:pt x="1176021" y="129767"/>
                    <a:pt x="1147355" y="140201"/>
                  </a:cubicBezTo>
                  <a:cubicBezTo>
                    <a:pt x="1118689" y="150634"/>
                    <a:pt x="1090675" y="163024"/>
                    <a:pt x="1065267" y="178674"/>
                  </a:cubicBezTo>
                  <a:cubicBezTo>
                    <a:pt x="1031389" y="198889"/>
                    <a:pt x="1005980" y="218452"/>
                    <a:pt x="989693" y="237363"/>
                  </a:cubicBezTo>
                  <a:cubicBezTo>
                    <a:pt x="972754" y="256926"/>
                    <a:pt x="964936" y="276489"/>
                    <a:pt x="964936" y="296051"/>
                  </a:cubicBezTo>
                  <a:cubicBezTo>
                    <a:pt x="964936" y="311050"/>
                    <a:pt x="970148" y="319527"/>
                    <a:pt x="981875" y="321483"/>
                  </a:cubicBezTo>
                  <a:cubicBezTo>
                    <a:pt x="992299" y="322787"/>
                    <a:pt x="1012495" y="318223"/>
                    <a:pt x="1041813" y="306485"/>
                  </a:cubicBezTo>
                  <a:lnTo>
                    <a:pt x="1102402" y="283010"/>
                  </a:lnTo>
                  <a:cubicBezTo>
                    <a:pt x="1164294" y="258230"/>
                    <a:pt x="1207944" y="251057"/>
                    <a:pt x="1233353" y="260838"/>
                  </a:cubicBezTo>
                  <a:cubicBezTo>
                    <a:pt x="1259413" y="270620"/>
                    <a:pt x="1272442" y="298660"/>
                    <a:pt x="1272442" y="345611"/>
                  </a:cubicBezTo>
                  <a:cubicBezTo>
                    <a:pt x="1272442" y="406908"/>
                    <a:pt x="1254852" y="462988"/>
                    <a:pt x="1218368" y="514503"/>
                  </a:cubicBezTo>
                  <a:cubicBezTo>
                    <a:pt x="1181884" y="566019"/>
                    <a:pt x="1127159" y="613622"/>
                    <a:pt x="1052237" y="657964"/>
                  </a:cubicBezTo>
                  <a:cubicBezTo>
                    <a:pt x="1017056" y="679484"/>
                    <a:pt x="981875" y="697090"/>
                    <a:pt x="946043" y="711436"/>
                  </a:cubicBezTo>
                  <a:cubicBezTo>
                    <a:pt x="910862" y="725782"/>
                    <a:pt x="875681" y="736868"/>
                    <a:pt x="840500" y="745345"/>
                  </a:cubicBezTo>
                  <a:lnTo>
                    <a:pt x="840500" y="736878"/>
                  </a:lnTo>
                  <a:lnTo>
                    <a:pt x="771907" y="810791"/>
                  </a:lnTo>
                  <a:cubicBezTo>
                    <a:pt x="744300" y="834755"/>
                    <a:pt x="712050" y="857905"/>
                    <a:pt x="674915" y="880402"/>
                  </a:cubicBezTo>
                  <a:cubicBezTo>
                    <a:pt x="639083" y="901269"/>
                    <a:pt x="603902" y="918876"/>
                    <a:pt x="568721" y="933222"/>
                  </a:cubicBezTo>
                  <a:lnTo>
                    <a:pt x="469789" y="964813"/>
                  </a:lnTo>
                  <a:lnTo>
                    <a:pt x="389624" y="1043207"/>
                  </a:lnTo>
                  <a:cubicBezTo>
                    <a:pt x="360956" y="1066704"/>
                    <a:pt x="331636" y="1088243"/>
                    <a:pt x="300362" y="1107171"/>
                  </a:cubicBezTo>
                  <a:cubicBezTo>
                    <a:pt x="208494" y="1161997"/>
                    <a:pt x="134870" y="1180273"/>
                    <a:pt x="81443" y="1160692"/>
                  </a:cubicBezTo>
                  <a:cubicBezTo>
                    <a:pt x="27365" y="1141111"/>
                    <a:pt x="0" y="1086937"/>
                    <a:pt x="0" y="998171"/>
                  </a:cubicBezTo>
                  <a:cubicBezTo>
                    <a:pt x="0" y="909405"/>
                    <a:pt x="27365" y="823249"/>
                    <a:pt x="81443" y="739704"/>
                  </a:cubicBezTo>
                  <a:cubicBezTo>
                    <a:pt x="134870" y="655507"/>
                    <a:pt x="208494" y="585669"/>
                    <a:pt x="300362" y="530842"/>
                  </a:cubicBezTo>
                  <a:cubicBezTo>
                    <a:pt x="331636" y="511914"/>
                    <a:pt x="360956" y="497555"/>
                    <a:pt x="389624" y="487765"/>
                  </a:cubicBezTo>
                  <a:cubicBezTo>
                    <a:pt x="418292" y="477974"/>
                    <a:pt x="445656" y="471447"/>
                    <a:pt x="471718" y="469489"/>
                  </a:cubicBezTo>
                  <a:lnTo>
                    <a:pt x="471718" y="523677"/>
                  </a:lnTo>
                  <a:lnTo>
                    <a:pt x="511390" y="446758"/>
                  </a:lnTo>
                  <a:cubicBezTo>
                    <a:pt x="546570" y="395894"/>
                    <a:pt x="598039" y="350247"/>
                    <a:pt x="665143" y="310469"/>
                  </a:cubicBezTo>
                  <a:cubicBezTo>
                    <a:pt x="695112" y="292211"/>
                    <a:pt x="726384" y="275908"/>
                    <a:pt x="758958" y="260910"/>
                  </a:cubicBezTo>
                  <a:cubicBezTo>
                    <a:pt x="790882" y="246564"/>
                    <a:pt x="824760" y="233522"/>
                    <a:pt x="858638" y="221784"/>
                  </a:cubicBezTo>
                  <a:lnTo>
                    <a:pt x="858638" y="283639"/>
                  </a:lnTo>
                  <a:lnTo>
                    <a:pt x="888711" y="224973"/>
                  </a:lnTo>
                  <a:cubicBezTo>
                    <a:pt x="924543" y="174110"/>
                    <a:pt x="976012" y="128463"/>
                    <a:pt x="1042464" y="88685"/>
                  </a:cubicBezTo>
                  <a:cubicBezTo>
                    <a:pt x="1073085" y="70427"/>
                    <a:pt x="1104357" y="54124"/>
                    <a:pt x="1136280" y="39126"/>
                  </a:cubicBezTo>
                  <a:cubicBezTo>
                    <a:pt x="1168855" y="24780"/>
                    <a:pt x="1202081" y="11086"/>
                    <a:pt x="123661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anchor="ctr">
              <a:noAutofit/>
            </a:bodyPr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06" name="Freeform 132">
              <a:extLst>
                <a:ext uri="{FF2B5EF4-FFF2-40B4-BE49-F238E27FC236}">
                  <a16:creationId xmlns:a16="http://schemas.microsoft.com/office/drawing/2014/main" id="{514BF97A-23FA-7B4D-B034-F46CC150E7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312680" y="4026664"/>
              <a:ext cx="861211" cy="532857"/>
            </a:xfrm>
            <a:custGeom>
              <a:avLst/>
              <a:gdLst>
                <a:gd name="T0" fmla="*/ 51 w 1317"/>
                <a:gd name="T1" fmla="*/ 380 h 818"/>
                <a:gd name="T2" fmla="*/ 672 w 1317"/>
                <a:gd name="T3" fmla="*/ 23 h 818"/>
                <a:gd name="T4" fmla="*/ 672 w 1317"/>
                <a:gd name="T5" fmla="*/ 23 h 818"/>
                <a:gd name="T6" fmla="*/ 802 w 1317"/>
                <a:gd name="T7" fmla="*/ 25 h 818"/>
                <a:gd name="T8" fmla="*/ 1268 w 1317"/>
                <a:gd name="T9" fmla="*/ 307 h 818"/>
                <a:gd name="T10" fmla="*/ 1268 w 1317"/>
                <a:gd name="T11" fmla="*/ 307 h 818"/>
                <a:gd name="T12" fmla="*/ 1266 w 1317"/>
                <a:gd name="T13" fmla="*/ 434 h 818"/>
                <a:gd name="T14" fmla="*/ 642 w 1317"/>
                <a:gd name="T15" fmla="*/ 793 h 818"/>
                <a:gd name="T16" fmla="*/ 642 w 1317"/>
                <a:gd name="T17" fmla="*/ 793 h 818"/>
                <a:gd name="T18" fmla="*/ 512 w 1317"/>
                <a:gd name="T19" fmla="*/ 792 h 818"/>
                <a:gd name="T20" fmla="*/ 50 w 1317"/>
                <a:gd name="T21" fmla="*/ 512 h 818"/>
                <a:gd name="T22" fmla="*/ 50 w 1317"/>
                <a:gd name="T23" fmla="*/ 512 h 818"/>
                <a:gd name="T24" fmla="*/ 51 w 1317"/>
                <a:gd name="T25" fmla="*/ 380 h 8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17" h="818">
                  <a:moveTo>
                    <a:pt x="51" y="380"/>
                  </a:moveTo>
                  <a:lnTo>
                    <a:pt x="672" y="23"/>
                  </a:lnTo>
                  <a:lnTo>
                    <a:pt x="672" y="23"/>
                  </a:lnTo>
                  <a:cubicBezTo>
                    <a:pt x="712" y="0"/>
                    <a:pt x="762" y="0"/>
                    <a:pt x="802" y="25"/>
                  </a:cubicBezTo>
                  <a:lnTo>
                    <a:pt x="1268" y="307"/>
                  </a:lnTo>
                  <a:lnTo>
                    <a:pt x="1268" y="307"/>
                  </a:lnTo>
                  <a:cubicBezTo>
                    <a:pt x="1316" y="336"/>
                    <a:pt x="1315" y="406"/>
                    <a:pt x="1266" y="434"/>
                  </a:cubicBezTo>
                  <a:lnTo>
                    <a:pt x="642" y="793"/>
                  </a:lnTo>
                  <a:lnTo>
                    <a:pt x="642" y="793"/>
                  </a:lnTo>
                  <a:cubicBezTo>
                    <a:pt x="601" y="817"/>
                    <a:pt x="552" y="816"/>
                    <a:pt x="512" y="792"/>
                  </a:cubicBezTo>
                  <a:lnTo>
                    <a:pt x="50" y="512"/>
                  </a:lnTo>
                  <a:lnTo>
                    <a:pt x="50" y="512"/>
                  </a:lnTo>
                  <a:cubicBezTo>
                    <a:pt x="0" y="482"/>
                    <a:pt x="1" y="409"/>
                    <a:pt x="51" y="38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07" name="Freeform 133">
              <a:extLst>
                <a:ext uri="{FF2B5EF4-FFF2-40B4-BE49-F238E27FC236}">
                  <a16:creationId xmlns:a16="http://schemas.microsoft.com/office/drawing/2014/main" id="{0768A860-5A05-4A4E-A30B-F6551E3126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20510" y="3850966"/>
              <a:ext cx="780563" cy="633667"/>
            </a:xfrm>
            <a:custGeom>
              <a:avLst/>
              <a:gdLst>
                <a:gd name="T0" fmla="*/ 515 w 1196"/>
                <a:gd name="T1" fmla="*/ 392 h 968"/>
                <a:gd name="T2" fmla="*/ 0 w 1196"/>
                <a:gd name="T3" fmla="*/ 71 h 968"/>
                <a:gd name="T4" fmla="*/ 110 w 1196"/>
                <a:gd name="T5" fmla="*/ 685 h 968"/>
                <a:gd name="T6" fmla="*/ 110 w 1196"/>
                <a:gd name="T7" fmla="*/ 685 h 968"/>
                <a:gd name="T8" fmla="*/ 164 w 1196"/>
                <a:gd name="T9" fmla="*/ 765 h 968"/>
                <a:gd name="T10" fmla="*/ 433 w 1196"/>
                <a:gd name="T11" fmla="*/ 934 h 968"/>
                <a:gd name="T12" fmla="*/ 433 w 1196"/>
                <a:gd name="T13" fmla="*/ 934 h 968"/>
                <a:gd name="T14" fmla="*/ 598 w 1196"/>
                <a:gd name="T15" fmla="*/ 937 h 968"/>
                <a:gd name="T16" fmla="*/ 1010 w 1196"/>
                <a:gd name="T17" fmla="*/ 700 h 968"/>
                <a:gd name="T18" fmla="*/ 1010 w 1196"/>
                <a:gd name="T19" fmla="*/ 700 h 968"/>
                <a:gd name="T20" fmla="*/ 1090 w 1196"/>
                <a:gd name="T21" fmla="*/ 587 h 968"/>
                <a:gd name="T22" fmla="*/ 1195 w 1196"/>
                <a:gd name="T23" fmla="*/ 0 h 968"/>
                <a:gd name="T24" fmla="*/ 515 w 1196"/>
                <a:gd name="T25" fmla="*/ 392 h 9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96" h="968">
                  <a:moveTo>
                    <a:pt x="515" y="392"/>
                  </a:moveTo>
                  <a:lnTo>
                    <a:pt x="0" y="71"/>
                  </a:lnTo>
                  <a:lnTo>
                    <a:pt x="110" y="685"/>
                  </a:lnTo>
                  <a:lnTo>
                    <a:pt x="110" y="685"/>
                  </a:lnTo>
                  <a:cubicBezTo>
                    <a:pt x="116" y="718"/>
                    <a:pt x="136" y="747"/>
                    <a:pt x="164" y="765"/>
                  </a:cubicBezTo>
                  <a:lnTo>
                    <a:pt x="433" y="934"/>
                  </a:lnTo>
                  <a:lnTo>
                    <a:pt x="433" y="934"/>
                  </a:lnTo>
                  <a:cubicBezTo>
                    <a:pt x="483" y="965"/>
                    <a:pt x="547" y="967"/>
                    <a:pt x="598" y="937"/>
                  </a:cubicBezTo>
                  <a:lnTo>
                    <a:pt x="1010" y="700"/>
                  </a:lnTo>
                  <a:lnTo>
                    <a:pt x="1010" y="700"/>
                  </a:lnTo>
                  <a:cubicBezTo>
                    <a:pt x="1052" y="676"/>
                    <a:pt x="1081" y="635"/>
                    <a:pt x="1090" y="587"/>
                  </a:cubicBezTo>
                  <a:lnTo>
                    <a:pt x="1195" y="0"/>
                  </a:lnTo>
                  <a:lnTo>
                    <a:pt x="515" y="392"/>
                  </a:lnTo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08" name="Freeform 134">
              <a:extLst>
                <a:ext uri="{FF2B5EF4-FFF2-40B4-BE49-F238E27FC236}">
                  <a16:creationId xmlns:a16="http://schemas.microsoft.com/office/drawing/2014/main" id="{DD1B00B7-C30B-8F45-9623-DE4D28079F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32030" y="3850967"/>
              <a:ext cx="771921" cy="627906"/>
            </a:xfrm>
            <a:custGeom>
              <a:avLst/>
              <a:gdLst>
                <a:gd name="T0" fmla="*/ 1148 w 1180"/>
                <a:gd name="T1" fmla="*/ 170 h 960"/>
                <a:gd name="T2" fmla="*/ 1179 w 1180"/>
                <a:gd name="T3" fmla="*/ 0 h 960"/>
                <a:gd name="T4" fmla="*/ 499 w 1180"/>
                <a:gd name="T5" fmla="*/ 392 h 960"/>
                <a:gd name="T6" fmla="*/ 52 w 1180"/>
                <a:gd name="T7" fmla="*/ 114 h 960"/>
                <a:gd name="T8" fmla="*/ 44 w 1180"/>
                <a:gd name="T9" fmla="*/ 118 h 960"/>
                <a:gd name="T10" fmla="*/ 44 w 1180"/>
                <a:gd name="T11" fmla="*/ 118 h 960"/>
                <a:gd name="T12" fmla="*/ 0 w 1180"/>
                <a:gd name="T13" fmla="*/ 160 h 960"/>
                <a:gd name="T14" fmla="*/ 32 w 1180"/>
                <a:gd name="T15" fmla="*/ 337 h 960"/>
                <a:gd name="T16" fmla="*/ 32 w 1180"/>
                <a:gd name="T17" fmla="*/ 337 h 960"/>
                <a:gd name="T18" fmla="*/ 42 w 1180"/>
                <a:gd name="T19" fmla="*/ 344 h 960"/>
                <a:gd name="T20" fmla="*/ 413 w 1180"/>
                <a:gd name="T21" fmla="*/ 569 h 960"/>
                <a:gd name="T22" fmla="*/ 413 w 1180"/>
                <a:gd name="T23" fmla="*/ 569 h 960"/>
                <a:gd name="T24" fmla="*/ 414 w 1180"/>
                <a:gd name="T25" fmla="*/ 569 h 960"/>
                <a:gd name="T26" fmla="*/ 414 w 1180"/>
                <a:gd name="T27" fmla="*/ 569 h 960"/>
                <a:gd name="T28" fmla="*/ 499 w 1180"/>
                <a:gd name="T29" fmla="*/ 714 h 960"/>
                <a:gd name="T30" fmla="*/ 499 w 1180"/>
                <a:gd name="T31" fmla="*/ 958 h 960"/>
                <a:gd name="T32" fmla="*/ 499 w 1180"/>
                <a:gd name="T33" fmla="*/ 958 h 960"/>
                <a:gd name="T34" fmla="*/ 582 w 1180"/>
                <a:gd name="T35" fmla="*/ 937 h 960"/>
                <a:gd name="T36" fmla="*/ 994 w 1180"/>
                <a:gd name="T37" fmla="*/ 700 h 960"/>
                <a:gd name="T38" fmla="*/ 994 w 1180"/>
                <a:gd name="T39" fmla="*/ 700 h 960"/>
                <a:gd name="T40" fmla="*/ 1009 w 1180"/>
                <a:gd name="T41" fmla="*/ 690 h 960"/>
                <a:gd name="T42" fmla="*/ 1009 w 1180"/>
                <a:gd name="T43" fmla="*/ 690 h 960"/>
                <a:gd name="T44" fmla="*/ 1074 w 1180"/>
                <a:gd name="T45" fmla="*/ 587 h 960"/>
                <a:gd name="T46" fmla="*/ 1132 w 1180"/>
                <a:gd name="T47" fmla="*/ 263 h 960"/>
                <a:gd name="T48" fmla="*/ 1148 w 1180"/>
                <a:gd name="T49" fmla="*/ 170 h 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80" h="960">
                  <a:moveTo>
                    <a:pt x="1148" y="170"/>
                  </a:moveTo>
                  <a:lnTo>
                    <a:pt x="1179" y="0"/>
                  </a:lnTo>
                  <a:lnTo>
                    <a:pt x="499" y="392"/>
                  </a:lnTo>
                  <a:lnTo>
                    <a:pt x="52" y="114"/>
                  </a:lnTo>
                  <a:lnTo>
                    <a:pt x="44" y="118"/>
                  </a:lnTo>
                  <a:lnTo>
                    <a:pt x="44" y="118"/>
                  </a:lnTo>
                  <a:cubicBezTo>
                    <a:pt x="25" y="129"/>
                    <a:pt x="11" y="144"/>
                    <a:pt x="0" y="160"/>
                  </a:cubicBezTo>
                  <a:lnTo>
                    <a:pt x="32" y="337"/>
                  </a:lnTo>
                  <a:lnTo>
                    <a:pt x="32" y="337"/>
                  </a:lnTo>
                  <a:cubicBezTo>
                    <a:pt x="35" y="339"/>
                    <a:pt x="38" y="342"/>
                    <a:pt x="42" y="344"/>
                  </a:cubicBezTo>
                  <a:lnTo>
                    <a:pt x="413" y="569"/>
                  </a:lnTo>
                  <a:lnTo>
                    <a:pt x="413" y="569"/>
                  </a:lnTo>
                  <a:lnTo>
                    <a:pt x="414" y="569"/>
                  </a:lnTo>
                  <a:lnTo>
                    <a:pt x="414" y="569"/>
                  </a:lnTo>
                  <a:cubicBezTo>
                    <a:pt x="465" y="600"/>
                    <a:pt x="499" y="654"/>
                    <a:pt x="499" y="714"/>
                  </a:cubicBezTo>
                  <a:lnTo>
                    <a:pt x="499" y="958"/>
                  </a:lnTo>
                  <a:lnTo>
                    <a:pt x="499" y="958"/>
                  </a:lnTo>
                  <a:cubicBezTo>
                    <a:pt x="527" y="959"/>
                    <a:pt x="556" y="952"/>
                    <a:pt x="582" y="937"/>
                  </a:cubicBezTo>
                  <a:lnTo>
                    <a:pt x="994" y="700"/>
                  </a:lnTo>
                  <a:lnTo>
                    <a:pt x="994" y="700"/>
                  </a:lnTo>
                  <a:cubicBezTo>
                    <a:pt x="999" y="697"/>
                    <a:pt x="1004" y="694"/>
                    <a:pt x="1009" y="690"/>
                  </a:cubicBezTo>
                  <a:lnTo>
                    <a:pt x="1009" y="690"/>
                  </a:lnTo>
                  <a:cubicBezTo>
                    <a:pt x="1043" y="665"/>
                    <a:pt x="1066" y="629"/>
                    <a:pt x="1074" y="587"/>
                  </a:cubicBezTo>
                  <a:lnTo>
                    <a:pt x="1132" y="263"/>
                  </a:lnTo>
                  <a:lnTo>
                    <a:pt x="1148" y="170"/>
                  </a:lnTo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09" name="Freeform 135">
              <a:extLst>
                <a:ext uri="{FF2B5EF4-FFF2-40B4-BE49-F238E27FC236}">
                  <a16:creationId xmlns:a16="http://schemas.microsoft.com/office/drawing/2014/main" id="{8878532D-6727-084C-91CD-EF62A04E2C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17631" y="3669506"/>
              <a:ext cx="789203" cy="541497"/>
            </a:xfrm>
            <a:custGeom>
              <a:avLst/>
              <a:gdLst>
                <a:gd name="T0" fmla="*/ 1208 w 1209"/>
                <a:gd name="T1" fmla="*/ 236 h 827"/>
                <a:gd name="T2" fmla="*/ 785 w 1209"/>
                <a:gd name="T3" fmla="*/ 35 h 827"/>
                <a:gd name="T4" fmla="*/ 785 w 1209"/>
                <a:gd name="T5" fmla="*/ 35 h 827"/>
                <a:gd name="T6" fmla="*/ 598 w 1209"/>
                <a:gd name="T7" fmla="*/ 34 h 827"/>
                <a:gd name="T8" fmla="*/ 0 w 1209"/>
                <a:gd name="T9" fmla="*/ 324 h 827"/>
                <a:gd name="T10" fmla="*/ 0 w 1209"/>
                <a:gd name="T11" fmla="*/ 462 h 827"/>
                <a:gd name="T12" fmla="*/ 0 w 1209"/>
                <a:gd name="T13" fmla="*/ 462 h 827"/>
                <a:gd name="T14" fmla="*/ 63 w 1209"/>
                <a:gd name="T15" fmla="*/ 566 h 827"/>
                <a:gd name="T16" fmla="*/ 434 w 1209"/>
                <a:gd name="T17" fmla="*/ 791 h 827"/>
                <a:gd name="T18" fmla="*/ 434 w 1209"/>
                <a:gd name="T19" fmla="*/ 791 h 827"/>
                <a:gd name="T20" fmla="*/ 621 w 1209"/>
                <a:gd name="T21" fmla="*/ 793 h 827"/>
                <a:gd name="T22" fmla="*/ 1140 w 1209"/>
                <a:gd name="T23" fmla="*/ 494 h 827"/>
                <a:gd name="T24" fmla="*/ 1140 w 1209"/>
                <a:gd name="T25" fmla="*/ 494 h 827"/>
                <a:gd name="T26" fmla="*/ 1208 w 1209"/>
                <a:gd name="T27" fmla="*/ 376 h 827"/>
                <a:gd name="T28" fmla="*/ 1208 w 1209"/>
                <a:gd name="T29" fmla="*/ 236 h 8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09" h="827">
                  <a:moveTo>
                    <a:pt x="1208" y="236"/>
                  </a:moveTo>
                  <a:lnTo>
                    <a:pt x="785" y="35"/>
                  </a:lnTo>
                  <a:lnTo>
                    <a:pt x="785" y="35"/>
                  </a:lnTo>
                  <a:cubicBezTo>
                    <a:pt x="727" y="1"/>
                    <a:pt x="656" y="0"/>
                    <a:pt x="598" y="34"/>
                  </a:cubicBezTo>
                  <a:lnTo>
                    <a:pt x="0" y="324"/>
                  </a:lnTo>
                  <a:lnTo>
                    <a:pt x="0" y="462"/>
                  </a:lnTo>
                  <a:lnTo>
                    <a:pt x="0" y="462"/>
                  </a:lnTo>
                  <a:cubicBezTo>
                    <a:pt x="3" y="503"/>
                    <a:pt x="23" y="542"/>
                    <a:pt x="63" y="566"/>
                  </a:cubicBezTo>
                  <a:lnTo>
                    <a:pt x="434" y="791"/>
                  </a:lnTo>
                  <a:lnTo>
                    <a:pt x="434" y="791"/>
                  </a:lnTo>
                  <a:cubicBezTo>
                    <a:pt x="491" y="825"/>
                    <a:pt x="563" y="826"/>
                    <a:pt x="621" y="793"/>
                  </a:cubicBezTo>
                  <a:lnTo>
                    <a:pt x="1140" y="494"/>
                  </a:lnTo>
                  <a:lnTo>
                    <a:pt x="1140" y="494"/>
                  </a:lnTo>
                  <a:cubicBezTo>
                    <a:pt x="1186" y="467"/>
                    <a:pt x="1208" y="424"/>
                    <a:pt x="1208" y="376"/>
                  </a:cubicBezTo>
                  <a:lnTo>
                    <a:pt x="1208" y="236"/>
                  </a:lnTo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10" name="Freeform 136">
              <a:extLst>
                <a:ext uri="{FF2B5EF4-FFF2-40B4-BE49-F238E27FC236}">
                  <a16:creationId xmlns:a16="http://schemas.microsoft.com/office/drawing/2014/main" id="{1A428537-A075-6C4C-84F7-C6CE44B967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499900" y="3689670"/>
              <a:ext cx="506933" cy="512694"/>
            </a:xfrm>
            <a:custGeom>
              <a:avLst/>
              <a:gdLst>
                <a:gd name="T0" fmla="*/ 164 w 775"/>
                <a:gd name="T1" fmla="*/ 3 h 786"/>
                <a:gd name="T2" fmla="*/ 118 w 775"/>
                <a:gd name="T3" fmla="*/ 24 h 786"/>
                <a:gd name="T4" fmla="*/ 0 w 775"/>
                <a:gd name="T5" fmla="*/ 635 h 786"/>
                <a:gd name="T6" fmla="*/ 0 w 775"/>
                <a:gd name="T7" fmla="*/ 635 h 786"/>
                <a:gd name="T8" fmla="*/ 118 w 775"/>
                <a:gd name="T9" fmla="*/ 785 h 786"/>
                <a:gd name="T10" fmla="*/ 118 w 775"/>
                <a:gd name="T11" fmla="*/ 785 h 786"/>
                <a:gd name="T12" fmla="*/ 187 w 775"/>
                <a:gd name="T13" fmla="*/ 762 h 786"/>
                <a:gd name="T14" fmla="*/ 706 w 775"/>
                <a:gd name="T15" fmla="*/ 463 h 786"/>
                <a:gd name="T16" fmla="*/ 706 w 775"/>
                <a:gd name="T17" fmla="*/ 463 h 786"/>
                <a:gd name="T18" fmla="*/ 774 w 775"/>
                <a:gd name="T19" fmla="*/ 345 h 786"/>
                <a:gd name="T20" fmla="*/ 774 w 775"/>
                <a:gd name="T21" fmla="*/ 205 h 786"/>
                <a:gd name="T22" fmla="*/ 351 w 775"/>
                <a:gd name="T23" fmla="*/ 4 h 786"/>
                <a:gd name="T24" fmla="*/ 351 w 775"/>
                <a:gd name="T25" fmla="*/ 4 h 786"/>
                <a:gd name="T26" fmla="*/ 341 w 775"/>
                <a:gd name="T27" fmla="*/ 0 h 786"/>
                <a:gd name="T28" fmla="*/ 169 w 775"/>
                <a:gd name="T29" fmla="*/ 0 h 786"/>
                <a:gd name="T30" fmla="*/ 169 w 775"/>
                <a:gd name="T31" fmla="*/ 0 h 786"/>
                <a:gd name="T32" fmla="*/ 164 w 775"/>
                <a:gd name="T33" fmla="*/ 3 h 7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75" h="786">
                  <a:moveTo>
                    <a:pt x="164" y="3"/>
                  </a:moveTo>
                  <a:lnTo>
                    <a:pt x="118" y="24"/>
                  </a:lnTo>
                  <a:lnTo>
                    <a:pt x="0" y="635"/>
                  </a:lnTo>
                  <a:lnTo>
                    <a:pt x="0" y="635"/>
                  </a:lnTo>
                  <a:cubicBezTo>
                    <a:pt x="73" y="664"/>
                    <a:pt x="114" y="713"/>
                    <a:pt x="118" y="785"/>
                  </a:cubicBezTo>
                  <a:lnTo>
                    <a:pt x="118" y="785"/>
                  </a:lnTo>
                  <a:cubicBezTo>
                    <a:pt x="142" y="782"/>
                    <a:pt x="166" y="774"/>
                    <a:pt x="187" y="762"/>
                  </a:cubicBezTo>
                  <a:lnTo>
                    <a:pt x="706" y="463"/>
                  </a:lnTo>
                  <a:lnTo>
                    <a:pt x="706" y="463"/>
                  </a:lnTo>
                  <a:cubicBezTo>
                    <a:pt x="752" y="436"/>
                    <a:pt x="774" y="393"/>
                    <a:pt x="774" y="345"/>
                  </a:cubicBezTo>
                  <a:lnTo>
                    <a:pt x="774" y="205"/>
                  </a:lnTo>
                  <a:lnTo>
                    <a:pt x="351" y="4"/>
                  </a:lnTo>
                  <a:lnTo>
                    <a:pt x="351" y="4"/>
                  </a:lnTo>
                  <a:cubicBezTo>
                    <a:pt x="348" y="3"/>
                    <a:pt x="344" y="2"/>
                    <a:pt x="341" y="0"/>
                  </a:cubicBezTo>
                  <a:lnTo>
                    <a:pt x="169" y="0"/>
                  </a:lnTo>
                  <a:lnTo>
                    <a:pt x="169" y="0"/>
                  </a:lnTo>
                  <a:cubicBezTo>
                    <a:pt x="168" y="1"/>
                    <a:pt x="165" y="2"/>
                    <a:pt x="164" y="3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11" name="Freeform 137">
              <a:extLst>
                <a:ext uri="{FF2B5EF4-FFF2-40B4-BE49-F238E27FC236}">
                  <a16:creationId xmlns:a16="http://schemas.microsoft.com/office/drawing/2014/main" id="{6DA985FB-473D-004C-B606-C71D6D2148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03227" y="3588858"/>
              <a:ext cx="820887" cy="541497"/>
            </a:xfrm>
            <a:custGeom>
              <a:avLst/>
              <a:gdLst>
                <a:gd name="T0" fmla="*/ 88 w 1258"/>
                <a:gd name="T1" fmla="*/ 340 h 827"/>
                <a:gd name="T2" fmla="*/ 621 w 1258"/>
                <a:gd name="T3" fmla="*/ 33 h 827"/>
                <a:gd name="T4" fmla="*/ 621 w 1258"/>
                <a:gd name="T5" fmla="*/ 33 h 827"/>
                <a:gd name="T6" fmla="*/ 808 w 1258"/>
                <a:gd name="T7" fmla="*/ 35 h 827"/>
                <a:gd name="T8" fmla="*/ 1165 w 1258"/>
                <a:gd name="T9" fmla="*/ 252 h 827"/>
                <a:gd name="T10" fmla="*/ 1165 w 1258"/>
                <a:gd name="T11" fmla="*/ 252 h 827"/>
                <a:gd name="T12" fmla="*/ 1162 w 1258"/>
                <a:gd name="T13" fmla="*/ 494 h 827"/>
                <a:gd name="T14" fmla="*/ 644 w 1258"/>
                <a:gd name="T15" fmla="*/ 792 h 827"/>
                <a:gd name="T16" fmla="*/ 644 w 1258"/>
                <a:gd name="T17" fmla="*/ 792 h 827"/>
                <a:gd name="T18" fmla="*/ 457 w 1258"/>
                <a:gd name="T19" fmla="*/ 790 h 827"/>
                <a:gd name="T20" fmla="*/ 86 w 1258"/>
                <a:gd name="T21" fmla="*/ 565 h 827"/>
                <a:gd name="T22" fmla="*/ 86 w 1258"/>
                <a:gd name="T23" fmla="*/ 565 h 827"/>
                <a:gd name="T24" fmla="*/ 88 w 1258"/>
                <a:gd name="T25" fmla="*/ 340 h 8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58" h="827">
                  <a:moveTo>
                    <a:pt x="88" y="340"/>
                  </a:moveTo>
                  <a:lnTo>
                    <a:pt x="621" y="33"/>
                  </a:lnTo>
                  <a:lnTo>
                    <a:pt x="621" y="33"/>
                  </a:lnTo>
                  <a:cubicBezTo>
                    <a:pt x="679" y="0"/>
                    <a:pt x="750" y="0"/>
                    <a:pt x="808" y="35"/>
                  </a:cubicBezTo>
                  <a:lnTo>
                    <a:pt x="1165" y="252"/>
                  </a:lnTo>
                  <a:lnTo>
                    <a:pt x="1165" y="252"/>
                  </a:lnTo>
                  <a:cubicBezTo>
                    <a:pt x="1257" y="307"/>
                    <a:pt x="1255" y="440"/>
                    <a:pt x="1162" y="494"/>
                  </a:cubicBezTo>
                  <a:lnTo>
                    <a:pt x="644" y="792"/>
                  </a:lnTo>
                  <a:lnTo>
                    <a:pt x="644" y="792"/>
                  </a:lnTo>
                  <a:cubicBezTo>
                    <a:pt x="586" y="826"/>
                    <a:pt x="514" y="825"/>
                    <a:pt x="457" y="790"/>
                  </a:cubicBezTo>
                  <a:lnTo>
                    <a:pt x="86" y="565"/>
                  </a:lnTo>
                  <a:lnTo>
                    <a:pt x="86" y="565"/>
                  </a:lnTo>
                  <a:cubicBezTo>
                    <a:pt x="0" y="514"/>
                    <a:pt x="2" y="390"/>
                    <a:pt x="88" y="340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12" name="Freeform 138">
              <a:extLst>
                <a:ext uri="{FF2B5EF4-FFF2-40B4-BE49-F238E27FC236}">
                  <a16:creationId xmlns:a16="http://schemas.microsoft.com/office/drawing/2014/main" id="{6293E64A-234A-BA46-B6AF-AFB014E23B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89638" y="3655106"/>
              <a:ext cx="650948" cy="403242"/>
            </a:xfrm>
            <a:custGeom>
              <a:avLst/>
              <a:gdLst>
                <a:gd name="T0" fmla="*/ 38 w 996"/>
                <a:gd name="T1" fmla="*/ 289 h 617"/>
                <a:gd name="T2" fmla="*/ 504 w 996"/>
                <a:gd name="T3" fmla="*/ 20 h 617"/>
                <a:gd name="T4" fmla="*/ 504 w 996"/>
                <a:gd name="T5" fmla="*/ 20 h 617"/>
                <a:gd name="T6" fmla="*/ 614 w 996"/>
                <a:gd name="T7" fmla="*/ 21 h 617"/>
                <a:gd name="T8" fmla="*/ 956 w 996"/>
                <a:gd name="T9" fmla="*/ 229 h 617"/>
                <a:gd name="T10" fmla="*/ 956 w 996"/>
                <a:gd name="T11" fmla="*/ 229 h 617"/>
                <a:gd name="T12" fmla="*/ 955 w 996"/>
                <a:gd name="T13" fmla="*/ 331 h 617"/>
                <a:gd name="T14" fmla="*/ 493 w 996"/>
                <a:gd name="T15" fmla="*/ 597 h 617"/>
                <a:gd name="T16" fmla="*/ 493 w 996"/>
                <a:gd name="T17" fmla="*/ 597 h 617"/>
                <a:gd name="T18" fmla="*/ 383 w 996"/>
                <a:gd name="T19" fmla="*/ 596 h 617"/>
                <a:gd name="T20" fmla="*/ 37 w 996"/>
                <a:gd name="T21" fmla="*/ 386 h 617"/>
                <a:gd name="T22" fmla="*/ 37 w 996"/>
                <a:gd name="T23" fmla="*/ 386 h 617"/>
                <a:gd name="T24" fmla="*/ 38 w 996"/>
                <a:gd name="T25" fmla="*/ 289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96" h="617">
                  <a:moveTo>
                    <a:pt x="38" y="289"/>
                  </a:moveTo>
                  <a:lnTo>
                    <a:pt x="504" y="20"/>
                  </a:lnTo>
                  <a:lnTo>
                    <a:pt x="504" y="20"/>
                  </a:lnTo>
                  <a:cubicBezTo>
                    <a:pt x="538" y="0"/>
                    <a:pt x="580" y="1"/>
                    <a:pt x="614" y="21"/>
                  </a:cubicBezTo>
                  <a:lnTo>
                    <a:pt x="956" y="229"/>
                  </a:lnTo>
                  <a:lnTo>
                    <a:pt x="956" y="229"/>
                  </a:lnTo>
                  <a:cubicBezTo>
                    <a:pt x="995" y="252"/>
                    <a:pt x="994" y="308"/>
                    <a:pt x="955" y="331"/>
                  </a:cubicBezTo>
                  <a:lnTo>
                    <a:pt x="493" y="597"/>
                  </a:lnTo>
                  <a:lnTo>
                    <a:pt x="493" y="597"/>
                  </a:lnTo>
                  <a:cubicBezTo>
                    <a:pt x="459" y="616"/>
                    <a:pt x="417" y="616"/>
                    <a:pt x="383" y="596"/>
                  </a:cubicBezTo>
                  <a:lnTo>
                    <a:pt x="37" y="386"/>
                  </a:lnTo>
                  <a:lnTo>
                    <a:pt x="37" y="386"/>
                  </a:lnTo>
                  <a:cubicBezTo>
                    <a:pt x="0" y="364"/>
                    <a:pt x="1" y="310"/>
                    <a:pt x="38" y="289"/>
                  </a:cubicBezTo>
                </a:path>
              </a:pathLst>
            </a:custGeom>
            <a:solidFill>
              <a:schemeClr val="accent5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13" name="Freeform 139">
              <a:extLst>
                <a:ext uri="{FF2B5EF4-FFF2-40B4-BE49-F238E27FC236}">
                  <a16:creationId xmlns:a16="http://schemas.microsoft.com/office/drawing/2014/main" id="{BF3753A6-0CAA-1845-91F2-EBE54B2C0C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89638" y="3655106"/>
              <a:ext cx="650948" cy="247706"/>
            </a:xfrm>
            <a:custGeom>
              <a:avLst/>
              <a:gdLst>
                <a:gd name="T0" fmla="*/ 956 w 995"/>
                <a:gd name="T1" fmla="*/ 313 h 381"/>
                <a:gd name="T2" fmla="*/ 956 w 995"/>
                <a:gd name="T3" fmla="*/ 313 h 381"/>
                <a:gd name="T4" fmla="*/ 967 w 995"/>
                <a:gd name="T5" fmla="*/ 321 h 381"/>
                <a:gd name="T6" fmla="*/ 967 w 995"/>
                <a:gd name="T7" fmla="*/ 321 h 381"/>
                <a:gd name="T8" fmla="*/ 956 w 995"/>
                <a:gd name="T9" fmla="*/ 229 h 381"/>
                <a:gd name="T10" fmla="*/ 614 w 995"/>
                <a:gd name="T11" fmla="*/ 21 h 381"/>
                <a:gd name="T12" fmla="*/ 614 w 995"/>
                <a:gd name="T13" fmla="*/ 21 h 381"/>
                <a:gd name="T14" fmla="*/ 504 w 995"/>
                <a:gd name="T15" fmla="*/ 20 h 381"/>
                <a:gd name="T16" fmla="*/ 38 w 995"/>
                <a:gd name="T17" fmla="*/ 289 h 381"/>
                <a:gd name="T18" fmla="*/ 38 w 995"/>
                <a:gd name="T19" fmla="*/ 289 h 381"/>
                <a:gd name="T20" fmla="*/ 28 w 995"/>
                <a:gd name="T21" fmla="*/ 380 h 381"/>
                <a:gd name="T22" fmla="*/ 28 w 995"/>
                <a:gd name="T23" fmla="*/ 380 h 381"/>
                <a:gd name="T24" fmla="*/ 38 w 995"/>
                <a:gd name="T25" fmla="*/ 373 h 381"/>
                <a:gd name="T26" fmla="*/ 504 w 995"/>
                <a:gd name="T27" fmla="*/ 105 h 381"/>
                <a:gd name="T28" fmla="*/ 504 w 995"/>
                <a:gd name="T29" fmla="*/ 105 h 381"/>
                <a:gd name="T30" fmla="*/ 614 w 995"/>
                <a:gd name="T31" fmla="*/ 106 h 381"/>
                <a:gd name="T32" fmla="*/ 956 w 995"/>
                <a:gd name="T33" fmla="*/ 313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95" h="381">
                  <a:moveTo>
                    <a:pt x="956" y="313"/>
                  </a:moveTo>
                  <a:lnTo>
                    <a:pt x="956" y="313"/>
                  </a:lnTo>
                  <a:cubicBezTo>
                    <a:pt x="960" y="316"/>
                    <a:pt x="964" y="319"/>
                    <a:pt x="967" y="321"/>
                  </a:cubicBezTo>
                  <a:lnTo>
                    <a:pt x="967" y="321"/>
                  </a:lnTo>
                  <a:cubicBezTo>
                    <a:pt x="994" y="296"/>
                    <a:pt x="990" y="249"/>
                    <a:pt x="956" y="229"/>
                  </a:cubicBezTo>
                  <a:lnTo>
                    <a:pt x="614" y="21"/>
                  </a:lnTo>
                  <a:lnTo>
                    <a:pt x="614" y="21"/>
                  </a:lnTo>
                  <a:cubicBezTo>
                    <a:pt x="580" y="1"/>
                    <a:pt x="538" y="0"/>
                    <a:pt x="504" y="20"/>
                  </a:cubicBezTo>
                  <a:lnTo>
                    <a:pt x="38" y="289"/>
                  </a:lnTo>
                  <a:lnTo>
                    <a:pt x="38" y="289"/>
                  </a:lnTo>
                  <a:cubicBezTo>
                    <a:pt x="4" y="309"/>
                    <a:pt x="0" y="355"/>
                    <a:pt x="28" y="380"/>
                  </a:cubicBezTo>
                  <a:lnTo>
                    <a:pt x="28" y="380"/>
                  </a:lnTo>
                  <a:cubicBezTo>
                    <a:pt x="32" y="377"/>
                    <a:pt x="34" y="375"/>
                    <a:pt x="38" y="373"/>
                  </a:cubicBezTo>
                  <a:lnTo>
                    <a:pt x="504" y="105"/>
                  </a:lnTo>
                  <a:lnTo>
                    <a:pt x="504" y="105"/>
                  </a:lnTo>
                  <a:cubicBezTo>
                    <a:pt x="538" y="85"/>
                    <a:pt x="580" y="85"/>
                    <a:pt x="614" y="106"/>
                  </a:cubicBezTo>
                  <a:lnTo>
                    <a:pt x="956" y="313"/>
                  </a:lnTo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14" name="Freeform 140">
              <a:extLst>
                <a:ext uri="{FF2B5EF4-FFF2-40B4-BE49-F238E27FC236}">
                  <a16:creationId xmlns:a16="http://schemas.microsoft.com/office/drawing/2014/main" id="{DCB5C9E2-97EC-A943-8F28-26C36FC924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28703" y="2802536"/>
              <a:ext cx="567419" cy="1091634"/>
            </a:xfrm>
            <a:custGeom>
              <a:avLst/>
              <a:gdLst>
                <a:gd name="T0" fmla="*/ 126 w 869"/>
                <a:gd name="T1" fmla="*/ 1672 h 1673"/>
                <a:gd name="T2" fmla="*/ 126 w 869"/>
                <a:gd name="T3" fmla="*/ 1672 h 1673"/>
                <a:gd name="T4" fmla="*/ 112 w 869"/>
                <a:gd name="T5" fmla="*/ 1119 h 1673"/>
                <a:gd name="T6" fmla="*/ 112 w 869"/>
                <a:gd name="T7" fmla="*/ 1119 h 1673"/>
                <a:gd name="T8" fmla="*/ 90 w 869"/>
                <a:gd name="T9" fmla="*/ 836 h 1673"/>
                <a:gd name="T10" fmla="*/ 90 w 869"/>
                <a:gd name="T11" fmla="*/ 836 h 1673"/>
                <a:gd name="T12" fmla="*/ 260 w 869"/>
                <a:gd name="T13" fmla="*/ 377 h 1673"/>
                <a:gd name="T14" fmla="*/ 260 w 869"/>
                <a:gd name="T15" fmla="*/ 377 h 1673"/>
                <a:gd name="T16" fmla="*/ 566 w 869"/>
                <a:gd name="T17" fmla="*/ 85 h 1673"/>
                <a:gd name="T18" fmla="*/ 566 w 869"/>
                <a:gd name="T19" fmla="*/ 85 h 1673"/>
                <a:gd name="T20" fmla="*/ 773 w 869"/>
                <a:gd name="T21" fmla="*/ 485 h 1673"/>
                <a:gd name="T22" fmla="*/ 773 w 869"/>
                <a:gd name="T23" fmla="*/ 485 h 1673"/>
                <a:gd name="T24" fmla="*/ 810 w 869"/>
                <a:gd name="T25" fmla="*/ 894 h 1673"/>
                <a:gd name="T26" fmla="*/ 810 w 869"/>
                <a:gd name="T27" fmla="*/ 894 h 1673"/>
                <a:gd name="T28" fmla="*/ 499 w 869"/>
                <a:gd name="T29" fmla="*/ 1196 h 1673"/>
                <a:gd name="T30" fmla="*/ 499 w 869"/>
                <a:gd name="T31" fmla="*/ 1196 h 1673"/>
                <a:gd name="T32" fmla="*/ 126 w 869"/>
                <a:gd name="T33" fmla="*/ 1672 h 1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69" h="1673">
                  <a:moveTo>
                    <a:pt x="126" y="1672"/>
                  </a:moveTo>
                  <a:lnTo>
                    <a:pt x="126" y="1672"/>
                  </a:lnTo>
                  <a:cubicBezTo>
                    <a:pt x="126" y="1672"/>
                    <a:pt x="49" y="1281"/>
                    <a:pt x="112" y="1119"/>
                  </a:cubicBezTo>
                  <a:lnTo>
                    <a:pt x="112" y="1119"/>
                  </a:lnTo>
                  <a:cubicBezTo>
                    <a:pt x="175" y="958"/>
                    <a:pt x="144" y="962"/>
                    <a:pt x="90" y="836"/>
                  </a:cubicBezTo>
                  <a:lnTo>
                    <a:pt x="90" y="836"/>
                  </a:lnTo>
                  <a:cubicBezTo>
                    <a:pt x="35" y="710"/>
                    <a:pt x="0" y="404"/>
                    <a:pt x="260" y="377"/>
                  </a:cubicBezTo>
                  <a:lnTo>
                    <a:pt x="260" y="377"/>
                  </a:lnTo>
                  <a:cubicBezTo>
                    <a:pt x="521" y="350"/>
                    <a:pt x="447" y="129"/>
                    <a:pt x="566" y="85"/>
                  </a:cubicBezTo>
                  <a:lnTo>
                    <a:pt x="566" y="85"/>
                  </a:lnTo>
                  <a:cubicBezTo>
                    <a:pt x="800" y="0"/>
                    <a:pt x="854" y="319"/>
                    <a:pt x="773" y="485"/>
                  </a:cubicBezTo>
                  <a:lnTo>
                    <a:pt x="773" y="485"/>
                  </a:lnTo>
                  <a:cubicBezTo>
                    <a:pt x="692" y="652"/>
                    <a:pt x="868" y="715"/>
                    <a:pt x="810" y="894"/>
                  </a:cubicBezTo>
                  <a:lnTo>
                    <a:pt x="810" y="894"/>
                  </a:lnTo>
                  <a:cubicBezTo>
                    <a:pt x="751" y="1075"/>
                    <a:pt x="548" y="1075"/>
                    <a:pt x="499" y="1196"/>
                  </a:cubicBezTo>
                  <a:lnTo>
                    <a:pt x="499" y="1196"/>
                  </a:lnTo>
                  <a:cubicBezTo>
                    <a:pt x="449" y="1318"/>
                    <a:pt x="388" y="1503"/>
                    <a:pt x="126" y="1672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15" name="Freeform 141">
              <a:extLst>
                <a:ext uri="{FF2B5EF4-FFF2-40B4-BE49-F238E27FC236}">
                  <a16:creationId xmlns:a16="http://schemas.microsoft.com/office/drawing/2014/main" id="{B271CD87-8069-364D-9C99-EC6D2C4C15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941122" y="3283546"/>
              <a:ext cx="673991" cy="616385"/>
            </a:xfrm>
            <a:custGeom>
              <a:avLst/>
              <a:gdLst>
                <a:gd name="T0" fmla="*/ 1031 w 1032"/>
                <a:gd name="T1" fmla="*/ 944 h 945"/>
                <a:gd name="T2" fmla="*/ 1031 w 1032"/>
                <a:gd name="T3" fmla="*/ 944 h 945"/>
                <a:gd name="T4" fmla="*/ 793 w 1032"/>
                <a:gd name="T5" fmla="*/ 332 h 945"/>
                <a:gd name="T6" fmla="*/ 793 w 1032"/>
                <a:gd name="T7" fmla="*/ 332 h 945"/>
                <a:gd name="T8" fmla="*/ 470 w 1032"/>
                <a:gd name="T9" fmla="*/ 23 h 945"/>
                <a:gd name="T10" fmla="*/ 470 w 1032"/>
                <a:gd name="T11" fmla="*/ 23 h 945"/>
                <a:gd name="T12" fmla="*/ 294 w 1032"/>
                <a:gd name="T13" fmla="*/ 52 h 945"/>
                <a:gd name="T14" fmla="*/ 294 w 1032"/>
                <a:gd name="T15" fmla="*/ 52 h 945"/>
                <a:gd name="T16" fmla="*/ 33 w 1032"/>
                <a:gd name="T17" fmla="*/ 61 h 945"/>
                <a:gd name="T18" fmla="*/ 33 w 1032"/>
                <a:gd name="T19" fmla="*/ 61 h 945"/>
                <a:gd name="T20" fmla="*/ 318 w 1032"/>
                <a:gd name="T21" fmla="*/ 441 h 945"/>
                <a:gd name="T22" fmla="*/ 318 w 1032"/>
                <a:gd name="T23" fmla="*/ 441 h 945"/>
                <a:gd name="T24" fmla="*/ 446 w 1032"/>
                <a:gd name="T25" fmla="*/ 726 h 945"/>
                <a:gd name="T26" fmla="*/ 446 w 1032"/>
                <a:gd name="T27" fmla="*/ 726 h 945"/>
                <a:gd name="T28" fmla="*/ 1031 w 1032"/>
                <a:gd name="T29" fmla="*/ 944 h 9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32" h="945">
                  <a:moveTo>
                    <a:pt x="1031" y="944"/>
                  </a:moveTo>
                  <a:lnTo>
                    <a:pt x="1031" y="944"/>
                  </a:lnTo>
                  <a:cubicBezTo>
                    <a:pt x="1031" y="944"/>
                    <a:pt x="926" y="299"/>
                    <a:pt x="793" y="332"/>
                  </a:cubicBezTo>
                  <a:lnTo>
                    <a:pt x="793" y="332"/>
                  </a:lnTo>
                  <a:cubicBezTo>
                    <a:pt x="603" y="379"/>
                    <a:pt x="717" y="123"/>
                    <a:pt x="470" y="23"/>
                  </a:cubicBezTo>
                  <a:lnTo>
                    <a:pt x="470" y="23"/>
                  </a:lnTo>
                  <a:cubicBezTo>
                    <a:pt x="435" y="9"/>
                    <a:pt x="367" y="56"/>
                    <a:pt x="294" y="52"/>
                  </a:cubicBezTo>
                  <a:lnTo>
                    <a:pt x="294" y="52"/>
                  </a:lnTo>
                  <a:cubicBezTo>
                    <a:pt x="179" y="45"/>
                    <a:pt x="53" y="0"/>
                    <a:pt x="33" y="61"/>
                  </a:cubicBezTo>
                  <a:lnTo>
                    <a:pt x="33" y="61"/>
                  </a:lnTo>
                  <a:cubicBezTo>
                    <a:pt x="0" y="161"/>
                    <a:pt x="318" y="304"/>
                    <a:pt x="318" y="441"/>
                  </a:cubicBezTo>
                  <a:lnTo>
                    <a:pt x="318" y="441"/>
                  </a:lnTo>
                  <a:cubicBezTo>
                    <a:pt x="318" y="579"/>
                    <a:pt x="228" y="726"/>
                    <a:pt x="446" y="726"/>
                  </a:cubicBezTo>
                  <a:lnTo>
                    <a:pt x="446" y="726"/>
                  </a:lnTo>
                  <a:cubicBezTo>
                    <a:pt x="665" y="726"/>
                    <a:pt x="1031" y="944"/>
                    <a:pt x="1031" y="944"/>
                  </a:cubicBezTo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16" name="Freeform 142">
              <a:extLst>
                <a:ext uri="{FF2B5EF4-FFF2-40B4-BE49-F238E27FC236}">
                  <a16:creationId xmlns:a16="http://schemas.microsoft.com/office/drawing/2014/main" id="{FB318FF4-4DB6-E142-85C9-F5E722CA69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615112" y="3058882"/>
              <a:ext cx="296670" cy="841048"/>
            </a:xfrm>
            <a:custGeom>
              <a:avLst/>
              <a:gdLst>
                <a:gd name="T0" fmla="*/ 0 w 453"/>
                <a:gd name="T1" fmla="*/ 1287 h 1288"/>
                <a:gd name="T2" fmla="*/ 0 w 453"/>
                <a:gd name="T3" fmla="*/ 1287 h 1288"/>
                <a:gd name="T4" fmla="*/ 452 w 453"/>
                <a:gd name="T5" fmla="*/ 0 h 1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53" h="1288">
                  <a:moveTo>
                    <a:pt x="0" y="1287"/>
                  </a:moveTo>
                  <a:lnTo>
                    <a:pt x="0" y="1287"/>
                  </a:lnTo>
                  <a:cubicBezTo>
                    <a:pt x="114" y="780"/>
                    <a:pt x="263" y="383"/>
                    <a:pt x="452" y="0"/>
                  </a:cubicBezTo>
                </a:path>
              </a:pathLst>
            </a:custGeom>
            <a:noFill/>
            <a:ln w="18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17" name="Freeform 143">
              <a:extLst>
                <a:ext uri="{FF2B5EF4-FFF2-40B4-BE49-F238E27FC236}">
                  <a16:creationId xmlns:a16="http://schemas.microsoft.com/office/drawing/2014/main" id="{D7491955-2A57-9B4F-9A69-FD264816FE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88016" y="3378597"/>
              <a:ext cx="512694" cy="512694"/>
            </a:xfrm>
            <a:custGeom>
              <a:avLst/>
              <a:gdLst>
                <a:gd name="T0" fmla="*/ 0 w 787"/>
                <a:gd name="T1" fmla="*/ 0 h 787"/>
                <a:gd name="T2" fmla="*/ 0 w 787"/>
                <a:gd name="T3" fmla="*/ 0 h 787"/>
                <a:gd name="T4" fmla="*/ 786 w 787"/>
                <a:gd name="T5" fmla="*/ 786 h 7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87" h="787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695" y="421"/>
                    <a:pt x="786" y="786"/>
                  </a:cubicBezTo>
                </a:path>
              </a:pathLst>
            </a:custGeom>
            <a:noFill/>
            <a:ln w="18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18" name="Freeform 144">
              <a:extLst>
                <a:ext uri="{FF2B5EF4-FFF2-40B4-BE49-F238E27FC236}">
                  <a16:creationId xmlns:a16="http://schemas.microsoft.com/office/drawing/2014/main" id="{18779A1D-62BC-D94A-BF35-6C84E4DAE7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40224" y="3859607"/>
              <a:ext cx="135373" cy="63367"/>
            </a:xfrm>
            <a:custGeom>
              <a:avLst/>
              <a:gdLst>
                <a:gd name="T0" fmla="*/ 206 w 207"/>
                <a:gd name="T1" fmla="*/ 47 h 96"/>
                <a:gd name="T2" fmla="*/ 206 w 207"/>
                <a:gd name="T3" fmla="*/ 47 h 96"/>
                <a:gd name="T4" fmla="*/ 104 w 207"/>
                <a:gd name="T5" fmla="*/ 95 h 96"/>
                <a:gd name="T6" fmla="*/ 104 w 207"/>
                <a:gd name="T7" fmla="*/ 95 h 96"/>
                <a:gd name="T8" fmla="*/ 0 w 207"/>
                <a:gd name="T9" fmla="*/ 47 h 96"/>
                <a:gd name="T10" fmla="*/ 0 w 207"/>
                <a:gd name="T11" fmla="*/ 47 h 96"/>
                <a:gd name="T12" fmla="*/ 104 w 207"/>
                <a:gd name="T13" fmla="*/ 0 h 96"/>
                <a:gd name="T14" fmla="*/ 104 w 207"/>
                <a:gd name="T15" fmla="*/ 0 h 96"/>
                <a:gd name="T16" fmla="*/ 206 w 207"/>
                <a:gd name="T17" fmla="*/ 47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7" h="96">
                  <a:moveTo>
                    <a:pt x="206" y="47"/>
                  </a:moveTo>
                  <a:lnTo>
                    <a:pt x="206" y="47"/>
                  </a:lnTo>
                  <a:cubicBezTo>
                    <a:pt x="206" y="74"/>
                    <a:pt x="160" y="95"/>
                    <a:pt x="104" y="95"/>
                  </a:cubicBezTo>
                  <a:lnTo>
                    <a:pt x="104" y="95"/>
                  </a:lnTo>
                  <a:cubicBezTo>
                    <a:pt x="47" y="95"/>
                    <a:pt x="0" y="74"/>
                    <a:pt x="0" y="47"/>
                  </a:cubicBezTo>
                  <a:lnTo>
                    <a:pt x="0" y="47"/>
                  </a:lnTo>
                  <a:cubicBezTo>
                    <a:pt x="0" y="22"/>
                    <a:pt x="47" y="0"/>
                    <a:pt x="104" y="0"/>
                  </a:cubicBezTo>
                  <a:lnTo>
                    <a:pt x="104" y="0"/>
                  </a:lnTo>
                  <a:cubicBezTo>
                    <a:pt x="160" y="0"/>
                    <a:pt x="206" y="22"/>
                    <a:pt x="206" y="47"/>
                  </a:cubicBezTo>
                </a:path>
              </a:pathLst>
            </a:custGeom>
            <a:solidFill>
              <a:srgbClr val="AF916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1D7F22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19" name="Freeform 145">
              <a:extLst>
                <a:ext uri="{FF2B5EF4-FFF2-40B4-BE49-F238E27FC236}">
                  <a16:creationId xmlns:a16="http://schemas.microsoft.com/office/drawing/2014/main" id="{418CD572-3726-5E49-A574-99DD8FBF35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676872" y="6748550"/>
              <a:ext cx="622145" cy="2739167"/>
            </a:xfrm>
            <a:custGeom>
              <a:avLst/>
              <a:gdLst>
                <a:gd name="T0" fmla="*/ 0 w 954"/>
                <a:gd name="T1" fmla="*/ 121 h 4192"/>
                <a:gd name="T2" fmla="*/ 0 w 954"/>
                <a:gd name="T3" fmla="*/ 121 h 4192"/>
                <a:gd name="T4" fmla="*/ 408 w 954"/>
                <a:gd name="T5" fmla="*/ 499 h 4192"/>
                <a:gd name="T6" fmla="*/ 408 w 954"/>
                <a:gd name="T7" fmla="*/ 499 h 4192"/>
                <a:gd name="T8" fmla="*/ 363 w 954"/>
                <a:gd name="T9" fmla="*/ 3404 h 4192"/>
                <a:gd name="T10" fmla="*/ 363 w 954"/>
                <a:gd name="T11" fmla="*/ 3404 h 4192"/>
                <a:gd name="T12" fmla="*/ 166 w 954"/>
                <a:gd name="T13" fmla="*/ 4161 h 4192"/>
                <a:gd name="T14" fmla="*/ 166 w 954"/>
                <a:gd name="T15" fmla="*/ 4161 h 4192"/>
                <a:gd name="T16" fmla="*/ 666 w 954"/>
                <a:gd name="T17" fmla="*/ 3783 h 4192"/>
                <a:gd name="T18" fmla="*/ 666 w 954"/>
                <a:gd name="T19" fmla="*/ 3783 h 4192"/>
                <a:gd name="T20" fmla="*/ 878 w 954"/>
                <a:gd name="T21" fmla="*/ 408 h 4192"/>
                <a:gd name="T22" fmla="*/ 878 w 954"/>
                <a:gd name="T23" fmla="*/ 408 h 4192"/>
                <a:gd name="T24" fmla="*/ 0 w 954"/>
                <a:gd name="T25" fmla="*/ 121 h 4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54" h="4192">
                  <a:moveTo>
                    <a:pt x="0" y="121"/>
                  </a:moveTo>
                  <a:lnTo>
                    <a:pt x="0" y="121"/>
                  </a:lnTo>
                  <a:cubicBezTo>
                    <a:pt x="0" y="121"/>
                    <a:pt x="317" y="211"/>
                    <a:pt x="408" y="499"/>
                  </a:cubicBezTo>
                  <a:lnTo>
                    <a:pt x="408" y="499"/>
                  </a:lnTo>
                  <a:cubicBezTo>
                    <a:pt x="484" y="737"/>
                    <a:pt x="363" y="3162"/>
                    <a:pt x="363" y="3404"/>
                  </a:cubicBezTo>
                  <a:lnTo>
                    <a:pt x="363" y="3404"/>
                  </a:lnTo>
                  <a:cubicBezTo>
                    <a:pt x="363" y="3646"/>
                    <a:pt x="317" y="3949"/>
                    <a:pt x="166" y="4161"/>
                  </a:cubicBezTo>
                  <a:lnTo>
                    <a:pt x="166" y="4161"/>
                  </a:lnTo>
                  <a:cubicBezTo>
                    <a:pt x="166" y="4161"/>
                    <a:pt x="545" y="4191"/>
                    <a:pt x="666" y="3783"/>
                  </a:cubicBezTo>
                  <a:lnTo>
                    <a:pt x="666" y="3783"/>
                  </a:lnTo>
                  <a:cubicBezTo>
                    <a:pt x="787" y="3374"/>
                    <a:pt x="953" y="604"/>
                    <a:pt x="878" y="408"/>
                  </a:cubicBezTo>
                  <a:lnTo>
                    <a:pt x="878" y="408"/>
                  </a:lnTo>
                  <a:cubicBezTo>
                    <a:pt x="802" y="211"/>
                    <a:pt x="166" y="0"/>
                    <a:pt x="0" y="121"/>
                  </a:cubicBezTo>
                </a:path>
              </a:pathLst>
            </a:custGeom>
            <a:solidFill>
              <a:srgbClr val="41538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1D7F22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20" name="Freeform 146">
              <a:extLst>
                <a:ext uri="{FF2B5EF4-FFF2-40B4-BE49-F238E27FC236}">
                  <a16:creationId xmlns:a16="http://schemas.microsoft.com/office/drawing/2014/main" id="{15E15C30-D4D8-C34C-ADA3-6ED4D8A06D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96934" y="4326215"/>
              <a:ext cx="259227" cy="325475"/>
            </a:xfrm>
            <a:custGeom>
              <a:avLst/>
              <a:gdLst>
                <a:gd name="T0" fmla="*/ 181 w 397"/>
                <a:gd name="T1" fmla="*/ 0 h 498"/>
                <a:gd name="T2" fmla="*/ 0 w 397"/>
                <a:gd name="T3" fmla="*/ 85 h 498"/>
                <a:gd name="T4" fmla="*/ 0 w 397"/>
                <a:gd name="T5" fmla="*/ 85 h 498"/>
                <a:gd name="T6" fmla="*/ 102 w 397"/>
                <a:gd name="T7" fmla="*/ 453 h 498"/>
                <a:gd name="T8" fmla="*/ 102 w 397"/>
                <a:gd name="T9" fmla="*/ 453 h 498"/>
                <a:gd name="T10" fmla="*/ 379 w 397"/>
                <a:gd name="T11" fmla="*/ 408 h 498"/>
                <a:gd name="T12" fmla="*/ 379 w 397"/>
                <a:gd name="T13" fmla="*/ 408 h 498"/>
                <a:gd name="T14" fmla="*/ 181 w 397"/>
                <a:gd name="T15" fmla="*/ 0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7" h="498">
                  <a:moveTo>
                    <a:pt x="181" y="0"/>
                  </a:moveTo>
                  <a:lnTo>
                    <a:pt x="0" y="85"/>
                  </a:lnTo>
                  <a:lnTo>
                    <a:pt x="0" y="85"/>
                  </a:lnTo>
                  <a:cubicBezTo>
                    <a:pt x="0" y="85"/>
                    <a:pt x="0" y="368"/>
                    <a:pt x="102" y="453"/>
                  </a:cubicBezTo>
                  <a:lnTo>
                    <a:pt x="102" y="453"/>
                  </a:lnTo>
                  <a:cubicBezTo>
                    <a:pt x="155" y="497"/>
                    <a:pt x="362" y="465"/>
                    <a:pt x="379" y="408"/>
                  </a:cubicBezTo>
                  <a:lnTo>
                    <a:pt x="379" y="408"/>
                  </a:lnTo>
                  <a:cubicBezTo>
                    <a:pt x="396" y="351"/>
                    <a:pt x="181" y="0"/>
                    <a:pt x="181" y="0"/>
                  </a:cubicBezTo>
                </a:path>
              </a:pathLst>
            </a:custGeom>
            <a:noFill/>
            <a:ln w="5760" cap="flat">
              <a:solidFill>
                <a:schemeClr val="accent5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21" name="Freeform 147">
              <a:extLst>
                <a:ext uri="{FF2B5EF4-FFF2-40B4-BE49-F238E27FC236}">
                  <a16:creationId xmlns:a16="http://schemas.microsoft.com/office/drawing/2014/main" id="{656D5E77-38E6-DF47-8960-9A730CBADD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471098" y="5207589"/>
              <a:ext cx="1592806" cy="1195326"/>
            </a:xfrm>
            <a:custGeom>
              <a:avLst/>
              <a:gdLst>
                <a:gd name="T0" fmla="*/ 2439 w 2440"/>
                <a:gd name="T1" fmla="*/ 1076 h 1829"/>
                <a:gd name="T2" fmla="*/ 2439 w 2440"/>
                <a:gd name="T3" fmla="*/ 1076 h 1829"/>
                <a:gd name="T4" fmla="*/ 226 w 2440"/>
                <a:gd name="T5" fmla="*/ 0 h 1829"/>
                <a:gd name="T6" fmla="*/ 0 w 2440"/>
                <a:gd name="T7" fmla="*/ 312 h 1829"/>
                <a:gd name="T8" fmla="*/ 0 w 2440"/>
                <a:gd name="T9" fmla="*/ 312 h 1829"/>
                <a:gd name="T10" fmla="*/ 2312 w 2440"/>
                <a:gd name="T11" fmla="*/ 1828 h 1829"/>
                <a:gd name="T12" fmla="*/ 2439 w 2440"/>
                <a:gd name="T13" fmla="*/ 1076 h 18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40" h="1829">
                  <a:moveTo>
                    <a:pt x="2439" y="1076"/>
                  </a:moveTo>
                  <a:lnTo>
                    <a:pt x="2439" y="1076"/>
                  </a:lnTo>
                  <a:cubicBezTo>
                    <a:pt x="2439" y="1076"/>
                    <a:pt x="593" y="153"/>
                    <a:pt x="226" y="0"/>
                  </a:cubicBezTo>
                  <a:lnTo>
                    <a:pt x="0" y="312"/>
                  </a:lnTo>
                  <a:lnTo>
                    <a:pt x="0" y="312"/>
                  </a:lnTo>
                  <a:cubicBezTo>
                    <a:pt x="0" y="312"/>
                    <a:pt x="972" y="1265"/>
                    <a:pt x="2312" y="1828"/>
                  </a:cubicBezTo>
                  <a:lnTo>
                    <a:pt x="2439" y="1076"/>
                  </a:lnTo>
                </a:path>
              </a:pathLst>
            </a:custGeom>
            <a:solidFill>
              <a:srgbClr val="FCE3C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263364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22" name="Freeform 148">
              <a:extLst>
                <a:ext uri="{FF2B5EF4-FFF2-40B4-BE49-F238E27FC236}">
                  <a16:creationId xmlns:a16="http://schemas.microsoft.com/office/drawing/2014/main" id="{AC12B39C-EBEC-A942-BD68-14CE73373F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43103" y="5256555"/>
              <a:ext cx="1673457" cy="1238530"/>
            </a:xfrm>
            <a:custGeom>
              <a:avLst/>
              <a:gdLst>
                <a:gd name="T0" fmla="*/ 2559 w 2560"/>
                <a:gd name="T1" fmla="*/ 298 h 1897"/>
                <a:gd name="T2" fmla="*/ 2559 w 2560"/>
                <a:gd name="T3" fmla="*/ 298 h 1897"/>
                <a:gd name="T4" fmla="*/ 2116 w 2560"/>
                <a:gd name="T5" fmla="*/ 646 h 1897"/>
                <a:gd name="T6" fmla="*/ 2116 w 2560"/>
                <a:gd name="T7" fmla="*/ 646 h 1897"/>
                <a:gd name="T8" fmla="*/ 425 w 2560"/>
                <a:gd name="T9" fmla="*/ 8 h 1897"/>
                <a:gd name="T10" fmla="*/ 425 w 2560"/>
                <a:gd name="T11" fmla="*/ 8 h 1897"/>
                <a:gd name="T12" fmla="*/ 311 w 2560"/>
                <a:gd name="T13" fmla="*/ 27 h 1897"/>
                <a:gd name="T14" fmla="*/ 311 w 2560"/>
                <a:gd name="T15" fmla="*/ 27 h 1897"/>
                <a:gd name="T16" fmla="*/ 23 w 2560"/>
                <a:gd name="T17" fmla="*/ 353 h 1897"/>
                <a:gd name="T18" fmla="*/ 23 w 2560"/>
                <a:gd name="T19" fmla="*/ 353 h 1897"/>
                <a:gd name="T20" fmla="*/ 70 w 2560"/>
                <a:gd name="T21" fmla="*/ 547 h 1897"/>
                <a:gd name="T22" fmla="*/ 70 w 2560"/>
                <a:gd name="T23" fmla="*/ 547 h 1897"/>
                <a:gd name="T24" fmla="*/ 2361 w 2560"/>
                <a:gd name="T25" fmla="*/ 1896 h 1897"/>
                <a:gd name="T26" fmla="*/ 2559 w 2560"/>
                <a:gd name="T27" fmla="*/ 298 h 18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60" h="1897">
                  <a:moveTo>
                    <a:pt x="2559" y="298"/>
                  </a:moveTo>
                  <a:lnTo>
                    <a:pt x="2559" y="298"/>
                  </a:lnTo>
                  <a:cubicBezTo>
                    <a:pt x="2473" y="642"/>
                    <a:pt x="2321" y="730"/>
                    <a:pt x="2116" y="646"/>
                  </a:cubicBezTo>
                  <a:lnTo>
                    <a:pt x="2116" y="646"/>
                  </a:lnTo>
                  <a:cubicBezTo>
                    <a:pt x="1575" y="425"/>
                    <a:pt x="925" y="114"/>
                    <a:pt x="425" y="8"/>
                  </a:cubicBezTo>
                  <a:lnTo>
                    <a:pt x="425" y="8"/>
                  </a:lnTo>
                  <a:cubicBezTo>
                    <a:pt x="386" y="0"/>
                    <a:pt x="346" y="7"/>
                    <a:pt x="311" y="27"/>
                  </a:cubicBezTo>
                  <a:lnTo>
                    <a:pt x="311" y="27"/>
                  </a:lnTo>
                  <a:cubicBezTo>
                    <a:pt x="172" y="108"/>
                    <a:pt x="65" y="224"/>
                    <a:pt x="23" y="353"/>
                  </a:cubicBezTo>
                  <a:lnTo>
                    <a:pt x="23" y="353"/>
                  </a:lnTo>
                  <a:cubicBezTo>
                    <a:pt x="0" y="421"/>
                    <a:pt x="20" y="495"/>
                    <a:pt x="70" y="547"/>
                  </a:cubicBezTo>
                  <a:lnTo>
                    <a:pt x="70" y="547"/>
                  </a:lnTo>
                  <a:cubicBezTo>
                    <a:pt x="328" y="808"/>
                    <a:pt x="1286" y="1712"/>
                    <a:pt x="2361" y="1896"/>
                  </a:cubicBezTo>
                  <a:lnTo>
                    <a:pt x="2559" y="298"/>
                  </a:lnTo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23" name="Freeform 151">
              <a:extLst>
                <a:ext uri="{FF2B5EF4-FFF2-40B4-BE49-F238E27FC236}">
                  <a16:creationId xmlns:a16="http://schemas.microsoft.com/office/drawing/2014/main" id="{6DF30278-40CE-CE46-BA9A-A360E46B2A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918079" y="10841459"/>
              <a:ext cx="1316297" cy="843930"/>
            </a:xfrm>
            <a:custGeom>
              <a:avLst/>
              <a:gdLst>
                <a:gd name="T0" fmla="*/ 1889 w 2017"/>
                <a:gd name="T1" fmla="*/ 1128 h 1292"/>
                <a:gd name="T2" fmla="*/ 1889 w 2017"/>
                <a:gd name="T3" fmla="*/ 1128 h 1292"/>
                <a:gd name="T4" fmla="*/ 1908 w 2017"/>
                <a:gd name="T5" fmla="*/ 843 h 1292"/>
                <a:gd name="T6" fmla="*/ 531 w 2017"/>
                <a:gd name="T7" fmla="*/ 8 h 1292"/>
                <a:gd name="T8" fmla="*/ 531 w 2017"/>
                <a:gd name="T9" fmla="*/ 8 h 1292"/>
                <a:gd name="T10" fmla="*/ 491 w 2017"/>
                <a:gd name="T11" fmla="*/ 6 h 1292"/>
                <a:gd name="T12" fmla="*/ 131 w 2017"/>
                <a:gd name="T13" fmla="*/ 180 h 1292"/>
                <a:gd name="T14" fmla="*/ 131 w 2017"/>
                <a:gd name="T15" fmla="*/ 180 h 1292"/>
                <a:gd name="T16" fmla="*/ 117 w 2017"/>
                <a:gd name="T17" fmla="*/ 528 h 1292"/>
                <a:gd name="T18" fmla="*/ 117 w 2017"/>
                <a:gd name="T19" fmla="*/ 528 h 1292"/>
                <a:gd name="T20" fmla="*/ 1106 w 2017"/>
                <a:gd name="T21" fmla="*/ 1147 h 1292"/>
                <a:gd name="T22" fmla="*/ 1106 w 2017"/>
                <a:gd name="T23" fmla="*/ 1147 h 1292"/>
                <a:gd name="T24" fmla="*/ 1889 w 2017"/>
                <a:gd name="T25" fmla="*/ 1128 h 1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17" h="1292">
                  <a:moveTo>
                    <a:pt x="1889" y="1128"/>
                  </a:moveTo>
                  <a:lnTo>
                    <a:pt x="1889" y="1128"/>
                  </a:lnTo>
                  <a:cubicBezTo>
                    <a:pt x="2001" y="1063"/>
                    <a:pt x="2016" y="916"/>
                    <a:pt x="1908" y="843"/>
                  </a:cubicBezTo>
                  <a:lnTo>
                    <a:pt x="531" y="8"/>
                  </a:lnTo>
                  <a:lnTo>
                    <a:pt x="531" y="8"/>
                  </a:lnTo>
                  <a:cubicBezTo>
                    <a:pt x="519" y="0"/>
                    <a:pt x="504" y="0"/>
                    <a:pt x="491" y="6"/>
                  </a:cubicBezTo>
                  <a:lnTo>
                    <a:pt x="131" y="180"/>
                  </a:lnTo>
                  <a:lnTo>
                    <a:pt x="131" y="180"/>
                  </a:lnTo>
                  <a:cubicBezTo>
                    <a:pt x="0" y="244"/>
                    <a:pt x="7" y="433"/>
                    <a:pt x="117" y="528"/>
                  </a:cubicBezTo>
                  <a:lnTo>
                    <a:pt x="117" y="528"/>
                  </a:lnTo>
                  <a:cubicBezTo>
                    <a:pt x="315" y="699"/>
                    <a:pt x="573" y="917"/>
                    <a:pt x="1106" y="1147"/>
                  </a:cubicBezTo>
                  <a:lnTo>
                    <a:pt x="1106" y="1147"/>
                  </a:lnTo>
                  <a:cubicBezTo>
                    <a:pt x="1371" y="1263"/>
                    <a:pt x="1604" y="1291"/>
                    <a:pt x="1889" y="1128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24" name="Freeform 152">
              <a:extLst>
                <a:ext uri="{FF2B5EF4-FFF2-40B4-BE49-F238E27FC236}">
                  <a16:creationId xmlns:a16="http://schemas.microsoft.com/office/drawing/2014/main" id="{6844339E-6DD4-B64F-9FEF-ADB42E1032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935361" y="10648480"/>
              <a:ext cx="1270212" cy="1002345"/>
            </a:xfrm>
            <a:custGeom>
              <a:avLst/>
              <a:gdLst>
                <a:gd name="T0" fmla="*/ 1899 w 1946"/>
                <a:gd name="T1" fmla="*/ 1203 h 1533"/>
                <a:gd name="T2" fmla="*/ 1899 w 1946"/>
                <a:gd name="T3" fmla="*/ 1203 h 1533"/>
                <a:gd name="T4" fmla="*/ 1760 w 1946"/>
                <a:gd name="T5" fmla="*/ 539 h 1533"/>
                <a:gd name="T6" fmla="*/ 1760 w 1946"/>
                <a:gd name="T7" fmla="*/ 539 h 1533"/>
                <a:gd name="T8" fmla="*/ 1327 w 1946"/>
                <a:gd name="T9" fmla="*/ 433 h 1533"/>
                <a:gd name="T10" fmla="*/ 1327 w 1946"/>
                <a:gd name="T11" fmla="*/ 433 h 1533"/>
                <a:gd name="T12" fmla="*/ 128 w 1946"/>
                <a:gd name="T13" fmla="*/ 258 h 1533"/>
                <a:gd name="T14" fmla="*/ 128 w 1946"/>
                <a:gd name="T15" fmla="*/ 258 h 1533"/>
                <a:gd name="T16" fmla="*/ 76 w 1946"/>
                <a:gd name="T17" fmla="*/ 688 h 1533"/>
                <a:gd name="T18" fmla="*/ 76 w 1946"/>
                <a:gd name="T19" fmla="*/ 688 h 1533"/>
                <a:gd name="T20" fmla="*/ 1230 w 1946"/>
                <a:gd name="T21" fmla="*/ 1442 h 1533"/>
                <a:gd name="T22" fmla="*/ 1230 w 1946"/>
                <a:gd name="T23" fmla="*/ 1442 h 1533"/>
                <a:gd name="T24" fmla="*/ 1899 w 1946"/>
                <a:gd name="T25" fmla="*/ 1203 h 1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46" h="1533">
                  <a:moveTo>
                    <a:pt x="1899" y="1203"/>
                  </a:moveTo>
                  <a:lnTo>
                    <a:pt x="1899" y="1203"/>
                  </a:lnTo>
                  <a:cubicBezTo>
                    <a:pt x="1888" y="1156"/>
                    <a:pt x="1928" y="679"/>
                    <a:pt x="1760" y="539"/>
                  </a:cubicBezTo>
                  <a:lnTo>
                    <a:pt x="1760" y="539"/>
                  </a:lnTo>
                  <a:cubicBezTo>
                    <a:pt x="1666" y="462"/>
                    <a:pt x="1468" y="443"/>
                    <a:pt x="1327" y="433"/>
                  </a:cubicBezTo>
                  <a:lnTo>
                    <a:pt x="1327" y="433"/>
                  </a:lnTo>
                  <a:cubicBezTo>
                    <a:pt x="1028" y="413"/>
                    <a:pt x="364" y="0"/>
                    <a:pt x="128" y="258"/>
                  </a:cubicBezTo>
                  <a:lnTo>
                    <a:pt x="128" y="258"/>
                  </a:lnTo>
                  <a:cubicBezTo>
                    <a:pt x="0" y="399"/>
                    <a:pt x="51" y="640"/>
                    <a:pt x="76" y="688"/>
                  </a:cubicBezTo>
                  <a:lnTo>
                    <a:pt x="76" y="688"/>
                  </a:lnTo>
                  <a:cubicBezTo>
                    <a:pt x="189" y="904"/>
                    <a:pt x="1015" y="1382"/>
                    <a:pt x="1230" y="1442"/>
                  </a:cubicBezTo>
                  <a:lnTo>
                    <a:pt x="1230" y="1442"/>
                  </a:lnTo>
                  <a:cubicBezTo>
                    <a:pt x="1558" y="1532"/>
                    <a:pt x="1945" y="1414"/>
                    <a:pt x="1899" y="1203"/>
                  </a:cubicBezTo>
                </a:path>
              </a:pathLst>
            </a:custGeom>
            <a:solidFill>
              <a:schemeClr val="accent5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25" name="Freeform 153">
              <a:extLst>
                <a:ext uri="{FF2B5EF4-FFF2-40B4-BE49-F238E27FC236}">
                  <a16:creationId xmlns:a16="http://schemas.microsoft.com/office/drawing/2014/main" id="{D2918851-820A-D043-A057-C04CB053C7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222855" y="11348393"/>
              <a:ext cx="336996" cy="489651"/>
            </a:xfrm>
            <a:custGeom>
              <a:avLst/>
              <a:gdLst>
                <a:gd name="T0" fmla="*/ 258 w 517"/>
                <a:gd name="T1" fmla="*/ 83 h 748"/>
                <a:gd name="T2" fmla="*/ 258 w 517"/>
                <a:gd name="T3" fmla="*/ 83 h 748"/>
                <a:gd name="T4" fmla="*/ 0 w 517"/>
                <a:gd name="T5" fmla="*/ 225 h 748"/>
                <a:gd name="T6" fmla="*/ 0 w 517"/>
                <a:gd name="T7" fmla="*/ 225 h 748"/>
                <a:gd name="T8" fmla="*/ 258 w 517"/>
                <a:gd name="T9" fmla="*/ 665 h 748"/>
                <a:gd name="T10" fmla="*/ 258 w 517"/>
                <a:gd name="T11" fmla="*/ 665 h 748"/>
                <a:gd name="T12" fmla="*/ 516 w 517"/>
                <a:gd name="T13" fmla="*/ 523 h 748"/>
                <a:gd name="T14" fmla="*/ 516 w 517"/>
                <a:gd name="T15" fmla="*/ 523 h 748"/>
                <a:gd name="T16" fmla="*/ 258 w 517"/>
                <a:gd name="T17" fmla="*/ 83 h 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7" h="748">
                  <a:moveTo>
                    <a:pt x="258" y="83"/>
                  </a:moveTo>
                  <a:lnTo>
                    <a:pt x="258" y="83"/>
                  </a:lnTo>
                  <a:cubicBezTo>
                    <a:pt x="116" y="0"/>
                    <a:pt x="0" y="65"/>
                    <a:pt x="0" y="225"/>
                  </a:cubicBezTo>
                  <a:lnTo>
                    <a:pt x="0" y="225"/>
                  </a:lnTo>
                  <a:cubicBezTo>
                    <a:pt x="0" y="386"/>
                    <a:pt x="116" y="583"/>
                    <a:pt x="258" y="665"/>
                  </a:cubicBezTo>
                  <a:lnTo>
                    <a:pt x="258" y="665"/>
                  </a:lnTo>
                  <a:cubicBezTo>
                    <a:pt x="400" y="747"/>
                    <a:pt x="516" y="684"/>
                    <a:pt x="516" y="523"/>
                  </a:cubicBezTo>
                  <a:lnTo>
                    <a:pt x="516" y="523"/>
                  </a:lnTo>
                  <a:cubicBezTo>
                    <a:pt x="516" y="362"/>
                    <a:pt x="400" y="165"/>
                    <a:pt x="258" y="83"/>
                  </a:cubicBezTo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26" name="Freeform 154">
              <a:extLst>
                <a:ext uri="{FF2B5EF4-FFF2-40B4-BE49-F238E27FC236}">
                  <a16:creationId xmlns:a16="http://schemas.microsoft.com/office/drawing/2014/main" id="{CC03E0C3-2385-334E-B2B3-4B1166B271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16284" y="11380076"/>
              <a:ext cx="414764" cy="492531"/>
            </a:xfrm>
            <a:custGeom>
              <a:avLst/>
              <a:gdLst>
                <a:gd name="T0" fmla="*/ 376 w 635"/>
                <a:gd name="T1" fmla="*/ 755 h 756"/>
                <a:gd name="T2" fmla="*/ 376 w 635"/>
                <a:gd name="T3" fmla="*/ 755 h 756"/>
                <a:gd name="T4" fmla="*/ 634 w 635"/>
                <a:gd name="T5" fmla="*/ 610 h 756"/>
                <a:gd name="T6" fmla="*/ 268 w 635"/>
                <a:gd name="T7" fmla="*/ 0 h 756"/>
                <a:gd name="T8" fmla="*/ 268 w 635"/>
                <a:gd name="T9" fmla="*/ 0 h 756"/>
                <a:gd name="T10" fmla="*/ 0 w 635"/>
                <a:gd name="T11" fmla="*/ 180 h 756"/>
                <a:gd name="T12" fmla="*/ 376 w 635"/>
                <a:gd name="T13" fmla="*/ 755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5" h="756">
                  <a:moveTo>
                    <a:pt x="376" y="755"/>
                  </a:moveTo>
                  <a:lnTo>
                    <a:pt x="376" y="755"/>
                  </a:lnTo>
                  <a:cubicBezTo>
                    <a:pt x="526" y="739"/>
                    <a:pt x="604" y="674"/>
                    <a:pt x="634" y="610"/>
                  </a:cubicBezTo>
                  <a:lnTo>
                    <a:pt x="268" y="0"/>
                  </a:lnTo>
                  <a:lnTo>
                    <a:pt x="268" y="0"/>
                  </a:lnTo>
                  <a:cubicBezTo>
                    <a:pt x="187" y="20"/>
                    <a:pt x="40" y="89"/>
                    <a:pt x="0" y="180"/>
                  </a:cubicBezTo>
                  <a:lnTo>
                    <a:pt x="376" y="755"/>
                  </a:lnTo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27" name="Freeform 155">
              <a:extLst>
                <a:ext uri="{FF2B5EF4-FFF2-40B4-BE49-F238E27FC236}">
                  <a16:creationId xmlns:a16="http://schemas.microsoft.com/office/drawing/2014/main" id="{E1747360-1522-114B-B613-A7B6C4BD31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04764" y="11417521"/>
              <a:ext cx="336994" cy="489651"/>
            </a:xfrm>
            <a:custGeom>
              <a:avLst/>
              <a:gdLst>
                <a:gd name="T0" fmla="*/ 258 w 517"/>
                <a:gd name="T1" fmla="*/ 82 h 748"/>
                <a:gd name="T2" fmla="*/ 258 w 517"/>
                <a:gd name="T3" fmla="*/ 82 h 748"/>
                <a:gd name="T4" fmla="*/ 0 w 517"/>
                <a:gd name="T5" fmla="*/ 224 h 748"/>
                <a:gd name="T6" fmla="*/ 0 w 517"/>
                <a:gd name="T7" fmla="*/ 224 h 748"/>
                <a:gd name="T8" fmla="*/ 258 w 517"/>
                <a:gd name="T9" fmla="*/ 665 h 748"/>
                <a:gd name="T10" fmla="*/ 258 w 517"/>
                <a:gd name="T11" fmla="*/ 665 h 748"/>
                <a:gd name="T12" fmla="*/ 516 w 517"/>
                <a:gd name="T13" fmla="*/ 522 h 748"/>
                <a:gd name="T14" fmla="*/ 516 w 517"/>
                <a:gd name="T15" fmla="*/ 522 h 748"/>
                <a:gd name="T16" fmla="*/ 258 w 517"/>
                <a:gd name="T17" fmla="*/ 82 h 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7" h="748">
                  <a:moveTo>
                    <a:pt x="258" y="82"/>
                  </a:moveTo>
                  <a:lnTo>
                    <a:pt x="258" y="82"/>
                  </a:lnTo>
                  <a:cubicBezTo>
                    <a:pt x="116" y="0"/>
                    <a:pt x="0" y="64"/>
                    <a:pt x="0" y="224"/>
                  </a:cubicBezTo>
                  <a:lnTo>
                    <a:pt x="0" y="224"/>
                  </a:lnTo>
                  <a:cubicBezTo>
                    <a:pt x="0" y="385"/>
                    <a:pt x="116" y="582"/>
                    <a:pt x="258" y="665"/>
                  </a:cubicBezTo>
                  <a:lnTo>
                    <a:pt x="258" y="665"/>
                  </a:lnTo>
                  <a:cubicBezTo>
                    <a:pt x="400" y="747"/>
                    <a:pt x="516" y="683"/>
                    <a:pt x="516" y="522"/>
                  </a:cubicBezTo>
                  <a:lnTo>
                    <a:pt x="516" y="522"/>
                  </a:lnTo>
                  <a:cubicBezTo>
                    <a:pt x="516" y="361"/>
                    <a:pt x="400" y="164"/>
                    <a:pt x="258" y="82"/>
                  </a:cubicBezTo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28" name="Freeform 157">
              <a:extLst>
                <a:ext uri="{FF2B5EF4-FFF2-40B4-BE49-F238E27FC236}">
                  <a16:creationId xmlns:a16="http://schemas.microsoft.com/office/drawing/2014/main" id="{7D0AEDD2-55C4-984B-8A07-3566A48A28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014403" y="11322472"/>
              <a:ext cx="336996" cy="489651"/>
            </a:xfrm>
            <a:custGeom>
              <a:avLst/>
              <a:gdLst>
                <a:gd name="T0" fmla="*/ 258 w 517"/>
                <a:gd name="T1" fmla="*/ 83 h 748"/>
                <a:gd name="T2" fmla="*/ 258 w 517"/>
                <a:gd name="T3" fmla="*/ 83 h 748"/>
                <a:gd name="T4" fmla="*/ 516 w 517"/>
                <a:gd name="T5" fmla="*/ 225 h 748"/>
                <a:gd name="T6" fmla="*/ 516 w 517"/>
                <a:gd name="T7" fmla="*/ 225 h 748"/>
                <a:gd name="T8" fmla="*/ 258 w 517"/>
                <a:gd name="T9" fmla="*/ 665 h 748"/>
                <a:gd name="T10" fmla="*/ 258 w 517"/>
                <a:gd name="T11" fmla="*/ 665 h 748"/>
                <a:gd name="T12" fmla="*/ 0 w 517"/>
                <a:gd name="T13" fmla="*/ 523 h 748"/>
                <a:gd name="T14" fmla="*/ 0 w 517"/>
                <a:gd name="T15" fmla="*/ 523 h 748"/>
                <a:gd name="T16" fmla="*/ 258 w 517"/>
                <a:gd name="T17" fmla="*/ 83 h 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7" h="748">
                  <a:moveTo>
                    <a:pt x="258" y="83"/>
                  </a:moveTo>
                  <a:lnTo>
                    <a:pt x="258" y="83"/>
                  </a:lnTo>
                  <a:cubicBezTo>
                    <a:pt x="400" y="0"/>
                    <a:pt x="516" y="64"/>
                    <a:pt x="516" y="225"/>
                  </a:cubicBezTo>
                  <a:lnTo>
                    <a:pt x="516" y="225"/>
                  </a:lnTo>
                  <a:cubicBezTo>
                    <a:pt x="516" y="386"/>
                    <a:pt x="400" y="583"/>
                    <a:pt x="258" y="665"/>
                  </a:cubicBezTo>
                  <a:lnTo>
                    <a:pt x="258" y="665"/>
                  </a:lnTo>
                  <a:cubicBezTo>
                    <a:pt x="115" y="747"/>
                    <a:pt x="0" y="684"/>
                    <a:pt x="0" y="523"/>
                  </a:cubicBezTo>
                  <a:lnTo>
                    <a:pt x="0" y="523"/>
                  </a:lnTo>
                  <a:cubicBezTo>
                    <a:pt x="0" y="362"/>
                    <a:pt x="115" y="165"/>
                    <a:pt x="258" y="83"/>
                  </a:cubicBezTo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29" name="Freeform 158">
              <a:extLst>
                <a:ext uri="{FF2B5EF4-FFF2-40B4-BE49-F238E27FC236}">
                  <a16:creationId xmlns:a16="http://schemas.microsoft.com/office/drawing/2014/main" id="{69B0FE4A-0943-B041-BA81-6DD04955A0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043205" y="11354154"/>
              <a:ext cx="414764" cy="492533"/>
            </a:xfrm>
            <a:custGeom>
              <a:avLst/>
              <a:gdLst>
                <a:gd name="T0" fmla="*/ 258 w 635"/>
                <a:gd name="T1" fmla="*/ 754 h 755"/>
                <a:gd name="T2" fmla="*/ 258 w 635"/>
                <a:gd name="T3" fmla="*/ 754 h 755"/>
                <a:gd name="T4" fmla="*/ 0 w 635"/>
                <a:gd name="T5" fmla="*/ 610 h 755"/>
                <a:gd name="T6" fmla="*/ 366 w 635"/>
                <a:gd name="T7" fmla="*/ 0 h 755"/>
                <a:gd name="T8" fmla="*/ 366 w 635"/>
                <a:gd name="T9" fmla="*/ 0 h 755"/>
                <a:gd name="T10" fmla="*/ 634 w 635"/>
                <a:gd name="T11" fmla="*/ 180 h 755"/>
                <a:gd name="T12" fmla="*/ 258 w 635"/>
                <a:gd name="T13" fmla="*/ 754 h 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5" h="755">
                  <a:moveTo>
                    <a:pt x="258" y="754"/>
                  </a:moveTo>
                  <a:lnTo>
                    <a:pt x="258" y="754"/>
                  </a:lnTo>
                  <a:cubicBezTo>
                    <a:pt x="109" y="738"/>
                    <a:pt x="30" y="674"/>
                    <a:pt x="0" y="610"/>
                  </a:cubicBezTo>
                  <a:lnTo>
                    <a:pt x="366" y="0"/>
                  </a:lnTo>
                  <a:lnTo>
                    <a:pt x="366" y="0"/>
                  </a:lnTo>
                  <a:cubicBezTo>
                    <a:pt x="447" y="20"/>
                    <a:pt x="594" y="89"/>
                    <a:pt x="634" y="180"/>
                  </a:cubicBezTo>
                  <a:lnTo>
                    <a:pt x="258" y="754"/>
                  </a:lnTo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30" name="Freeform 159">
              <a:extLst>
                <a:ext uri="{FF2B5EF4-FFF2-40B4-BE49-F238E27FC236}">
                  <a16:creationId xmlns:a16="http://schemas.microsoft.com/office/drawing/2014/main" id="{5424D7A8-A3D6-564E-918C-C3C77EF173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35375" y="11391599"/>
              <a:ext cx="336996" cy="486770"/>
            </a:xfrm>
            <a:custGeom>
              <a:avLst/>
              <a:gdLst>
                <a:gd name="T0" fmla="*/ 258 w 517"/>
                <a:gd name="T1" fmla="*/ 82 h 747"/>
                <a:gd name="T2" fmla="*/ 258 w 517"/>
                <a:gd name="T3" fmla="*/ 82 h 747"/>
                <a:gd name="T4" fmla="*/ 516 w 517"/>
                <a:gd name="T5" fmla="*/ 224 h 747"/>
                <a:gd name="T6" fmla="*/ 516 w 517"/>
                <a:gd name="T7" fmla="*/ 224 h 747"/>
                <a:gd name="T8" fmla="*/ 258 w 517"/>
                <a:gd name="T9" fmla="*/ 664 h 747"/>
                <a:gd name="T10" fmla="*/ 258 w 517"/>
                <a:gd name="T11" fmla="*/ 664 h 747"/>
                <a:gd name="T12" fmla="*/ 0 w 517"/>
                <a:gd name="T13" fmla="*/ 522 h 747"/>
                <a:gd name="T14" fmla="*/ 0 w 517"/>
                <a:gd name="T15" fmla="*/ 522 h 747"/>
                <a:gd name="T16" fmla="*/ 258 w 517"/>
                <a:gd name="T17" fmla="*/ 82 h 7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7" h="747">
                  <a:moveTo>
                    <a:pt x="258" y="82"/>
                  </a:moveTo>
                  <a:lnTo>
                    <a:pt x="258" y="82"/>
                  </a:lnTo>
                  <a:cubicBezTo>
                    <a:pt x="400" y="0"/>
                    <a:pt x="516" y="63"/>
                    <a:pt x="516" y="224"/>
                  </a:cubicBezTo>
                  <a:lnTo>
                    <a:pt x="516" y="224"/>
                  </a:lnTo>
                  <a:cubicBezTo>
                    <a:pt x="516" y="385"/>
                    <a:pt x="400" y="582"/>
                    <a:pt x="258" y="664"/>
                  </a:cubicBezTo>
                  <a:lnTo>
                    <a:pt x="258" y="664"/>
                  </a:lnTo>
                  <a:cubicBezTo>
                    <a:pt x="116" y="746"/>
                    <a:pt x="0" y="683"/>
                    <a:pt x="0" y="522"/>
                  </a:cubicBezTo>
                  <a:lnTo>
                    <a:pt x="0" y="522"/>
                  </a:lnTo>
                  <a:cubicBezTo>
                    <a:pt x="0" y="361"/>
                    <a:pt x="116" y="164"/>
                    <a:pt x="258" y="82"/>
                  </a:cubicBezTo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31" name="Freeform 161">
              <a:extLst>
                <a:ext uri="{FF2B5EF4-FFF2-40B4-BE49-F238E27FC236}">
                  <a16:creationId xmlns:a16="http://schemas.microsoft.com/office/drawing/2014/main" id="{C2243845-A7CB-AA4E-A66C-D7D1440C49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903143" y="12491874"/>
              <a:ext cx="336994" cy="489651"/>
            </a:xfrm>
            <a:custGeom>
              <a:avLst/>
              <a:gdLst>
                <a:gd name="T0" fmla="*/ 258 w 517"/>
                <a:gd name="T1" fmla="*/ 83 h 748"/>
                <a:gd name="T2" fmla="*/ 258 w 517"/>
                <a:gd name="T3" fmla="*/ 83 h 748"/>
                <a:gd name="T4" fmla="*/ 516 w 517"/>
                <a:gd name="T5" fmla="*/ 225 h 748"/>
                <a:gd name="T6" fmla="*/ 516 w 517"/>
                <a:gd name="T7" fmla="*/ 225 h 748"/>
                <a:gd name="T8" fmla="*/ 258 w 517"/>
                <a:gd name="T9" fmla="*/ 666 h 748"/>
                <a:gd name="T10" fmla="*/ 258 w 517"/>
                <a:gd name="T11" fmla="*/ 666 h 748"/>
                <a:gd name="T12" fmla="*/ 0 w 517"/>
                <a:gd name="T13" fmla="*/ 523 h 748"/>
                <a:gd name="T14" fmla="*/ 0 w 517"/>
                <a:gd name="T15" fmla="*/ 523 h 748"/>
                <a:gd name="T16" fmla="*/ 258 w 517"/>
                <a:gd name="T17" fmla="*/ 83 h 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7" h="748">
                  <a:moveTo>
                    <a:pt x="258" y="83"/>
                  </a:moveTo>
                  <a:lnTo>
                    <a:pt x="258" y="83"/>
                  </a:lnTo>
                  <a:cubicBezTo>
                    <a:pt x="401" y="0"/>
                    <a:pt x="516" y="65"/>
                    <a:pt x="516" y="225"/>
                  </a:cubicBezTo>
                  <a:lnTo>
                    <a:pt x="516" y="225"/>
                  </a:lnTo>
                  <a:cubicBezTo>
                    <a:pt x="516" y="386"/>
                    <a:pt x="401" y="583"/>
                    <a:pt x="258" y="666"/>
                  </a:cubicBezTo>
                  <a:lnTo>
                    <a:pt x="258" y="666"/>
                  </a:lnTo>
                  <a:cubicBezTo>
                    <a:pt x="115" y="747"/>
                    <a:pt x="0" y="684"/>
                    <a:pt x="0" y="523"/>
                  </a:cubicBezTo>
                  <a:lnTo>
                    <a:pt x="0" y="523"/>
                  </a:lnTo>
                  <a:cubicBezTo>
                    <a:pt x="0" y="362"/>
                    <a:pt x="115" y="165"/>
                    <a:pt x="258" y="83"/>
                  </a:cubicBezTo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32" name="Freeform 162">
              <a:extLst>
                <a:ext uri="{FF2B5EF4-FFF2-40B4-BE49-F238E27FC236}">
                  <a16:creationId xmlns:a16="http://schemas.microsoft.com/office/drawing/2014/main" id="{C8F9C97A-D0D8-FD47-BDC6-E8FB63C423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931945" y="12523556"/>
              <a:ext cx="414764" cy="492533"/>
            </a:xfrm>
            <a:custGeom>
              <a:avLst/>
              <a:gdLst>
                <a:gd name="T0" fmla="*/ 258 w 634"/>
                <a:gd name="T1" fmla="*/ 754 h 755"/>
                <a:gd name="T2" fmla="*/ 258 w 634"/>
                <a:gd name="T3" fmla="*/ 754 h 755"/>
                <a:gd name="T4" fmla="*/ 0 w 634"/>
                <a:gd name="T5" fmla="*/ 610 h 755"/>
                <a:gd name="T6" fmla="*/ 365 w 634"/>
                <a:gd name="T7" fmla="*/ 0 h 755"/>
                <a:gd name="T8" fmla="*/ 365 w 634"/>
                <a:gd name="T9" fmla="*/ 0 h 755"/>
                <a:gd name="T10" fmla="*/ 633 w 634"/>
                <a:gd name="T11" fmla="*/ 180 h 755"/>
                <a:gd name="T12" fmla="*/ 258 w 634"/>
                <a:gd name="T13" fmla="*/ 754 h 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4" h="755">
                  <a:moveTo>
                    <a:pt x="258" y="754"/>
                  </a:moveTo>
                  <a:lnTo>
                    <a:pt x="258" y="754"/>
                  </a:lnTo>
                  <a:cubicBezTo>
                    <a:pt x="108" y="738"/>
                    <a:pt x="30" y="674"/>
                    <a:pt x="0" y="610"/>
                  </a:cubicBezTo>
                  <a:lnTo>
                    <a:pt x="365" y="0"/>
                  </a:lnTo>
                  <a:lnTo>
                    <a:pt x="365" y="0"/>
                  </a:lnTo>
                  <a:cubicBezTo>
                    <a:pt x="446" y="20"/>
                    <a:pt x="593" y="89"/>
                    <a:pt x="633" y="180"/>
                  </a:cubicBezTo>
                  <a:lnTo>
                    <a:pt x="258" y="754"/>
                  </a:lnTo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33" name="Freeform 163">
              <a:extLst>
                <a:ext uri="{FF2B5EF4-FFF2-40B4-BE49-F238E27FC236}">
                  <a16:creationId xmlns:a16="http://schemas.microsoft.com/office/drawing/2014/main" id="{5329FE8C-3E2D-A747-AD42-4A1EC3A860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21233" y="12561002"/>
              <a:ext cx="336996" cy="486770"/>
            </a:xfrm>
            <a:custGeom>
              <a:avLst/>
              <a:gdLst>
                <a:gd name="T0" fmla="*/ 258 w 517"/>
                <a:gd name="T1" fmla="*/ 82 h 747"/>
                <a:gd name="T2" fmla="*/ 258 w 517"/>
                <a:gd name="T3" fmla="*/ 82 h 747"/>
                <a:gd name="T4" fmla="*/ 516 w 517"/>
                <a:gd name="T5" fmla="*/ 224 h 747"/>
                <a:gd name="T6" fmla="*/ 516 w 517"/>
                <a:gd name="T7" fmla="*/ 224 h 747"/>
                <a:gd name="T8" fmla="*/ 258 w 517"/>
                <a:gd name="T9" fmla="*/ 664 h 747"/>
                <a:gd name="T10" fmla="*/ 258 w 517"/>
                <a:gd name="T11" fmla="*/ 664 h 747"/>
                <a:gd name="T12" fmla="*/ 0 w 517"/>
                <a:gd name="T13" fmla="*/ 522 h 747"/>
                <a:gd name="T14" fmla="*/ 0 w 517"/>
                <a:gd name="T15" fmla="*/ 522 h 747"/>
                <a:gd name="T16" fmla="*/ 258 w 517"/>
                <a:gd name="T17" fmla="*/ 82 h 7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7" h="747">
                  <a:moveTo>
                    <a:pt x="258" y="82"/>
                  </a:moveTo>
                  <a:lnTo>
                    <a:pt x="258" y="82"/>
                  </a:lnTo>
                  <a:cubicBezTo>
                    <a:pt x="401" y="0"/>
                    <a:pt x="516" y="63"/>
                    <a:pt x="516" y="224"/>
                  </a:cubicBezTo>
                  <a:lnTo>
                    <a:pt x="516" y="224"/>
                  </a:lnTo>
                  <a:cubicBezTo>
                    <a:pt x="516" y="385"/>
                    <a:pt x="401" y="582"/>
                    <a:pt x="258" y="664"/>
                  </a:cubicBezTo>
                  <a:lnTo>
                    <a:pt x="258" y="664"/>
                  </a:lnTo>
                  <a:cubicBezTo>
                    <a:pt x="116" y="746"/>
                    <a:pt x="0" y="683"/>
                    <a:pt x="0" y="522"/>
                  </a:cubicBezTo>
                  <a:lnTo>
                    <a:pt x="0" y="522"/>
                  </a:lnTo>
                  <a:cubicBezTo>
                    <a:pt x="0" y="361"/>
                    <a:pt x="116" y="164"/>
                    <a:pt x="258" y="82"/>
                  </a:cubicBezTo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34" name="Freeform 165">
              <a:extLst>
                <a:ext uri="{FF2B5EF4-FFF2-40B4-BE49-F238E27FC236}">
                  <a16:creationId xmlns:a16="http://schemas.microsoft.com/office/drawing/2014/main" id="{ADB39EDA-EB12-9B46-BC84-2DAEB58E51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98742" y="12353620"/>
              <a:ext cx="336996" cy="489651"/>
            </a:xfrm>
            <a:custGeom>
              <a:avLst/>
              <a:gdLst>
                <a:gd name="T0" fmla="*/ 258 w 517"/>
                <a:gd name="T1" fmla="*/ 83 h 748"/>
                <a:gd name="T2" fmla="*/ 258 w 517"/>
                <a:gd name="T3" fmla="*/ 83 h 748"/>
                <a:gd name="T4" fmla="*/ 0 w 517"/>
                <a:gd name="T5" fmla="*/ 225 h 748"/>
                <a:gd name="T6" fmla="*/ 0 w 517"/>
                <a:gd name="T7" fmla="*/ 225 h 748"/>
                <a:gd name="T8" fmla="*/ 258 w 517"/>
                <a:gd name="T9" fmla="*/ 665 h 748"/>
                <a:gd name="T10" fmla="*/ 258 w 517"/>
                <a:gd name="T11" fmla="*/ 665 h 748"/>
                <a:gd name="T12" fmla="*/ 516 w 517"/>
                <a:gd name="T13" fmla="*/ 523 h 748"/>
                <a:gd name="T14" fmla="*/ 516 w 517"/>
                <a:gd name="T15" fmla="*/ 523 h 748"/>
                <a:gd name="T16" fmla="*/ 258 w 517"/>
                <a:gd name="T17" fmla="*/ 83 h 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7" h="748">
                  <a:moveTo>
                    <a:pt x="258" y="83"/>
                  </a:moveTo>
                  <a:lnTo>
                    <a:pt x="258" y="83"/>
                  </a:lnTo>
                  <a:cubicBezTo>
                    <a:pt x="115" y="0"/>
                    <a:pt x="0" y="65"/>
                    <a:pt x="0" y="225"/>
                  </a:cubicBezTo>
                  <a:lnTo>
                    <a:pt x="0" y="225"/>
                  </a:lnTo>
                  <a:cubicBezTo>
                    <a:pt x="0" y="386"/>
                    <a:pt x="115" y="583"/>
                    <a:pt x="258" y="665"/>
                  </a:cubicBezTo>
                  <a:lnTo>
                    <a:pt x="258" y="665"/>
                  </a:lnTo>
                  <a:cubicBezTo>
                    <a:pt x="401" y="747"/>
                    <a:pt x="516" y="684"/>
                    <a:pt x="516" y="523"/>
                  </a:cubicBezTo>
                  <a:lnTo>
                    <a:pt x="516" y="523"/>
                  </a:lnTo>
                  <a:cubicBezTo>
                    <a:pt x="516" y="362"/>
                    <a:pt x="401" y="165"/>
                    <a:pt x="258" y="83"/>
                  </a:cubicBezTo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35" name="Freeform 166">
              <a:extLst>
                <a:ext uri="{FF2B5EF4-FFF2-40B4-BE49-F238E27FC236}">
                  <a16:creationId xmlns:a16="http://schemas.microsoft.com/office/drawing/2014/main" id="{7FDD17E8-D878-6C44-BBC2-75282FF899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092171" y="12388182"/>
              <a:ext cx="414764" cy="492531"/>
            </a:xfrm>
            <a:custGeom>
              <a:avLst/>
              <a:gdLst>
                <a:gd name="T0" fmla="*/ 376 w 634"/>
                <a:gd name="T1" fmla="*/ 754 h 755"/>
                <a:gd name="T2" fmla="*/ 376 w 634"/>
                <a:gd name="T3" fmla="*/ 754 h 755"/>
                <a:gd name="T4" fmla="*/ 633 w 634"/>
                <a:gd name="T5" fmla="*/ 610 h 755"/>
                <a:gd name="T6" fmla="*/ 268 w 634"/>
                <a:gd name="T7" fmla="*/ 0 h 755"/>
                <a:gd name="T8" fmla="*/ 268 w 634"/>
                <a:gd name="T9" fmla="*/ 0 h 755"/>
                <a:gd name="T10" fmla="*/ 0 w 634"/>
                <a:gd name="T11" fmla="*/ 180 h 755"/>
                <a:gd name="T12" fmla="*/ 376 w 634"/>
                <a:gd name="T13" fmla="*/ 754 h 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4" h="755">
                  <a:moveTo>
                    <a:pt x="376" y="754"/>
                  </a:moveTo>
                  <a:lnTo>
                    <a:pt x="376" y="754"/>
                  </a:lnTo>
                  <a:cubicBezTo>
                    <a:pt x="525" y="739"/>
                    <a:pt x="603" y="674"/>
                    <a:pt x="633" y="610"/>
                  </a:cubicBezTo>
                  <a:lnTo>
                    <a:pt x="268" y="0"/>
                  </a:lnTo>
                  <a:lnTo>
                    <a:pt x="268" y="0"/>
                  </a:lnTo>
                  <a:cubicBezTo>
                    <a:pt x="187" y="20"/>
                    <a:pt x="40" y="89"/>
                    <a:pt x="0" y="180"/>
                  </a:cubicBezTo>
                  <a:lnTo>
                    <a:pt x="376" y="754"/>
                  </a:lnTo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36" name="Freeform 167">
              <a:extLst>
                <a:ext uri="{FF2B5EF4-FFF2-40B4-BE49-F238E27FC236}">
                  <a16:creationId xmlns:a16="http://schemas.microsoft.com/office/drawing/2014/main" id="{194F8E1A-0DF2-8743-B3F3-A4756076A2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077769" y="12422747"/>
              <a:ext cx="336996" cy="489651"/>
            </a:xfrm>
            <a:custGeom>
              <a:avLst/>
              <a:gdLst>
                <a:gd name="T0" fmla="*/ 259 w 518"/>
                <a:gd name="T1" fmla="*/ 82 h 748"/>
                <a:gd name="T2" fmla="*/ 259 w 518"/>
                <a:gd name="T3" fmla="*/ 82 h 748"/>
                <a:gd name="T4" fmla="*/ 0 w 518"/>
                <a:gd name="T5" fmla="*/ 224 h 748"/>
                <a:gd name="T6" fmla="*/ 0 w 518"/>
                <a:gd name="T7" fmla="*/ 224 h 748"/>
                <a:gd name="T8" fmla="*/ 259 w 518"/>
                <a:gd name="T9" fmla="*/ 665 h 748"/>
                <a:gd name="T10" fmla="*/ 259 w 518"/>
                <a:gd name="T11" fmla="*/ 665 h 748"/>
                <a:gd name="T12" fmla="*/ 517 w 518"/>
                <a:gd name="T13" fmla="*/ 522 h 748"/>
                <a:gd name="T14" fmla="*/ 517 w 518"/>
                <a:gd name="T15" fmla="*/ 522 h 748"/>
                <a:gd name="T16" fmla="*/ 259 w 518"/>
                <a:gd name="T17" fmla="*/ 82 h 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8" h="748">
                  <a:moveTo>
                    <a:pt x="259" y="82"/>
                  </a:moveTo>
                  <a:lnTo>
                    <a:pt x="259" y="82"/>
                  </a:lnTo>
                  <a:cubicBezTo>
                    <a:pt x="116" y="0"/>
                    <a:pt x="0" y="64"/>
                    <a:pt x="0" y="224"/>
                  </a:cubicBezTo>
                  <a:lnTo>
                    <a:pt x="0" y="224"/>
                  </a:lnTo>
                  <a:cubicBezTo>
                    <a:pt x="0" y="385"/>
                    <a:pt x="116" y="582"/>
                    <a:pt x="259" y="665"/>
                  </a:cubicBezTo>
                  <a:lnTo>
                    <a:pt x="259" y="665"/>
                  </a:lnTo>
                  <a:cubicBezTo>
                    <a:pt x="401" y="747"/>
                    <a:pt x="517" y="683"/>
                    <a:pt x="517" y="522"/>
                  </a:cubicBezTo>
                  <a:lnTo>
                    <a:pt x="517" y="522"/>
                  </a:lnTo>
                  <a:cubicBezTo>
                    <a:pt x="517" y="361"/>
                    <a:pt x="401" y="164"/>
                    <a:pt x="259" y="82"/>
                  </a:cubicBezTo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37" name="Freeform 86">
              <a:extLst>
                <a:ext uri="{FF2B5EF4-FFF2-40B4-BE49-F238E27FC236}">
                  <a16:creationId xmlns:a16="http://schemas.microsoft.com/office/drawing/2014/main" id="{CDA73B66-B479-3B42-9D18-7BA0F2399E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75961" y="11487492"/>
              <a:ext cx="2341035" cy="1464011"/>
            </a:xfrm>
            <a:custGeom>
              <a:avLst/>
              <a:gdLst>
                <a:gd name="connsiteX0" fmla="*/ 161670 w 2341035"/>
                <a:gd name="connsiteY0" fmla="*/ 1169757 h 1464011"/>
                <a:gd name="connsiteX1" fmla="*/ 232647 w 2341035"/>
                <a:gd name="connsiteY1" fmla="*/ 1249169 h 1464011"/>
                <a:gd name="connsiteX2" fmla="*/ 116323 w 2341035"/>
                <a:gd name="connsiteY2" fmla="*/ 1448094 h 1464011"/>
                <a:gd name="connsiteX3" fmla="*/ 0 w 2341035"/>
                <a:gd name="connsiteY3" fmla="*/ 1383967 h 1464011"/>
                <a:gd name="connsiteX4" fmla="*/ 116323 w 2341035"/>
                <a:gd name="connsiteY4" fmla="*/ 1185696 h 1464011"/>
                <a:gd name="connsiteX5" fmla="*/ 161670 w 2341035"/>
                <a:gd name="connsiteY5" fmla="*/ 1169757 h 1464011"/>
                <a:gd name="connsiteX6" fmla="*/ 2122611 w 2341035"/>
                <a:gd name="connsiteY6" fmla="*/ 1026778 h 1464011"/>
                <a:gd name="connsiteX7" fmla="*/ 2170307 w 2341035"/>
                <a:gd name="connsiteY7" fmla="*/ 1043528 h 1464011"/>
                <a:gd name="connsiteX8" fmla="*/ 2292069 w 2341035"/>
                <a:gd name="connsiteY8" fmla="*/ 1251657 h 1464011"/>
                <a:gd name="connsiteX9" fmla="*/ 2170307 w 2341035"/>
                <a:gd name="connsiteY9" fmla="*/ 1319510 h 1464011"/>
                <a:gd name="connsiteX10" fmla="*/ 2047893 w 2341035"/>
                <a:gd name="connsiteY10" fmla="*/ 1110729 h 1464011"/>
                <a:gd name="connsiteX11" fmla="*/ 2122611 w 2341035"/>
                <a:gd name="connsiteY11" fmla="*/ 1026778 h 1464011"/>
                <a:gd name="connsiteX12" fmla="*/ 145186 w 2341035"/>
                <a:gd name="connsiteY12" fmla="*/ 16309 h 1464011"/>
                <a:gd name="connsiteX13" fmla="*/ 194093 w 2341035"/>
                <a:gd name="connsiteY13" fmla="*/ 33384 h 1464011"/>
                <a:gd name="connsiteX14" fmla="*/ 319060 w 2341035"/>
                <a:gd name="connsiteY14" fmla="*/ 248405 h 1464011"/>
                <a:gd name="connsiteX15" fmla="*/ 194093 w 2341035"/>
                <a:gd name="connsiteY15" fmla="*/ 318550 h 1464011"/>
                <a:gd name="connsiteX16" fmla="*/ 69126 w 2341035"/>
                <a:gd name="connsiteY16" fmla="*/ 102872 h 1464011"/>
                <a:gd name="connsiteX17" fmla="*/ 145186 w 2341035"/>
                <a:gd name="connsiteY17" fmla="*/ 16309 h 1464011"/>
                <a:gd name="connsiteX18" fmla="*/ 2270026 w 2341035"/>
                <a:gd name="connsiteY18" fmla="*/ 390 h 1464011"/>
                <a:gd name="connsiteX19" fmla="*/ 2341035 w 2341035"/>
                <a:gd name="connsiteY19" fmla="*/ 81153 h 1464011"/>
                <a:gd name="connsiteX20" fmla="*/ 2224708 w 2341035"/>
                <a:gd name="connsiteY20" fmla="*/ 280888 h 1464011"/>
                <a:gd name="connsiteX21" fmla="*/ 2108381 w 2341035"/>
                <a:gd name="connsiteY21" fmla="*/ 216056 h 1464011"/>
                <a:gd name="connsiteX22" fmla="*/ 2224708 w 2341035"/>
                <a:gd name="connsiteY22" fmla="*/ 16321 h 1464011"/>
                <a:gd name="connsiteX23" fmla="*/ 2270026 w 2341035"/>
                <a:gd name="connsiteY23" fmla="*/ 390 h 1464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341035" h="1464011">
                  <a:moveTo>
                    <a:pt x="161670" y="1169757"/>
                  </a:moveTo>
                  <a:cubicBezTo>
                    <a:pt x="203443" y="1165493"/>
                    <a:pt x="232647" y="1195185"/>
                    <a:pt x="232647" y="1249169"/>
                  </a:cubicBezTo>
                  <a:cubicBezTo>
                    <a:pt x="232647" y="1321803"/>
                    <a:pt x="180728" y="1410795"/>
                    <a:pt x="116323" y="1448094"/>
                  </a:cubicBezTo>
                  <a:cubicBezTo>
                    <a:pt x="51918" y="1484738"/>
                    <a:pt x="0" y="1455946"/>
                    <a:pt x="0" y="1383967"/>
                  </a:cubicBezTo>
                  <a:cubicBezTo>
                    <a:pt x="0" y="1311333"/>
                    <a:pt x="51918" y="1222340"/>
                    <a:pt x="116323" y="1185696"/>
                  </a:cubicBezTo>
                  <a:cubicBezTo>
                    <a:pt x="132424" y="1176372"/>
                    <a:pt x="147745" y="1171178"/>
                    <a:pt x="161670" y="1169757"/>
                  </a:cubicBezTo>
                  <a:close/>
                  <a:moveTo>
                    <a:pt x="2122611" y="1026778"/>
                  </a:moveTo>
                  <a:cubicBezTo>
                    <a:pt x="2137262" y="1028277"/>
                    <a:pt x="2153377" y="1033741"/>
                    <a:pt x="2170307" y="1043528"/>
                  </a:cubicBezTo>
                  <a:cubicBezTo>
                    <a:pt x="2237373" y="1082022"/>
                    <a:pt x="2292069" y="1175973"/>
                    <a:pt x="2292069" y="1251657"/>
                  </a:cubicBezTo>
                  <a:cubicBezTo>
                    <a:pt x="2292069" y="1327992"/>
                    <a:pt x="2237373" y="1358005"/>
                    <a:pt x="2170307" y="1319510"/>
                  </a:cubicBezTo>
                  <a:cubicBezTo>
                    <a:pt x="2102588" y="1280364"/>
                    <a:pt x="2047893" y="1187065"/>
                    <a:pt x="2047893" y="1110729"/>
                  </a:cubicBezTo>
                  <a:cubicBezTo>
                    <a:pt x="2047893" y="1053477"/>
                    <a:pt x="2078659" y="1022282"/>
                    <a:pt x="2122611" y="1026778"/>
                  </a:cubicBezTo>
                  <a:close/>
                  <a:moveTo>
                    <a:pt x="145186" y="16309"/>
                  </a:moveTo>
                  <a:cubicBezTo>
                    <a:pt x="160166" y="17815"/>
                    <a:pt x="176682" y="23387"/>
                    <a:pt x="194093" y="33384"/>
                  </a:cubicBezTo>
                  <a:cubicBezTo>
                    <a:pt x="263085" y="73373"/>
                    <a:pt x="319060" y="170395"/>
                    <a:pt x="319060" y="248405"/>
                  </a:cubicBezTo>
                  <a:cubicBezTo>
                    <a:pt x="319060" y="327072"/>
                    <a:pt x="263085" y="358538"/>
                    <a:pt x="194093" y="318550"/>
                  </a:cubicBezTo>
                  <a:cubicBezTo>
                    <a:pt x="124450" y="277905"/>
                    <a:pt x="69126" y="181539"/>
                    <a:pt x="69126" y="102872"/>
                  </a:cubicBezTo>
                  <a:cubicBezTo>
                    <a:pt x="69126" y="43873"/>
                    <a:pt x="100246" y="11791"/>
                    <a:pt x="145186" y="16309"/>
                  </a:cubicBezTo>
                  <a:close/>
                  <a:moveTo>
                    <a:pt x="2270026" y="390"/>
                  </a:moveTo>
                  <a:cubicBezTo>
                    <a:pt x="2311791" y="-3816"/>
                    <a:pt x="2341035" y="26144"/>
                    <a:pt x="2341035" y="81153"/>
                  </a:cubicBezTo>
                  <a:cubicBezTo>
                    <a:pt x="2341035" y="153844"/>
                    <a:pt x="2289045" y="243560"/>
                    <a:pt x="2224708" y="280888"/>
                  </a:cubicBezTo>
                  <a:cubicBezTo>
                    <a:pt x="2160371" y="318215"/>
                    <a:pt x="2108381" y="289401"/>
                    <a:pt x="2108381" y="216056"/>
                  </a:cubicBezTo>
                  <a:cubicBezTo>
                    <a:pt x="2108381" y="142711"/>
                    <a:pt x="2160371" y="53649"/>
                    <a:pt x="2224708" y="16321"/>
                  </a:cubicBezTo>
                  <a:cubicBezTo>
                    <a:pt x="2240792" y="6989"/>
                    <a:pt x="2256105" y="1791"/>
                    <a:pt x="2270026" y="39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263364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anchor="ctr">
              <a:noAutofit/>
            </a:bodyPr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38" name="Freeform 169">
              <a:extLst>
                <a:ext uri="{FF2B5EF4-FFF2-40B4-BE49-F238E27FC236}">
                  <a16:creationId xmlns:a16="http://schemas.microsoft.com/office/drawing/2014/main" id="{A9AF0690-7198-E54B-9296-7E9C3F537E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726908" y="4473112"/>
              <a:ext cx="895773" cy="1097394"/>
            </a:xfrm>
            <a:custGeom>
              <a:avLst/>
              <a:gdLst>
                <a:gd name="T0" fmla="*/ 1246 w 1373"/>
                <a:gd name="T1" fmla="*/ 1440 h 1679"/>
                <a:gd name="T2" fmla="*/ 1246 w 1373"/>
                <a:gd name="T3" fmla="*/ 1440 h 1679"/>
                <a:gd name="T4" fmla="*/ 442 w 1373"/>
                <a:gd name="T5" fmla="*/ 1567 h 1679"/>
                <a:gd name="T6" fmla="*/ 442 w 1373"/>
                <a:gd name="T7" fmla="*/ 1567 h 1679"/>
                <a:gd name="T8" fmla="*/ 265 w 1373"/>
                <a:gd name="T9" fmla="*/ 1355 h 1679"/>
                <a:gd name="T10" fmla="*/ 0 w 1373"/>
                <a:gd name="T11" fmla="*/ 0 h 1679"/>
                <a:gd name="T12" fmla="*/ 1137 w 1373"/>
                <a:gd name="T13" fmla="*/ 28 h 1679"/>
                <a:gd name="T14" fmla="*/ 1348 w 1373"/>
                <a:gd name="T15" fmla="*/ 1107 h 1679"/>
                <a:gd name="T16" fmla="*/ 1348 w 1373"/>
                <a:gd name="T17" fmla="*/ 1107 h 1679"/>
                <a:gd name="T18" fmla="*/ 1246 w 1373"/>
                <a:gd name="T19" fmla="*/ 1440 h 16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73" h="1679">
                  <a:moveTo>
                    <a:pt x="1246" y="1440"/>
                  </a:moveTo>
                  <a:lnTo>
                    <a:pt x="1246" y="1440"/>
                  </a:lnTo>
                  <a:cubicBezTo>
                    <a:pt x="1002" y="1665"/>
                    <a:pt x="730" y="1678"/>
                    <a:pt x="442" y="1567"/>
                  </a:cubicBezTo>
                  <a:lnTo>
                    <a:pt x="442" y="1567"/>
                  </a:lnTo>
                  <a:cubicBezTo>
                    <a:pt x="352" y="1532"/>
                    <a:pt x="284" y="1453"/>
                    <a:pt x="265" y="1355"/>
                  </a:cubicBezTo>
                  <a:lnTo>
                    <a:pt x="0" y="0"/>
                  </a:lnTo>
                  <a:lnTo>
                    <a:pt x="1137" y="28"/>
                  </a:lnTo>
                  <a:lnTo>
                    <a:pt x="1348" y="1107"/>
                  </a:lnTo>
                  <a:lnTo>
                    <a:pt x="1348" y="1107"/>
                  </a:lnTo>
                  <a:cubicBezTo>
                    <a:pt x="1372" y="1230"/>
                    <a:pt x="1336" y="1358"/>
                    <a:pt x="1246" y="1440"/>
                  </a:cubicBezTo>
                </a:path>
              </a:pathLst>
            </a:custGeom>
            <a:solidFill>
              <a:srgbClr val="EDCDA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263364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39" name="Freeform 170">
              <a:extLst>
                <a:ext uri="{FF2B5EF4-FFF2-40B4-BE49-F238E27FC236}">
                  <a16:creationId xmlns:a16="http://schemas.microsoft.com/office/drawing/2014/main" id="{928CF3C3-CFAE-B147-B599-61E22E33EC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277581" y="3493809"/>
              <a:ext cx="1218367" cy="1762745"/>
            </a:xfrm>
            <a:custGeom>
              <a:avLst/>
              <a:gdLst>
                <a:gd name="T0" fmla="*/ 68 w 1867"/>
                <a:gd name="T1" fmla="*/ 1569 h 2698"/>
                <a:gd name="T2" fmla="*/ 68 w 1867"/>
                <a:gd name="T3" fmla="*/ 1569 h 2698"/>
                <a:gd name="T4" fmla="*/ 817 w 1867"/>
                <a:gd name="T5" fmla="*/ 2636 h 2698"/>
                <a:gd name="T6" fmla="*/ 817 w 1867"/>
                <a:gd name="T7" fmla="*/ 2636 h 2698"/>
                <a:gd name="T8" fmla="*/ 1100 w 1867"/>
                <a:gd name="T9" fmla="*/ 1525 h 2698"/>
                <a:gd name="T10" fmla="*/ 1100 w 1867"/>
                <a:gd name="T11" fmla="*/ 1525 h 2698"/>
                <a:gd name="T12" fmla="*/ 1651 w 1867"/>
                <a:gd name="T13" fmla="*/ 1380 h 2698"/>
                <a:gd name="T14" fmla="*/ 1651 w 1867"/>
                <a:gd name="T15" fmla="*/ 1380 h 2698"/>
                <a:gd name="T16" fmla="*/ 888 w 1867"/>
                <a:gd name="T17" fmla="*/ 111 h 2698"/>
                <a:gd name="T18" fmla="*/ 888 w 1867"/>
                <a:gd name="T19" fmla="*/ 111 h 2698"/>
                <a:gd name="T20" fmla="*/ 50 w 1867"/>
                <a:gd name="T21" fmla="*/ 638 h 2698"/>
                <a:gd name="T22" fmla="*/ 50 w 1867"/>
                <a:gd name="T23" fmla="*/ 638 h 2698"/>
                <a:gd name="T24" fmla="*/ 68 w 1867"/>
                <a:gd name="T25" fmla="*/ 1569 h 2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7" h="2698">
                  <a:moveTo>
                    <a:pt x="68" y="1569"/>
                  </a:moveTo>
                  <a:lnTo>
                    <a:pt x="68" y="1569"/>
                  </a:lnTo>
                  <a:cubicBezTo>
                    <a:pt x="199" y="2240"/>
                    <a:pt x="414" y="2697"/>
                    <a:pt x="817" y="2636"/>
                  </a:cubicBezTo>
                  <a:lnTo>
                    <a:pt x="817" y="2636"/>
                  </a:lnTo>
                  <a:cubicBezTo>
                    <a:pt x="1208" y="2576"/>
                    <a:pt x="866" y="1817"/>
                    <a:pt x="1100" y="1525"/>
                  </a:cubicBezTo>
                  <a:lnTo>
                    <a:pt x="1100" y="1525"/>
                  </a:lnTo>
                  <a:cubicBezTo>
                    <a:pt x="1152" y="1461"/>
                    <a:pt x="1595" y="1445"/>
                    <a:pt x="1651" y="1380"/>
                  </a:cubicBezTo>
                  <a:lnTo>
                    <a:pt x="1651" y="1380"/>
                  </a:lnTo>
                  <a:cubicBezTo>
                    <a:pt x="1866" y="1130"/>
                    <a:pt x="1451" y="0"/>
                    <a:pt x="888" y="111"/>
                  </a:cubicBezTo>
                  <a:lnTo>
                    <a:pt x="888" y="111"/>
                  </a:lnTo>
                  <a:cubicBezTo>
                    <a:pt x="535" y="180"/>
                    <a:pt x="181" y="304"/>
                    <a:pt x="50" y="638"/>
                  </a:cubicBezTo>
                  <a:lnTo>
                    <a:pt x="50" y="638"/>
                  </a:lnTo>
                  <a:cubicBezTo>
                    <a:pt x="0" y="767"/>
                    <a:pt x="50" y="1479"/>
                    <a:pt x="68" y="1569"/>
                  </a:cubicBezTo>
                </a:path>
              </a:pathLst>
            </a:custGeom>
            <a:solidFill>
              <a:srgbClr val="FCE3C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263364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40" name="Freeform 171">
              <a:extLst>
                <a:ext uri="{FF2B5EF4-FFF2-40B4-BE49-F238E27FC236}">
                  <a16:creationId xmlns:a16="http://schemas.microsoft.com/office/drawing/2014/main" id="{DF4C3EF5-B067-AF40-BBE3-F825371F1D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75960" y="3122249"/>
              <a:ext cx="1854915" cy="1820351"/>
            </a:xfrm>
            <a:custGeom>
              <a:avLst/>
              <a:gdLst>
                <a:gd name="T0" fmla="*/ 362 w 2841"/>
                <a:gd name="T1" fmla="*/ 447 h 2789"/>
                <a:gd name="T2" fmla="*/ 362 w 2841"/>
                <a:gd name="T3" fmla="*/ 447 h 2789"/>
                <a:gd name="T4" fmla="*/ 222 w 2841"/>
                <a:gd name="T5" fmla="*/ 1414 h 2789"/>
                <a:gd name="T6" fmla="*/ 222 w 2841"/>
                <a:gd name="T7" fmla="*/ 1414 h 2789"/>
                <a:gd name="T8" fmla="*/ 575 w 2841"/>
                <a:gd name="T9" fmla="*/ 1667 h 2789"/>
                <a:gd name="T10" fmla="*/ 575 w 2841"/>
                <a:gd name="T11" fmla="*/ 1667 h 2789"/>
                <a:gd name="T12" fmla="*/ 788 w 2841"/>
                <a:gd name="T13" fmla="*/ 2276 h 2789"/>
                <a:gd name="T14" fmla="*/ 788 w 2841"/>
                <a:gd name="T15" fmla="*/ 2276 h 2789"/>
                <a:gd name="T16" fmla="*/ 906 w 2841"/>
                <a:gd name="T17" fmla="*/ 2156 h 2789"/>
                <a:gd name="T18" fmla="*/ 906 w 2841"/>
                <a:gd name="T19" fmla="*/ 2156 h 2789"/>
                <a:gd name="T20" fmla="*/ 1176 w 2841"/>
                <a:gd name="T21" fmla="*/ 1967 h 2789"/>
                <a:gd name="T22" fmla="*/ 1176 w 2841"/>
                <a:gd name="T23" fmla="*/ 1967 h 2789"/>
                <a:gd name="T24" fmla="*/ 1611 w 2841"/>
                <a:gd name="T25" fmla="*/ 2635 h 2789"/>
                <a:gd name="T26" fmla="*/ 1611 w 2841"/>
                <a:gd name="T27" fmla="*/ 2635 h 2789"/>
                <a:gd name="T28" fmla="*/ 2422 w 2841"/>
                <a:gd name="T29" fmla="*/ 2432 h 2789"/>
                <a:gd name="T30" fmla="*/ 2422 w 2841"/>
                <a:gd name="T31" fmla="*/ 2432 h 2789"/>
                <a:gd name="T32" fmla="*/ 2144 w 2841"/>
                <a:gd name="T33" fmla="*/ 631 h 2789"/>
                <a:gd name="T34" fmla="*/ 2144 w 2841"/>
                <a:gd name="T35" fmla="*/ 631 h 2789"/>
                <a:gd name="T36" fmla="*/ 656 w 2841"/>
                <a:gd name="T37" fmla="*/ 543 h 2789"/>
                <a:gd name="T38" fmla="*/ 656 w 2841"/>
                <a:gd name="T39" fmla="*/ 543 h 2789"/>
                <a:gd name="T40" fmla="*/ 362 w 2841"/>
                <a:gd name="T41" fmla="*/ 447 h 27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841" h="2789">
                  <a:moveTo>
                    <a:pt x="362" y="447"/>
                  </a:moveTo>
                  <a:lnTo>
                    <a:pt x="362" y="447"/>
                  </a:lnTo>
                  <a:cubicBezTo>
                    <a:pt x="0" y="657"/>
                    <a:pt x="56" y="1125"/>
                    <a:pt x="222" y="1414"/>
                  </a:cubicBezTo>
                  <a:lnTo>
                    <a:pt x="222" y="1414"/>
                  </a:lnTo>
                  <a:cubicBezTo>
                    <a:pt x="304" y="1559"/>
                    <a:pt x="401" y="1619"/>
                    <a:pt x="575" y="1667"/>
                  </a:cubicBezTo>
                  <a:lnTo>
                    <a:pt x="575" y="1667"/>
                  </a:lnTo>
                  <a:cubicBezTo>
                    <a:pt x="748" y="1716"/>
                    <a:pt x="776" y="2147"/>
                    <a:pt x="788" y="2276"/>
                  </a:cubicBezTo>
                  <a:lnTo>
                    <a:pt x="788" y="2276"/>
                  </a:lnTo>
                  <a:cubicBezTo>
                    <a:pt x="788" y="2276"/>
                    <a:pt x="877" y="2316"/>
                    <a:pt x="906" y="2156"/>
                  </a:cubicBezTo>
                  <a:lnTo>
                    <a:pt x="906" y="2156"/>
                  </a:lnTo>
                  <a:cubicBezTo>
                    <a:pt x="935" y="1995"/>
                    <a:pt x="1108" y="1747"/>
                    <a:pt x="1176" y="1967"/>
                  </a:cubicBezTo>
                  <a:lnTo>
                    <a:pt x="1176" y="1967"/>
                  </a:lnTo>
                  <a:cubicBezTo>
                    <a:pt x="1245" y="2187"/>
                    <a:pt x="1508" y="2497"/>
                    <a:pt x="1611" y="2635"/>
                  </a:cubicBezTo>
                  <a:lnTo>
                    <a:pt x="1611" y="2635"/>
                  </a:lnTo>
                  <a:cubicBezTo>
                    <a:pt x="1714" y="2772"/>
                    <a:pt x="2252" y="2788"/>
                    <a:pt x="2422" y="2432"/>
                  </a:cubicBezTo>
                  <a:lnTo>
                    <a:pt x="2422" y="2432"/>
                  </a:lnTo>
                  <a:cubicBezTo>
                    <a:pt x="2052" y="1904"/>
                    <a:pt x="2840" y="1449"/>
                    <a:pt x="2144" y="631"/>
                  </a:cubicBezTo>
                  <a:lnTo>
                    <a:pt x="2144" y="631"/>
                  </a:lnTo>
                  <a:cubicBezTo>
                    <a:pt x="1996" y="308"/>
                    <a:pt x="1687" y="0"/>
                    <a:pt x="656" y="543"/>
                  </a:cubicBezTo>
                  <a:lnTo>
                    <a:pt x="656" y="543"/>
                  </a:lnTo>
                  <a:cubicBezTo>
                    <a:pt x="608" y="571"/>
                    <a:pt x="433" y="510"/>
                    <a:pt x="362" y="447"/>
                  </a:cubicBezTo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41" name="Freeform 172">
              <a:extLst>
                <a:ext uri="{FF2B5EF4-FFF2-40B4-BE49-F238E27FC236}">
                  <a16:creationId xmlns:a16="http://schemas.microsoft.com/office/drawing/2014/main" id="{A5DCBA87-289D-0A42-85FA-1555E3529A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75063" y="4268609"/>
              <a:ext cx="331234" cy="521336"/>
            </a:xfrm>
            <a:custGeom>
              <a:avLst/>
              <a:gdLst>
                <a:gd name="T0" fmla="*/ 50 w 506"/>
                <a:gd name="T1" fmla="*/ 458 h 797"/>
                <a:gd name="T2" fmla="*/ 50 w 506"/>
                <a:gd name="T3" fmla="*/ 458 h 797"/>
                <a:gd name="T4" fmla="*/ 302 w 506"/>
                <a:gd name="T5" fmla="*/ 763 h 797"/>
                <a:gd name="T6" fmla="*/ 302 w 506"/>
                <a:gd name="T7" fmla="*/ 763 h 797"/>
                <a:gd name="T8" fmla="*/ 455 w 506"/>
                <a:gd name="T9" fmla="*/ 250 h 797"/>
                <a:gd name="T10" fmla="*/ 455 w 506"/>
                <a:gd name="T11" fmla="*/ 250 h 797"/>
                <a:gd name="T12" fmla="*/ 226 w 506"/>
                <a:gd name="T13" fmla="*/ 33 h 797"/>
                <a:gd name="T14" fmla="*/ 226 w 506"/>
                <a:gd name="T15" fmla="*/ 33 h 797"/>
                <a:gd name="T16" fmla="*/ 50 w 506"/>
                <a:gd name="T17" fmla="*/ 458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6" h="797">
                  <a:moveTo>
                    <a:pt x="50" y="458"/>
                  </a:moveTo>
                  <a:lnTo>
                    <a:pt x="50" y="458"/>
                  </a:lnTo>
                  <a:cubicBezTo>
                    <a:pt x="101" y="648"/>
                    <a:pt x="179" y="796"/>
                    <a:pt x="302" y="763"/>
                  </a:cubicBezTo>
                  <a:lnTo>
                    <a:pt x="302" y="763"/>
                  </a:lnTo>
                  <a:cubicBezTo>
                    <a:pt x="426" y="731"/>
                    <a:pt x="505" y="440"/>
                    <a:pt x="455" y="250"/>
                  </a:cubicBezTo>
                  <a:lnTo>
                    <a:pt x="455" y="250"/>
                  </a:lnTo>
                  <a:cubicBezTo>
                    <a:pt x="405" y="59"/>
                    <a:pt x="349" y="0"/>
                    <a:pt x="226" y="33"/>
                  </a:cubicBezTo>
                  <a:lnTo>
                    <a:pt x="226" y="33"/>
                  </a:lnTo>
                  <a:cubicBezTo>
                    <a:pt x="103" y="66"/>
                    <a:pt x="0" y="268"/>
                    <a:pt x="50" y="458"/>
                  </a:cubicBezTo>
                </a:path>
              </a:pathLst>
            </a:custGeom>
            <a:solidFill>
              <a:srgbClr val="EDCDA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263364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42" name="Freeform 173">
              <a:extLst>
                <a:ext uri="{FF2B5EF4-FFF2-40B4-BE49-F238E27FC236}">
                  <a16:creationId xmlns:a16="http://schemas.microsoft.com/office/drawing/2014/main" id="{AAD3067A-1ED0-474D-9629-88F30AC9C0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37618" y="4222524"/>
              <a:ext cx="357157" cy="521336"/>
            </a:xfrm>
            <a:custGeom>
              <a:avLst/>
              <a:gdLst>
                <a:gd name="T0" fmla="*/ 50 w 545"/>
                <a:gd name="T1" fmla="*/ 457 h 796"/>
                <a:gd name="T2" fmla="*/ 50 w 545"/>
                <a:gd name="T3" fmla="*/ 457 h 796"/>
                <a:gd name="T4" fmla="*/ 302 w 545"/>
                <a:gd name="T5" fmla="*/ 763 h 796"/>
                <a:gd name="T6" fmla="*/ 302 w 545"/>
                <a:gd name="T7" fmla="*/ 763 h 796"/>
                <a:gd name="T8" fmla="*/ 494 w 545"/>
                <a:gd name="T9" fmla="*/ 266 h 796"/>
                <a:gd name="T10" fmla="*/ 494 w 545"/>
                <a:gd name="T11" fmla="*/ 266 h 796"/>
                <a:gd name="T12" fmla="*/ 226 w 545"/>
                <a:gd name="T13" fmla="*/ 32 h 796"/>
                <a:gd name="T14" fmla="*/ 226 w 545"/>
                <a:gd name="T15" fmla="*/ 32 h 796"/>
                <a:gd name="T16" fmla="*/ 50 w 545"/>
                <a:gd name="T17" fmla="*/ 457 h 7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5" h="796">
                  <a:moveTo>
                    <a:pt x="50" y="457"/>
                  </a:moveTo>
                  <a:lnTo>
                    <a:pt x="50" y="457"/>
                  </a:lnTo>
                  <a:cubicBezTo>
                    <a:pt x="100" y="647"/>
                    <a:pt x="178" y="795"/>
                    <a:pt x="302" y="763"/>
                  </a:cubicBezTo>
                  <a:lnTo>
                    <a:pt x="302" y="763"/>
                  </a:lnTo>
                  <a:cubicBezTo>
                    <a:pt x="425" y="730"/>
                    <a:pt x="544" y="456"/>
                    <a:pt x="494" y="266"/>
                  </a:cubicBezTo>
                  <a:lnTo>
                    <a:pt x="494" y="266"/>
                  </a:lnTo>
                  <a:cubicBezTo>
                    <a:pt x="444" y="76"/>
                    <a:pt x="348" y="0"/>
                    <a:pt x="226" y="32"/>
                  </a:cubicBezTo>
                  <a:lnTo>
                    <a:pt x="226" y="32"/>
                  </a:lnTo>
                  <a:cubicBezTo>
                    <a:pt x="102" y="65"/>
                    <a:pt x="0" y="267"/>
                    <a:pt x="50" y="457"/>
                  </a:cubicBezTo>
                </a:path>
              </a:pathLst>
            </a:custGeom>
            <a:solidFill>
              <a:srgbClr val="FCE3C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263364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43" name="Freeform 174">
              <a:extLst>
                <a:ext uri="{FF2B5EF4-FFF2-40B4-BE49-F238E27FC236}">
                  <a16:creationId xmlns:a16="http://schemas.microsoft.com/office/drawing/2014/main" id="{FDC37106-6FD9-A54C-BB4A-46D826D9BF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14113" y="11578816"/>
              <a:ext cx="1316297" cy="843930"/>
            </a:xfrm>
            <a:custGeom>
              <a:avLst/>
              <a:gdLst>
                <a:gd name="T0" fmla="*/ 1887 w 2016"/>
                <a:gd name="T1" fmla="*/ 1128 h 1293"/>
                <a:gd name="T2" fmla="*/ 1887 w 2016"/>
                <a:gd name="T3" fmla="*/ 1128 h 1293"/>
                <a:gd name="T4" fmla="*/ 1907 w 2016"/>
                <a:gd name="T5" fmla="*/ 843 h 1293"/>
                <a:gd name="T6" fmla="*/ 531 w 2016"/>
                <a:gd name="T7" fmla="*/ 8 h 1293"/>
                <a:gd name="T8" fmla="*/ 531 w 2016"/>
                <a:gd name="T9" fmla="*/ 8 h 1293"/>
                <a:gd name="T10" fmla="*/ 491 w 2016"/>
                <a:gd name="T11" fmla="*/ 7 h 1293"/>
                <a:gd name="T12" fmla="*/ 132 w 2016"/>
                <a:gd name="T13" fmla="*/ 180 h 1293"/>
                <a:gd name="T14" fmla="*/ 132 w 2016"/>
                <a:gd name="T15" fmla="*/ 180 h 1293"/>
                <a:gd name="T16" fmla="*/ 117 w 2016"/>
                <a:gd name="T17" fmla="*/ 529 h 1293"/>
                <a:gd name="T18" fmla="*/ 117 w 2016"/>
                <a:gd name="T19" fmla="*/ 529 h 1293"/>
                <a:gd name="T20" fmla="*/ 1105 w 2016"/>
                <a:gd name="T21" fmla="*/ 1148 h 1293"/>
                <a:gd name="T22" fmla="*/ 1105 w 2016"/>
                <a:gd name="T23" fmla="*/ 1148 h 1293"/>
                <a:gd name="T24" fmla="*/ 1887 w 2016"/>
                <a:gd name="T25" fmla="*/ 1128 h 1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16" h="1293">
                  <a:moveTo>
                    <a:pt x="1887" y="1128"/>
                  </a:moveTo>
                  <a:lnTo>
                    <a:pt x="1887" y="1128"/>
                  </a:lnTo>
                  <a:cubicBezTo>
                    <a:pt x="2000" y="1064"/>
                    <a:pt x="2015" y="916"/>
                    <a:pt x="1907" y="843"/>
                  </a:cubicBezTo>
                  <a:lnTo>
                    <a:pt x="531" y="8"/>
                  </a:lnTo>
                  <a:lnTo>
                    <a:pt x="531" y="8"/>
                  </a:lnTo>
                  <a:cubicBezTo>
                    <a:pt x="519" y="1"/>
                    <a:pt x="503" y="0"/>
                    <a:pt x="491" y="7"/>
                  </a:cubicBezTo>
                  <a:lnTo>
                    <a:pt x="132" y="180"/>
                  </a:lnTo>
                  <a:lnTo>
                    <a:pt x="132" y="180"/>
                  </a:lnTo>
                  <a:cubicBezTo>
                    <a:pt x="0" y="244"/>
                    <a:pt x="7" y="434"/>
                    <a:pt x="117" y="529"/>
                  </a:cubicBezTo>
                  <a:lnTo>
                    <a:pt x="117" y="529"/>
                  </a:lnTo>
                  <a:cubicBezTo>
                    <a:pt x="315" y="700"/>
                    <a:pt x="573" y="917"/>
                    <a:pt x="1105" y="1148"/>
                  </a:cubicBezTo>
                  <a:lnTo>
                    <a:pt x="1105" y="1148"/>
                  </a:lnTo>
                  <a:cubicBezTo>
                    <a:pt x="1370" y="1263"/>
                    <a:pt x="1603" y="1292"/>
                    <a:pt x="1887" y="1128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44" name="Freeform 175">
              <a:extLst>
                <a:ext uri="{FF2B5EF4-FFF2-40B4-BE49-F238E27FC236}">
                  <a16:creationId xmlns:a16="http://schemas.microsoft.com/office/drawing/2014/main" id="{5EAB8D9F-434E-9D45-8FB3-B25137052D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31395" y="11382956"/>
              <a:ext cx="1270212" cy="1002345"/>
            </a:xfrm>
            <a:custGeom>
              <a:avLst/>
              <a:gdLst>
                <a:gd name="T0" fmla="*/ 1898 w 1945"/>
                <a:gd name="T1" fmla="*/ 1202 h 1533"/>
                <a:gd name="T2" fmla="*/ 1898 w 1945"/>
                <a:gd name="T3" fmla="*/ 1202 h 1533"/>
                <a:gd name="T4" fmla="*/ 1759 w 1945"/>
                <a:gd name="T5" fmla="*/ 539 h 1533"/>
                <a:gd name="T6" fmla="*/ 1759 w 1945"/>
                <a:gd name="T7" fmla="*/ 539 h 1533"/>
                <a:gd name="T8" fmla="*/ 1326 w 1945"/>
                <a:gd name="T9" fmla="*/ 432 h 1533"/>
                <a:gd name="T10" fmla="*/ 1326 w 1945"/>
                <a:gd name="T11" fmla="*/ 432 h 1533"/>
                <a:gd name="T12" fmla="*/ 128 w 1945"/>
                <a:gd name="T13" fmla="*/ 258 h 1533"/>
                <a:gd name="T14" fmla="*/ 128 w 1945"/>
                <a:gd name="T15" fmla="*/ 258 h 1533"/>
                <a:gd name="T16" fmla="*/ 76 w 1945"/>
                <a:gd name="T17" fmla="*/ 687 h 1533"/>
                <a:gd name="T18" fmla="*/ 76 w 1945"/>
                <a:gd name="T19" fmla="*/ 687 h 1533"/>
                <a:gd name="T20" fmla="*/ 1229 w 1945"/>
                <a:gd name="T21" fmla="*/ 1441 h 1533"/>
                <a:gd name="T22" fmla="*/ 1229 w 1945"/>
                <a:gd name="T23" fmla="*/ 1441 h 1533"/>
                <a:gd name="T24" fmla="*/ 1898 w 1945"/>
                <a:gd name="T25" fmla="*/ 1202 h 1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45" h="1533">
                  <a:moveTo>
                    <a:pt x="1898" y="1202"/>
                  </a:moveTo>
                  <a:lnTo>
                    <a:pt x="1898" y="1202"/>
                  </a:lnTo>
                  <a:cubicBezTo>
                    <a:pt x="1887" y="1155"/>
                    <a:pt x="1927" y="678"/>
                    <a:pt x="1759" y="539"/>
                  </a:cubicBezTo>
                  <a:lnTo>
                    <a:pt x="1759" y="539"/>
                  </a:lnTo>
                  <a:cubicBezTo>
                    <a:pt x="1666" y="461"/>
                    <a:pt x="1467" y="442"/>
                    <a:pt x="1326" y="432"/>
                  </a:cubicBezTo>
                  <a:lnTo>
                    <a:pt x="1326" y="432"/>
                  </a:lnTo>
                  <a:cubicBezTo>
                    <a:pt x="1027" y="412"/>
                    <a:pt x="364" y="0"/>
                    <a:pt x="128" y="258"/>
                  </a:cubicBezTo>
                  <a:lnTo>
                    <a:pt x="128" y="258"/>
                  </a:lnTo>
                  <a:cubicBezTo>
                    <a:pt x="0" y="399"/>
                    <a:pt x="51" y="639"/>
                    <a:pt x="76" y="687"/>
                  </a:cubicBezTo>
                  <a:lnTo>
                    <a:pt x="76" y="687"/>
                  </a:lnTo>
                  <a:cubicBezTo>
                    <a:pt x="188" y="903"/>
                    <a:pt x="1015" y="1382"/>
                    <a:pt x="1229" y="1441"/>
                  </a:cubicBezTo>
                  <a:lnTo>
                    <a:pt x="1229" y="1441"/>
                  </a:lnTo>
                  <a:cubicBezTo>
                    <a:pt x="1557" y="1532"/>
                    <a:pt x="1944" y="1413"/>
                    <a:pt x="1898" y="1202"/>
                  </a:cubicBezTo>
                </a:path>
              </a:pathLst>
            </a:custGeom>
            <a:solidFill>
              <a:schemeClr val="accent5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45" name="Freeform 176">
              <a:extLst>
                <a:ext uri="{FF2B5EF4-FFF2-40B4-BE49-F238E27FC236}">
                  <a16:creationId xmlns:a16="http://schemas.microsoft.com/office/drawing/2014/main" id="{4186683F-38CB-3C46-BF62-C71449D392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218165" y="8326957"/>
              <a:ext cx="996585" cy="3747273"/>
            </a:xfrm>
            <a:custGeom>
              <a:avLst/>
              <a:gdLst>
                <a:gd name="T0" fmla="*/ 313 w 1524"/>
                <a:gd name="T1" fmla="*/ 5215 h 5738"/>
                <a:gd name="T2" fmla="*/ 313 w 1524"/>
                <a:gd name="T3" fmla="*/ 5215 h 5738"/>
                <a:gd name="T4" fmla="*/ 125 w 1524"/>
                <a:gd name="T5" fmla="*/ 918 h 5738"/>
                <a:gd name="T6" fmla="*/ 125 w 1524"/>
                <a:gd name="T7" fmla="*/ 918 h 5738"/>
                <a:gd name="T8" fmla="*/ 1147 w 1524"/>
                <a:gd name="T9" fmla="*/ 20 h 5738"/>
                <a:gd name="T10" fmla="*/ 1147 w 1524"/>
                <a:gd name="T11" fmla="*/ 20 h 5738"/>
                <a:gd name="T12" fmla="*/ 1439 w 1524"/>
                <a:gd name="T13" fmla="*/ 1773 h 5738"/>
                <a:gd name="T14" fmla="*/ 1126 w 1524"/>
                <a:gd name="T15" fmla="*/ 5570 h 5738"/>
                <a:gd name="T16" fmla="*/ 1126 w 1524"/>
                <a:gd name="T17" fmla="*/ 5570 h 5738"/>
                <a:gd name="T18" fmla="*/ 313 w 1524"/>
                <a:gd name="T19" fmla="*/ 5215 h 57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24" h="5738">
                  <a:moveTo>
                    <a:pt x="313" y="5215"/>
                  </a:moveTo>
                  <a:lnTo>
                    <a:pt x="313" y="5215"/>
                  </a:lnTo>
                  <a:cubicBezTo>
                    <a:pt x="313" y="5215"/>
                    <a:pt x="0" y="1627"/>
                    <a:pt x="125" y="918"/>
                  </a:cubicBezTo>
                  <a:lnTo>
                    <a:pt x="125" y="918"/>
                  </a:lnTo>
                  <a:cubicBezTo>
                    <a:pt x="250" y="208"/>
                    <a:pt x="772" y="0"/>
                    <a:pt x="1147" y="20"/>
                  </a:cubicBezTo>
                  <a:lnTo>
                    <a:pt x="1147" y="20"/>
                  </a:lnTo>
                  <a:cubicBezTo>
                    <a:pt x="1523" y="42"/>
                    <a:pt x="1439" y="1773"/>
                    <a:pt x="1439" y="1773"/>
                  </a:cubicBezTo>
                  <a:lnTo>
                    <a:pt x="1126" y="5570"/>
                  </a:lnTo>
                  <a:lnTo>
                    <a:pt x="1126" y="5570"/>
                  </a:lnTo>
                  <a:cubicBezTo>
                    <a:pt x="1126" y="5570"/>
                    <a:pt x="667" y="5737"/>
                    <a:pt x="313" y="5215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46" name="Freeform 177">
              <a:extLst>
                <a:ext uri="{FF2B5EF4-FFF2-40B4-BE49-F238E27FC236}">
                  <a16:creationId xmlns:a16="http://schemas.microsoft.com/office/drawing/2014/main" id="{21F9BA7B-2B61-E245-BFB6-6A3C3F3136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448054" y="8960623"/>
              <a:ext cx="849688" cy="2367609"/>
            </a:xfrm>
            <a:custGeom>
              <a:avLst/>
              <a:gdLst>
                <a:gd name="T0" fmla="*/ 0 w 1303"/>
                <a:gd name="T1" fmla="*/ 0 h 3623"/>
                <a:gd name="T2" fmla="*/ 0 w 1303"/>
                <a:gd name="T3" fmla="*/ 0 h 3623"/>
                <a:gd name="T4" fmla="*/ 204 w 1303"/>
                <a:gd name="T5" fmla="*/ 3100 h 3623"/>
                <a:gd name="T6" fmla="*/ 204 w 1303"/>
                <a:gd name="T7" fmla="*/ 3100 h 3623"/>
                <a:gd name="T8" fmla="*/ 1018 w 1303"/>
                <a:gd name="T9" fmla="*/ 3454 h 3623"/>
                <a:gd name="T10" fmla="*/ 1302 w 1303"/>
                <a:gd name="T11" fmla="*/ 0 h 3623"/>
                <a:gd name="T12" fmla="*/ 0 w 1303"/>
                <a:gd name="T13" fmla="*/ 0 h 3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3" h="3623">
                  <a:moveTo>
                    <a:pt x="0" y="0"/>
                  </a:moveTo>
                  <a:lnTo>
                    <a:pt x="0" y="0"/>
                  </a:lnTo>
                  <a:cubicBezTo>
                    <a:pt x="47" y="1302"/>
                    <a:pt x="204" y="3100"/>
                    <a:pt x="204" y="3100"/>
                  </a:cubicBezTo>
                  <a:lnTo>
                    <a:pt x="204" y="3100"/>
                  </a:lnTo>
                  <a:cubicBezTo>
                    <a:pt x="559" y="3622"/>
                    <a:pt x="1018" y="3454"/>
                    <a:pt x="1018" y="3454"/>
                  </a:cubicBezTo>
                  <a:lnTo>
                    <a:pt x="1302" y="0"/>
                  </a:lnTo>
                  <a:lnTo>
                    <a:pt x="0" y="0"/>
                  </a:ln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47" name="Freeform 178">
              <a:extLst>
                <a:ext uri="{FF2B5EF4-FFF2-40B4-BE49-F238E27FC236}">
                  <a16:creationId xmlns:a16="http://schemas.microsoft.com/office/drawing/2014/main" id="{6B859A88-F3BA-8D45-AB6E-1B5898B456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912319" y="8315436"/>
              <a:ext cx="3793357" cy="2344566"/>
            </a:xfrm>
            <a:custGeom>
              <a:avLst/>
              <a:gdLst>
                <a:gd name="T0" fmla="*/ 0 w 5809"/>
                <a:gd name="T1" fmla="*/ 63 h 3590"/>
                <a:gd name="T2" fmla="*/ 0 w 5809"/>
                <a:gd name="T3" fmla="*/ 63 h 3590"/>
                <a:gd name="T4" fmla="*/ 709 w 5809"/>
                <a:gd name="T5" fmla="*/ 187 h 3590"/>
                <a:gd name="T6" fmla="*/ 709 w 5809"/>
                <a:gd name="T7" fmla="*/ 187 h 3590"/>
                <a:gd name="T8" fmla="*/ 4193 w 5809"/>
                <a:gd name="T9" fmla="*/ 1564 h 3590"/>
                <a:gd name="T10" fmla="*/ 5505 w 5809"/>
                <a:gd name="T11" fmla="*/ 873 h 3590"/>
                <a:gd name="T12" fmla="*/ 5505 w 5809"/>
                <a:gd name="T13" fmla="*/ 873 h 3590"/>
                <a:gd name="T14" fmla="*/ 4129 w 5809"/>
                <a:gd name="T15" fmla="*/ 3491 h 3590"/>
                <a:gd name="T16" fmla="*/ 4129 w 5809"/>
                <a:gd name="T17" fmla="*/ 3491 h 3590"/>
                <a:gd name="T18" fmla="*/ 1440 w 5809"/>
                <a:gd name="T19" fmla="*/ 2817 h 3590"/>
                <a:gd name="T20" fmla="*/ 1440 w 5809"/>
                <a:gd name="T21" fmla="*/ 2817 h 3590"/>
                <a:gd name="T22" fmla="*/ 0 w 5809"/>
                <a:gd name="T23" fmla="*/ 1982 h 3590"/>
                <a:gd name="T24" fmla="*/ 0 w 5809"/>
                <a:gd name="T25" fmla="*/ 63 h 3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809" h="3590">
                  <a:moveTo>
                    <a:pt x="0" y="63"/>
                  </a:moveTo>
                  <a:lnTo>
                    <a:pt x="0" y="63"/>
                  </a:lnTo>
                  <a:cubicBezTo>
                    <a:pt x="0" y="63"/>
                    <a:pt x="187" y="0"/>
                    <a:pt x="709" y="187"/>
                  </a:cubicBezTo>
                  <a:lnTo>
                    <a:pt x="709" y="187"/>
                  </a:lnTo>
                  <a:cubicBezTo>
                    <a:pt x="1230" y="376"/>
                    <a:pt x="4193" y="1564"/>
                    <a:pt x="4193" y="1564"/>
                  </a:cubicBezTo>
                  <a:lnTo>
                    <a:pt x="5505" y="873"/>
                  </a:lnTo>
                  <a:lnTo>
                    <a:pt x="5505" y="873"/>
                  </a:lnTo>
                  <a:cubicBezTo>
                    <a:pt x="5808" y="3249"/>
                    <a:pt x="4701" y="3285"/>
                    <a:pt x="4129" y="3491"/>
                  </a:cubicBezTo>
                  <a:lnTo>
                    <a:pt x="4129" y="3491"/>
                  </a:lnTo>
                  <a:cubicBezTo>
                    <a:pt x="3856" y="3589"/>
                    <a:pt x="1919" y="3004"/>
                    <a:pt x="1440" y="2817"/>
                  </a:cubicBezTo>
                  <a:lnTo>
                    <a:pt x="1440" y="2817"/>
                  </a:lnTo>
                  <a:cubicBezTo>
                    <a:pt x="960" y="2628"/>
                    <a:pt x="0" y="1982"/>
                    <a:pt x="0" y="1982"/>
                  </a:cubicBezTo>
                  <a:lnTo>
                    <a:pt x="0" y="63"/>
                  </a:ln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48" name="Freeform 179">
              <a:extLst>
                <a:ext uri="{FF2B5EF4-FFF2-40B4-BE49-F238E27FC236}">
                  <a16:creationId xmlns:a16="http://schemas.microsoft.com/office/drawing/2014/main" id="{715198E5-84F8-3446-AC78-E6369A0919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73891" y="4838910"/>
              <a:ext cx="2494342" cy="4787063"/>
            </a:xfrm>
            <a:custGeom>
              <a:avLst/>
              <a:gdLst>
                <a:gd name="T0" fmla="*/ 2042 w 3817"/>
                <a:gd name="T1" fmla="*/ 348 h 7331"/>
                <a:gd name="T2" fmla="*/ 2042 w 3817"/>
                <a:gd name="T3" fmla="*/ 348 h 7331"/>
                <a:gd name="T4" fmla="*/ 169 w 3817"/>
                <a:gd name="T5" fmla="*/ 1603 h 7331"/>
                <a:gd name="T6" fmla="*/ 169 w 3817"/>
                <a:gd name="T7" fmla="*/ 1603 h 7331"/>
                <a:gd name="T8" fmla="*/ 97 w 3817"/>
                <a:gd name="T9" fmla="*/ 6642 h 7331"/>
                <a:gd name="T10" fmla="*/ 97 w 3817"/>
                <a:gd name="T11" fmla="*/ 6642 h 7331"/>
                <a:gd name="T12" fmla="*/ 335 w 3817"/>
                <a:gd name="T13" fmla="*/ 7007 h 7331"/>
                <a:gd name="T14" fmla="*/ 335 w 3817"/>
                <a:gd name="T15" fmla="*/ 7007 h 7331"/>
                <a:gd name="T16" fmla="*/ 1657 w 3817"/>
                <a:gd name="T17" fmla="*/ 7262 h 7331"/>
                <a:gd name="T18" fmla="*/ 1657 w 3817"/>
                <a:gd name="T19" fmla="*/ 7262 h 7331"/>
                <a:gd name="T20" fmla="*/ 3402 w 3817"/>
                <a:gd name="T21" fmla="*/ 6517 h 7331"/>
                <a:gd name="T22" fmla="*/ 3402 w 3817"/>
                <a:gd name="T23" fmla="*/ 6517 h 7331"/>
                <a:gd name="T24" fmla="*/ 3743 w 3817"/>
                <a:gd name="T25" fmla="*/ 5819 h 7331"/>
                <a:gd name="T26" fmla="*/ 3743 w 3817"/>
                <a:gd name="T27" fmla="*/ 5819 h 7331"/>
                <a:gd name="T28" fmla="*/ 3592 w 3817"/>
                <a:gd name="T29" fmla="*/ 1579 h 7331"/>
                <a:gd name="T30" fmla="*/ 3592 w 3817"/>
                <a:gd name="T31" fmla="*/ 1579 h 7331"/>
                <a:gd name="T32" fmla="*/ 2042 w 3817"/>
                <a:gd name="T33" fmla="*/ 348 h 7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817" h="7331">
                  <a:moveTo>
                    <a:pt x="2042" y="348"/>
                  </a:moveTo>
                  <a:lnTo>
                    <a:pt x="2042" y="348"/>
                  </a:lnTo>
                  <a:cubicBezTo>
                    <a:pt x="572" y="744"/>
                    <a:pt x="169" y="1603"/>
                    <a:pt x="169" y="1603"/>
                  </a:cubicBezTo>
                  <a:lnTo>
                    <a:pt x="169" y="1603"/>
                  </a:lnTo>
                  <a:cubicBezTo>
                    <a:pt x="0" y="3857"/>
                    <a:pt x="67" y="5375"/>
                    <a:pt x="97" y="6642"/>
                  </a:cubicBezTo>
                  <a:lnTo>
                    <a:pt x="97" y="6642"/>
                  </a:lnTo>
                  <a:cubicBezTo>
                    <a:pt x="101" y="6798"/>
                    <a:pt x="194" y="6940"/>
                    <a:pt x="335" y="7007"/>
                  </a:cubicBezTo>
                  <a:lnTo>
                    <a:pt x="335" y="7007"/>
                  </a:lnTo>
                  <a:cubicBezTo>
                    <a:pt x="606" y="7137"/>
                    <a:pt x="1095" y="7330"/>
                    <a:pt x="1657" y="7262"/>
                  </a:cubicBezTo>
                  <a:lnTo>
                    <a:pt x="1657" y="7262"/>
                  </a:lnTo>
                  <a:cubicBezTo>
                    <a:pt x="2579" y="7152"/>
                    <a:pt x="3218" y="6687"/>
                    <a:pt x="3402" y="6517"/>
                  </a:cubicBezTo>
                  <a:lnTo>
                    <a:pt x="3402" y="6517"/>
                  </a:lnTo>
                  <a:cubicBezTo>
                    <a:pt x="3506" y="6420"/>
                    <a:pt x="3733" y="6173"/>
                    <a:pt x="3743" y="5819"/>
                  </a:cubicBezTo>
                  <a:lnTo>
                    <a:pt x="3743" y="5819"/>
                  </a:lnTo>
                  <a:cubicBezTo>
                    <a:pt x="3765" y="5048"/>
                    <a:pt x="3816" y="3387"/>
                    <a:pt x="3592" y="1579"/>
                  </a:cubicBezTo>
                  <a:lnTo>
                    <a:pt x="3592" y="1579"/>
                  </a:lnTo>
                  <a:cubicBezTo>
                    <a:pt x="3592" y="1300"/>
                    <a:pt x="3334" y="0"/>
                    <a:pt x="2042" y="348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49" name="Freeform 180">
              <a:extLst>
                <a:ext uri="{FF2B5EF4-FFF2-40B4-BE49-F238E27FC236}">
                  <a16:creationId xmlns:a16="http://schemas.microsoft.com/office/drawing/2014/main" id="{C29675B9-25A3-0C45-AFD6-3E833AB054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93242" y="5682838"/>
              <a:ext cx="1002345" cy="2039254"/>
            </a:xfrm>
            <a:custGeom>
              <a:avLst/>
              <a:gdLst>
                <a:gd name="T0" fmla="*/ 931 w 1533"/>
                <a:gd name="T1" fmla="*/ 68 h 3120"/>
                <a:gd name="T2" fmla="*/ 931 w 1533"/>
                <a:gd name="T3" fmla="*/ 68 h 3120"/>
                <a:gd name="T4" fmla="*/ 189 w 1533"/>
                <a:gd name="T5" fmla="*/ 381 h 3120"/>
                <a:gd name="T6" fmla="*/ 189 w 1533"/>
                <a:gd name="T7" fmla="*/ 381 h 3120"/>
                <a:gd name="T8" fmla="*/ 183 w 1533"/>
                <a:gd name="T9" fmla="*/ 565 h 3120"/>
                <a:gd name="T10" fmla="*/ 183 w 1533"/>
                <a:gd name="T11" fmla="*/ 3119 h 3120"/>
                <a:gd name="T12" fmla="*/ 183 w 1533"/>
                <a:gd name="T13" fmla="*/ 3119 h 3120"/>
                <a:gd name="T14" fmla="*/ 1347 w 1533"/>
                <a:gd name="T15" fmla="*/ 966 h 3120"/>
                <a:gd name="T16" fmla="*/ 1347 w 1533"/>
                <a:gd name="T17" fmla="*/ 966 h 3120"/>
                <a:gd name="T18" fmla="*/ 931 w 1533"/>
                <a:gd name="T19" fmla="*/ 68 h 3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33" h="3120">
                  <a:moveTo>
                    <a:pt x="931" y="68"/>
                  </a:moveTo>
                  <a:lnTo>
                    <a:pt x="931" y="68"/>
                  </a:lnTo>
                  <a:cubicBezTo>
                    <a:pt x="708" y="0"/>
                    <a:pt x="318" y="185"/>
                    <a:pt x="189" y="381"/>
                  </a:cubicBezTo>
                  <a:lnTo>
                    <a:pt x="189" y="381"/>
                  </a:lnTo>
                  <a:cubicBezTo>
                    <a:pt x="94" y="496"/>
                    <a:pt x="0" y="611"/>
                    <a:pt x="183" y="565"/>
                  </a:cubicBezTo>
                  <a:lnTo>
                    <a:pt x="183" y="3119"/>
                  </a:lnTo>
                  <a:lnTo>
                    <a:pt x="183" y="3119"/>
                  </a:lnTo>
                  <a:cubicBezTo>
                    <a:pt x="613" y="2579"/>
                    <a:pt x="998" y="1619"/>
                    <a:pt x="1347" y="966"/>
                  </a:cubicBezTo>
                  <a:lnTo>
                    <a:pt x="1347" y="966"/>
                  </a:lnTo>
                  <a:cubicBezTo>
                    <a:pt x="1532" y="621"/>
                    <a:pt x="1306" y="181"/>
                    <a:pt x="931" y="68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50" name="Freeform 181">
              <a:extLst>
                <a:ext uri="{FF2B5EF4-FFF2-40B4-BE49-F238E27FC236}">
                  <a16:creationId xmlns:a16="http://schemas.microsoft.com/office/drawing/2014/main" id="{28A551E2-E99B-D843-90C5-3D93AF3341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96830" y="6788875"/>
              <a:ext cx="1575525" cy="1229888"/>
            </a:xfrm>
            <a:custGeom>
              <a:avLst/>
              <a:gdLst>
                <a:gd name="T0" fmla="*/ 2411 w 2412"/>
                <a:gd name="T1" fmla="*/ 1132 h 1884"/>
                <a:gd name="T2" fmla="*/ 2411 w 2412"/>
                <a:gd name="T3" fmla="*/ 1132 h 1884"/>
                <a:gd name="T4" fmla="*/ 213 w 2412"/>
                <a:gd name="T5" fmla="*/ 0 h 1884"/>
                <a:gd name="T6" fmla="*/ 0 w 2412"/>
                <a:gd name="T7" fmla="*/ 326 h 1884"/>
                <a:gd name="T8" fmla="*/ 0 w 2412"/>
                <a:gd name="T9" fmla="*/ 326 h 1884"/>
                <a:gd name="T10" fmla="*/ 2284 w 2412"/>
                <a:gd name="T11" fmla="*/ 1883 h 1884"/>
                <a:gd name="T12" fmla="*/ 2411 w 2412"/>
                <a:gd name="T13" fmla="*/ 1132 h 1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12" h="1884">
                  <a:moveTo>
                    <a:pt x="2411" y="1132"/>
                  </a:moveTo>
                  <a:lnTo>
                    <a:pt x="2411" y="1132"/>
                  </a:lnTo>
                  <a:cubicBezTo>
                    <a:pt x="2411" y="1132"/>
                    <a:pt x="504" y="278"/>
                    <a:pt x="213" y="0"/>
                  </a:cubicBezTo>
                  <a:lnTo>
                    <a:pt x="0" y="326"/>
                  </a:lnTo>
                  <a:lnTo>
                    <a:pt x="0" y="326"/>
                  </a:lnTo>
                  <a:cubicBezTo>
                    <a:pt x="0" y="326"/>
                    <a:pt x="862" y="1464"/>
                    <a:pt x="2284" y="1883"/>
                  </a:cubicBezTo>
                  <a:lnTo>
                    <a:pt x="2411" y="1132"/>
                  </a:lnTo>
                </a:path>
              </a:pathLst>
            </a:custGeom>
            <a:solidFill>
              <a:srgbClr val="FCE3C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263364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51" name="Freeform 182">
              <a:extLst>
                <a:ext uri="{FF2B5EF4-FFF2-40B4-BE49-F238E27FC236}">
                  <a16:creationId xmlns:a16="http://schemas.microsoft.com/office/drawing/2014/main" id="{F1C72375-DE25-1842-BABB-389AF6F360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51555" y="6872403"/>
              <a:ext cx="1670575" cy="1241411"/>
            </a:xfrm>
            <a:custGeom>
              <a:avLst/>
              <a:gdLst>
                <a:gd name="T0" fmla="*/ 2558 w 2559"/>
                <a:gd name="T1" fmla="*/ 301 h 1901"/>
                <a:gd name="T2" fmla="*/ 2558 w 2559"/>
                <a:gd name="T3" fmla="*/ 301 h 1901"/>
                <a:gd name="T4" fmla="*/ 2115 w 2559"/>
                <a:gd name="T5" fmla="*/ 649 h 1901"/>
                <a:gd name="T6" fmla="*/ 2115 w 2559"/>
                <a:gd name="T7" fmla="*/ 649 h 1901"/>
                <a:gd name="T8" fmla="*/ 367 w 2559"/>
                <a:gd name="T9" fmla="*/ 0 h 1901"/>
                <a:gd name="T10" fmla="*/ 367 w 2559"/>
                <a:gd name="T11" fmla="*/ 0 h 1901"/>
                <a:gd name="T12" fmla="*/ 23 w 2559"/>
                <a:gd name="T13" fmla="*/ 356 h 1901"/>
                <a:gd name="T14" fmla="*/ 23 w 2559"/>
                <a:gd name="T15" fmla="*/ 356 h 1901"/>
                <a:gd name="T16" fmla="*/ 70 w 2559"/>
                <a:gd name="T17" fmla="*/ 550 h 1901"/>
                <a:gd name="T18" fmla="*/ 70 w 2559"/>
                <a:gd name="T19" fmla="*/ 550 h 1901"/>
                <a:gd name="T20" fmla="*/ 2360 w 2559"/>
                <a:gd name="T21" fmla="*/ 1900 h 1901"/>
                <a:gd name="T22" fmla="*/ 2558 w 2559"/>
                <a:gd name="T23" fmla="*/ 301 h 1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9" h="1901">
                  <a:moveTo>
                    <a:pt x="2558" y="301"/>
                  </a:moveTo>
                  <a:lnTo>
                    <a:pt x="2558" y="301"/>
                  </a:lnTo>
                  <a:cubicBezTo>
                    <a:pt x="2472" y="646"/>
                    <a:pt x="2320" y="733"/>
                    <a:pt x="2115" y="649"/>
                  </a:cubicBezTo>
                  <a:lnTo>
                    <a:pt x="2115" y="649"/>
                  </a:lnTo>
                  <a:cubicBezTo>
                    <a:pt x="1553" y="420"/>
                    <a:pt x="667" y="200"/>
                    <a:pt x="367" y="0"/>
                  </a:cubicBezTo>
                  <a:lnTo>
                    <a:pt x="367" y="0"/>
                  </a:lnTo>
                  <a:cubicBezTo>
                    <a:pt x="202" y="82"/>
                    <a:pt x="71" y="210"/>
                    <a:pt x="23" y="356"/>
                  </a:cubicBezTo>
                  <a:lnTo>
                    <a:pt x="23" y="356"/>
                  </a:lnTo>
                  <a:cubicBezTo>
                    <a:pt x="0" y="424"/>
                    <a:pt x="20" y="499"/>
                    <a:pt x="70" y="550"/>
                  </a:cubicBezTo>
                  <a:lnTo>
                    <a:pt x="70" y="550"/>
                  </a:lnTo>
                  <a:cubicBezTo>
                    <a:pt x="328" y="812"/>
                    <a:pt x="1285" y="1715"/>
                    <a:pt x="2360" y="1900"/>
                  </a:cubicBezTo>
                  <a:lnTo>
                    <a:pt x="2558" y="301"/>
                  </a:ln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52" name="Freeform 183">
              <a:extLst>
                <a:ext uri="{FF2B5EF4-FFF2-40B4-BE49-F238E27FC236}">
                  <a16:creationId xmlns:a16="http://schemas.microsoft.com/office/drawing/2014/main" id="{7AC399B0-DC73-084D-995C-A97F9A1A11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145621" y="5682839"/>
              <a:ext cx="1949966" cy="2482821"/>
            </a:xfrm>
            <a:custGeom>
              <a:avLst/>
              <a:gdLst>
                <a:gd name="T0" fmla="*/ 254 w 2984"/>
                <a:gd name="T1" fmla="*/ 2547 h 3803"/>
                <a:gd name="T2" fmla="*/ 254 w 2984"/>
                <a:gd name="T3" fmla="*/ 2547 h 3803"/>
                <a:gd name="T4" fmla="*/ 1640 w 2984"/>
                <a:gd name="T5" fmla="*/ 381 h 3803"/>
                <a:gd name="T6" fmla="*/ 1640 w 2984"/>
                <a:gd name="T7" fmla="*/ 381 h 3803"/>
                <a:gd name="T8" fmla="*/ 2382 w 2984"/>
                <a:gd name="T9" fmla="*/ 68 h 3803"/>
                <a:gd name="T10" fmla="*/ 2382 w 2984"/>
                <a:gd name="T11" fmla="*/ 68 h 3803"/>
                <a:gd name="T12" fmla="*/ 2798 w 2984"/>
                <a:gd name="T13" fmla="*/ 966 h 3803"/>
                <a:gd name="T14" fmla="*/ 2798 w 2984"/>
                <a:gd name="T15" fmla="*/ 966 h 3803"/>
                <a:gd name="T16" fmla="*/ 0 w 2984"/>
                <a:gd name="T17" fmla="*/ 3802 h 3803"/>
                <a:gd name="T18" fmla="*/ 0 w 2984"/>
                <a:gd name="T19" fmla="*/ 3802 h 3803"/>
                <a:gd name="T20" fmla="*/ 254 w 2984"/>
                <a:gd name="T21" fmla="*/ 2547 h 38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84" h="3803">
                  <a:moveTo>
                    <a:pt x="254" y="2547"/>
                  </a:moveTo>
                  <a:lnTo>
                    <a:pt x="254" y="2547"/>
                  </a:lnTo>
                  <a:cubicBezTo>
                    <a:pt x="444" y="1919"/>
                    <a:pt x="1014" y="1136"/>
                    <a:pt x="1640" y="381"/>
                  </a:cubicBezTo>
                  <a:lnTo>
                    <a:pt x="1640" y="381"/>
                  </a:lnTo>
                  <a:cubicBezTo>
                    <a:pt x="1769" y="185"/>
                    <a:pt x="2159" y="0"/>
                    <a:pt x="2382" y="68"/>
                  </a:cubicBezTo>
                  <a:lnTo>
                    <a:pt x="2382" y="68"/>
                  </a:lnTo>
                  <a:cubicBezTo>
                    <a:pt x="2757" y="181"/>
                    <a:pt x="2983" y="621"/>
                    <a:pt x="2798" y="966"/>
                  </a:cubicBezTo>
                  <a:lnTo>
                    <a:pt x="2798" y="966"/>
                  </a:lnTo>
                  <a:cubicBezTo>
                    <a:pt x="2302" y="1891"/>
                    <a:pt x="1452" y="3257"/>
                    <a:pt x="0" y="3802"/>
                  </a:cubicBezTo>
                  <a:lnTo>
                    <a:pt x="0" y="3802"/>
                  </a:lnTo>
                  <a:cubicBezTo>
                    <a:pt x="0" y="3802"/>
                    <a:pt x="168" y="2706"/>
                    <a:pt x="254" y="2547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53" name="Freeform 184">
              <a:extLst>
                <a:ext uri="{FF2B5EF4-FFF2-40B4-BE49-F238E27FC236}">
                  <a16:creationId xmlns:a16="http://schemas.microsoft.com/office/drawing/2014/main" id="{52CFE216-DEA4-D048-B6EB-89C345262F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73426" y="6417315"/>
              <a:ext cx="665351" cy="607745"/>
            </a:xfrm>
            <a:custGeom>
              <a:avLst/>
              <a:gdLst>
                <a:gd name="T0" fmla="*/ 954 w 1017"/>
                <a:gd name="T1" fmla="*/ 662 h 929"/>
                <a:gd name="T2" fmla="*/ 954 w 1017"/>
                <a:gd name="T3" fmla="*/ 662 h 929"/>
                <a:gd name="T4" fmla="*/ 976 w 1017"/>
                <a:gd name="T5" fmla="*/ 236 h 929"/>
                <a:gd name="T6" fmla="*/ 976 w 1017"/>
                <a:gd name="T7" fmla="*/ 236 h 929"/>
                <a:gd name="T8" fmla="*/ 807 w 1017"/>
                <a:gd name="T9" fmla="*/ 223 h 929"/>
                <a:gd name="T10" fmla="*/ 807 w 1017"/>
                <a:gd name="T11" fmla="*/ 223 h 929"/>
                <a:gd name="T12" fmla="*/ 485 w 1017"/>
                <a:gd name="T13" fmla="*/ 19 h 929"/>
                <a:gd name="T14" fmla="*/ 485 w 1017"/>
                <a:gd name="T15" fmla="*/ 19 h 929"/>
                <a:gd name="T16" fmla="*/ 305 w 1017"/>
                <a:gd name="T17" fmla="*/ 108 h 929"/>
                <a:gd name="T18" fmla="*/ 305 w 1017"/>
                <a:gd name="T19" fmla="*/ 108 h 929"/>
                <a:gd name="T20" fmla="*/ 134 w 1017"/>
                <a:gd name="T21" fmla="*/ 293 h 929"/>
                <a:gd name="T22" fmla="*/ 134 w 1017"/>
                <a:gd name="T23" fmla="*/ 293 h 929"/>
                <a:gd name="T24" fmla="*/ 31 w 1017"/>
                <a:gd name="T25" fmla="*/ 418 h 929"/>
                <a:gd name="T26" fmla="*/ 31 w 1017"/>
                <a:gd name="T27" fmla="*/ 418 h 929"/>
                <a:gd name="T28" fmla="*/ 31 w 1017"/>
                <a:gd name="T29" fmla="*/ 550 h 929"/>
                <a:gd name="T30" fmla="*/ 31 w 1017"/>
                <a:gd name="T31" fmla="*/ 550 h 929"/>
                <a:gd name="T32" fmla="*/ 37 w 1017"/>
                <a:gd name="T33" fmla="*/ 669 h 929"/>
                <a:gd name="T34" fmla="*/ 37 w 1017"/>
                <a:gd name="T35" fmla="*/ 669 h 929"/>
                <a:gd name="T36" fmla="*/ 674 w 1017"/>
                <a:gd name="T37" fmla="*/ 919 h 929"/>
                <a:gd name="T38" fmla="*/ 674 w 1017"/>
                <a:gd name="T39" fmla="*/ 919 h 929"/>
                <a:gd name="T40" fmla="*/ 954 w 1017"/>
                <a:gd name="T41" fmla="*/ 662 h 9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17" h="929">
                  <a:moveTo>
                    <a:pt x="954" y="662"/>
                  </a:moveTo>
                  <a:lnTo>
                    <a:pt x="954" y="662"/>
                  </a:lnTo>
                  <a:cubicBezTo>
                    <a:pt x="954" y="662"/>
                    <a:pt x="1016" y="334"/>
                    <a:pt x="976" y="236"/>
                  </a:cubicBezTo>
                  <a:lnTo>
                    <a:pt x="976" y="236"/>
                  </a:lnTo>
                  <a:cubicBezTo>
                    <a:pt x="963" y="206"/>
                    <a:pt x="939" y="144"/>
                    <a:pt x="807" y="223"/>
                  </a:cubicBezTo>
                  <a:lnTo>
                    <a:pt x="807" y="223"/>
                  </a:lnTo>
                  <a:cubicBezTo>
                    <a:pt x="777" y="241"/>
                    <a:pt x="774" y="157"/>
                    <a:pt x="485" y="19"/>
                  </a:cubicBezTo>
                  <a:lnTo>
                    <a:pt x="485" y="19"/>
                  </a:lnTo>
                  <a:cubicBezTo>
                    <a:pt x="447" y="0"/>
                    <a:pt x="313" y="23"/>
                    <a:pt x="305" y="108"/>
                  </a:cubicBezTo>
                  <a:lnTo>
                    <a:pt x="305" y="108"/>
                  </a:lnTo>
                  <a:cubicBezTo>
                    <a:pt x="296" y="193"/>
                    <a:pt x="145" y="216"/>
                    <a:pt x="134" y="293"/>
                  </a:cubicBezTo>
                  <a:lnTo>
                    <a:pt x="134" y="293"/>
                  </a:lnTo>
                  <a:cubicBezTo>
                    <a:pt x="125" y="362"/>
                    <a:pt x="77" y="368"/>
                    <a:pt x="31" y="418"/>
                  </a:cubicBezTo>
                  <a:lnTo>
                    <a:pt x="31" y="418"/>
                  </a:lnTo>
                  <a:cubicBezTo>
                    <a:pt x="0" y="452"/>
                    <a:pt x="47" y="516"/>
                    <a:pt x="31" y="550"/>
                  </a:cubicBezTo>
                  <a:lnTo>
                    <a:pt x="31" y="550"/>
                  </a:lnTo>
                  <a:cubicBezTo>
                    <a:pt x="16" y="581"/>
                    <a:pt x="23" y="648"/>
                    <a:pt x="37" y="669"/>
                  </a:cubicBezTo>
                  <a:lnTo>
                    <a:pt x="37" y="669"/>
                  </a:lnTo>
                  <a:cubicBezTo>
                    <a:pt x="88" y="754"/>
                    <a:pt x="436" y="928"/>
                    <a:pt x="674" y="919"/>
                  </a:cubicBezTo>
                  <a:lnTo>
                    <a:pt x="674" y="919"/>
                  </a:lnTo>
                  <a:cubicBezTo>
                    <a:pt x="912" y="910"/>
                    <a:pt x="954" y="662"/>
                    <a:pt x="954" y="662"/>
                  </a:cubicBezTo>
                </a:path>
              </a:pathLst>
            </a:custGeom>
            <a:solidFill>
              <a:srgbClr val="FCE3C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263364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54" name="Freeform 185">
              <a:extLst>
                <a:ext uri="{FF2B5EF4-FFF2-40B4-BE49-F238E27FC236}">
                  <a16:creationId xmlns:a16="http://schemas.microsoft.com/office/drawing/2014/main" id="{AF863B2D-60A0-0D4C-9837-9C401B5FBC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738430" y="6198413"/>
              <a:ext cx="2629715" cy="4582562"/>
            </a:xfrm>
            <a:custGeom>
              <a:avLst/>
              <a:gdLst>
                <a:gd name="T0" fmla="*/ 3453 w 4025"/>
                <a:gd name="T1" fmla="*/ 2055 h 7014"/>
                <a:gd name="T2" fmla="*/ 3453 w 4025"/>
                <a:gd name="T3" fmla="*/ 2055 h 7014"/>
                <a:gd name="T4" fmla="*/ 3271 w 4025"/>
                <a:gd name="T5" fmla="*/ 4628 h 7014"/>
                <a:gd name="T6" fmla="*/ 3271 w 4025"/>
                <a:gd name="T7" fmla="*/ 4628 h 7014"/>
                <a:gd name="T8" fmla="*/ 1924 w 4025"/>
                <a:gd name="T9" fmla="*/ 5611 h 7014"/>
                <a:gd name="T10" fmla="*/ 1924 w 4025"/>
                <a:gd name="T11" fmla="*/ 5611 h 7014"/>
                <a:gd name="T12" fmla="*/ 1228 w 4025"/>
                <a:gd name="T13" fmla="*/ 4945 h 7014"/>
                <a:gd name="T14" fmla="*/ 1228 w 4025"/>
                <a:gd name="T15" fmla="*/ 4945 h 7014"/>
                <a:gd name="T16" fmla="*/ 1168 w 4025"/>
                <a:gd name="T17" fmla="*/ 2922 h 7014"/>
                <a:gd name="T18" fmla="*/ 1168 w 4025"/>
                <a:gd name="T19" fmla="*/ 2922 h 7014"/>
                <a:gd name="T20" fmla="*/ 1600 w 4025"/>
                <a:gd name="T21" fmla="*/ 1627 h 7014"/>
                <a:gd name="T22" fmla="*/ 1600 w 4025"/>
                <a:gd name="T23" fmla="*/ 1627 h 7014"/>
                <a:gd name="T24" fmla="*/ 3094 w 4025"/>
                <a:gd name="T25" fmla="*/ 1011 h 7014"/>
                <a:gd name="T26" fmla="*/ 3094 w 4025"/>
                <a:gd name="T27" fmla="*/ 1011 h 7014"/>
                <a:gd name="T28" fmla="*/ 3453 w 4025"/>
                <a:gd name="T29" fmla="*/ 2055 h 7014"/>
                <a:gd name="T30" fmla="*/ 3401 w 4025"/>
                <a:gd name="T31" fmla="*/ 174 h 7014"/>
                <a:gd name="T32" fmla="*/ 3401 w 4025"/>
                <a:gd name="T33" fmla="*/ 174 h 7014"/>
                <a:gd name="T34" fmla="*/ 1220 w 4025"/>
                <a:gd name="T35" fmla="*/ 1074 h 7014"/>
                <a:gd name="T36" fmla="*/ 1220 w 4025"/>
                <a:gd name="T37" fmla="*/ 1074 h 7014"/>
                <a:gd name="T38" fmla="*/ 590 w 4025"/>
                <a:gd name="T39" fmla="*/ 2965 h 7014"/>
                <a:gd name="T40" fmla="*/ 590 w 4025"/>
                <a:gd name="T41" fmla="*/ 2965 h 7014"/>
                <a:gd name="T42" fmla="*/ 623 w 4025"/>
                <a:gd name="T43" fmla="*/ 5641 h 7014"/>
                <a:gd name="T44" fmla="*/ 623 w 4025"/>
                <a:gd name="T45" fmla="*/ 5641 h 7014"/>
                <a:gd name="T46" fmla="*/ 0 w 4025"/>
                <a:gd name="T47" fmla="*/ 6372 h 7014"/>
                <a:gd name="T48" fmla="*/ 0 w 4025"/>
                <a:gd name="T49" fmla="*/ 6372 h 7014"/>
                <a:gd name="T50" fmla="*/ 1803 w 4025"/>
                <a:gd name="T51" fmla="*/ 6837 h 7014"/>
                <a:gd name="T52" fmla="*/ 1803 w 4025"/>
                <a:gd name="T53" fmla="*/ 6837 h 7014"/>
                <a:gd name="T54" fmla="*/ 3571 w 4025"/>
                <a:gd name="T55" fmla="*/ 5386 h 7014"/>
                <a:gd name="T56" fmla="*/ 3571 w 4025"/>
                <a:gd name="T57" fmla="*/ 5386 h 7014"/>
                <a:gd name="T58" fmla="*/ 3938 w 4025"/>
                <a:gd name="T59" fmla="*/ 1991 h 7014"/>
                <a:gd name="T60" fmla="*/ 3938 w 4025"/>
                <a:gd name="T61" fmla="*/ 1991 h 7014"/>
                <a:gd name="T62" fmla="*/ 3401 w 4025"/>
                <a:gd name="T63" fmla="*/ 174 h 70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025" h="7014">
                  <a:moveTo>
                    <a:pt x="3453" y="2055"/>
                  </a:moveTo>
                  <a:lnTo>
                    <a:pt x="3453" y="2055"/>
                  </a:lnTo>
                  <a:cubicBezTo>
                    <a:pt x="3390" y="2741"/>
                    <a:pt x="3332" y="4326"/>
                    <a:pt x="3271" y="4628"/>
                  </a:cubicBezTo>
                  <a:lnTo>
                    <a:pt x="3271" y="4628"/>
                  </a:lnTo>
                  <a:cubicBezTo>
                    <a:pt x="3203" y="4970"/>
                    <a:pt x="2413" y="5315"/>
                    <a:pt x="1924" y="5611"/>
                  </a:cubicBezTo>
                  <a:lnTo>
                    <a:pt x="1924" y="5611"/>
                  </a:lnTo>
                  <a:cubicBezTo>
                    <a:pt x="1289" y="5997"/>
                    <a:pt x="1242" y="5377"/>
                    <a:pt x="1228" y="4945"/>
                  </a:cubicBezTo>
                  <a:lnTo>
                    <a:pt x="1228" y="4945"/>
                  </a:lnTo>
                  <a:cubicBezTo>
                    <a:pt x="1215" y="4514"/>
                    <a:pt x="1210" y="3450"/>
                    <a:pt x="1168" y="2922"/>
                  </a:cubicBezTo>
                  <a:lnTo>
                    <a:pt x="1168" y="2922"/>
                  </a:lnTo>
                  <a:cubicBezTo>
                    <a:pt x="1127" y="2395"/>
                    <a:pt x="1148" y="1975"/>
                    <a:pt x="1600" y="1627"/>
                  </a:cubicBezTo>
                  <a:lnTo>
                    <a:pt x="1600" y="1627"/>
                  </a:lnTo>
                  <a:cubicBezTo>
                    <a:pt x="2248" y="1131"/>
                    <a:pt x="2854" y="893"/>
                    <a:pt x="3094" y="1011"/>
                  </a:cubicBezTo>
                  <a:lnTo>
                    <a:pt x="3094" y="1011"/>
                  </a:lnTo>
                  <a:cubicBezTo>
                    <a:pt x="3411" y="1168"/>
                    <a:pt x="3512" y="1401"/>
                    <a:pt x="3453" y="2055"/>
                  </a:cubicBezTo>
                  <a:close/>
                  <a:moveTo>
                    <a:pt x="3401" y="174"/>
                  </a:moveTo>
                  <a:lnTo>
                    <a:pt x="3401" y="174"/>
                  </a:lnTo>
                  <a:cubicBezTo>
                    <a:pt x="3051" y="0"/>
                    <a:pt x="2166" y="349"/>
                    <a:pt x="1220" y="1074"/>
                  </a:cubicBezTo>
                  <a:lnTo>
                    <a:pt x="1220" y="1074"/>
                  </a:lnTo>
                  <a:cubicBezTo>
                    <a:pt x="559" y="1580"/>
                    <a:pt x="530" y="2195"/>
                    <a:pt x="590" y="2965"/>
                  </a:cubicBezTo>
                  <a:lnTo>
                    <a:pt x="590" y="2965"/>
                  </a:lnTo>
                  <a:cubicBezTo>
                    <a:pt x="650" y="3735"/>
                    <a:pt x="614" y="5011"/>
                    <a:pt x="623" y="5641"/>
                  </a:cubicBezTo>
                  <a:lnTo>
                    <a:pt x="623" y="5641"/>
                  </a:lnTo>
                  <a:cubicBezTo>
                    <a:pt x="634" y="6429"/>
                    <a:pt x="0" y="6372"/>
                    <a:pt x="0" y="6372"/>
                  </a:cubicBezTo>
                  <a:lnTo>
                    <a:pt x="0" y="6372"/>
                  </a:lnTo>
                  <a:cubicBezTo>
                    <a:pt x="571" y="6963"/>
                    <a:pt x="1377" y="7013"/>
                    <a:pt x="1803" y="6837"/>
                  </a:cubicBezTo>
                  <a:lnTo>
                    <a:pt x="1803" y="6837"/>
                  </a:lnTo>
                  <a:cubicBezTo>
                    <a:pt x="2575" y="6519"/>
                    <a:pt x="3471" y="5887"/>
                    <a:pt x="3571" y="5386"/>
                  </a:cubicBezTo>
                  <a:lnTo>
                    <a:pt x="3571" y="5386"/>
                  </a:lnTo>
                  <a:cubicBezTo>
                    <a:pt x="3659" y="4946"/>
                    <a:pt x="3847" y="2993"/>
                    <a:pt x="3938" y="1991"/>
                  </a:cubicBezTo>
                  <a:lnTo>
                    <a:pt x="3938" y="1991"/>
                  </a:lnTo>
                  <a:cubicBezTo>
                    <a:pt x="4024" y="1036"/>
                    <a:pt x="3864" y="405"/>
                    <a:pt x="3401" y="174"/>
                  </a:cubicBezTo>
                  <a:close/>
                </a:path>
              </a:pathLst>
            </a:custGeom>
            <a:solidFill>
              <a:schemeClr val="accent6">
                <a:lumMod val="9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55" name="Freeform 186">
              <a:extLst>
                <a:ext uri="{FF2B5EF4-FFF2-40B4-BE49-F238E27FC236}">
                  <a16:creationId xmlns:a16="http://schemas.microsoft.com/office/drawing/2014/main" id="{61CC809E-868F-D442-8728-4E8A124181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481547" y="6541169"/>
              <a:ext cx="1690737" cy="3666624"/>
            </a:xfrm>
            <a:custGeom>
              <a:avLst/>
              <a:gdLst>
                <a:gd name="T0" fmla="*/ 2588 w 2589"/>
                <a:gd name="T1" fmla="*/ 4615 h 5615"/>
                <a:gd name="T2" fmla="*/ 0 w 2589"/>
                <a:gd name="T3" fmla="*/ 5614 h 5615"/>
                <a:gd name="T4" fmla="*/ 0 w 2589"/>
                <a:gd name="T5" fmla="*/ 998 h 5615"/>
                <a:gd name="T6" fmla="*/ 2588 w 2589"/>
                <a:gd name="T7" fmla="*/ 0 h 5615"/>
                <a:gd name="T8" fmla="*/ 2588 w 2589"/>
                <a:gd name="T9" fmla="*/ 4615 h 5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89" h="5615">
                  <a:moveTo>
                    <a:pt x="2588" y="4615"/>
                  </a:moveTo>
                  <a:lnTo>
                    <a:pt x="0" y="5614"/>
                  </a:lnTo>
                  <a:lnTo>
                    <a:pt x="0" y="998"/>
                  </a:lnTo>
                  <a:lnTo>
                    <a:pt x="2588" y="0"/>
                  </a:lnTo>
                  <a:lnTo>
                    <a:pt x="2588" y="4615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56" name="Freeform 187">
              <a:extLst>
                <a:ext uri="{FF2B5EF4-FFF2-40B4-BE49-F238E27FC236}">
                  <a16:creationId xmlns:a16="http://schemas.microsoft.com/office/drawing/2014/main" id="{6B8AA56B-52E4-DC45-BAE2-869A29AA34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929064" y="11218780"/>
              <a:ext cx="2635478" cy="1385425"/>
            </a:xfrm>
            <a:custGeom>
              <a:avLst/>
              <a:gdLst>
                <a:gd name="T0" fmla="*/ 3967 w 4034"/>
                <a:gd name="T1" fmla="*/ 1755 h 2120"/>
                <a:gd name="T2" fmla="*/ 2983 w 4034"/>
                <a:gd name="T3" fmla="*/ 1014 h 2120"/>
                <a:gd name="T4" fmla="*/ 2983 w 4034"/>
                <a:gd name="T5" fmla="*/ 1014 h 2120"/>
                <a:gd name="T6" fmla="*/ 2997 w 4034"/>
                <a:gd name="T7" fmla="*/ 658 h 2120"/>
                <a:gd name="T8" fmla="*/ 3834 w 4034"/>
                <a:gd name="T9" fmla="*/ 132 h 2120"/>
                <a:gd name="T10" fmla="*/ 3834 w 4034"/>
                <a:gd name="T11" fmla="*/ 132 h 2120"/>
                <a:gd name="T12" fmla="*/ 3644 w 4034"/>
                <a:gd name="T13" fmla="*/ 12 h 2120"/>
                <a:gd name="T14" fmla="*/ 3644 w 4034"/>
                <a:gd name="T15" fmla="*/ 12 h 2120"/>
                <a:gd name="T16" fmla="*/ 2261 w 4034"/>
                <a:gd name="T17" fmla="*/ 485 h 2120"/>
                <a:gd name="T18" fmla="*/ 2261 w 4034"/>
                <a:gd name="T19" fmla="*/ 485 h 2120"/>
                <a:gd name="T20" fmla="*/ 2012 w 4034"/>
                <a:gd name="T21" fmla="*/ 451 h 2120"/>
                <a:gd name="T22" fmla="*/ 2012 w 4034"/>
                <a:gd name="T23" fmla="*/ 451 h 2120"/>
                <a:gd name="T24" fmla="*/ 1902 w 4034"/>
                <a:gd name="T25" fmla="*/ 457 h 2120"/>
                <a:gd name="T26" fmla="*/ 1905 w 4034"/>
                <a:gd name="T27" fmla="*/ 452 h 2120"/>
                <a:gd name="T28" fmla="*/ 1905 w 4034"/>
                <a:gd name="T29" fmla="*/ 452 h 2120"/>
                <a:gd name="T30" fmla="*/ 590 w 4034"/>
                <a:gd name="T31" fmla="*/ 51 h 2120"/>
                <a:gd name="T32" fmla="*/ 590 w 4034"/>
                <a:gd name="T33" fmla="*/ 51 h 2120"/>
                <a:gd name="T34" fmla="*/ 371 w 4034"/>
                <a:gd name="T35" fmla="*/ 255 h 2120"/>
                <a:gd name="T36" fmla="*/ 1117 w 4034"/>
                <a:gd name="T37" fmla="*/ 630 h 2120"/>
                <a:gd name="T38" fmla="*/ 1117 w 4034"/>
                <a:gd name="T39" fmla="*/ 630 h 2120"/>
                <a:gd name="T40" fmla="*/ 1150 w 4034"/>
                <a:gd name="T41" fmla="*/ 995 h 2120"/>
                <a:gd name="T42" fmla="*/ 65 w 4034"/>
                <a:gd name="T43" fmla="*/ 1812 h 2120"/>
                <a:gd name="T44" fmla="*/ 65 w 4034"/>
                <a:gd name="T45" fmla="*/ 1812 h 2120"/>
                <a:gd name="T46" fmla="*/ 123 w 4034"/>
                <a:gd name="T47" fmla="*/ 2080 h 2120"/>
                <a:gd name="T48" fmla="*/ 123 w 4034"/>
                <a:gd name="T49" fmla="*/ 2080 h 2120"/>
                <a:gd name="T50" fmla="*/ 338 w 4034"/>
                <a:gd name="T51" fmla="*/ 2054 h 2120"/>
                <a:gd name="T52" fmla="*/ 1578 w 4034"/>
                <a:gd name="T53" fmla="*/ 1480 h 2120"/>
                <a:gd name="T54" fmla="*/ 1578 w 4034"/>
                <a:gd name="T55" fmla="*/ 1480 h 2120"/>
                <a:gd name="T56" fmla="*/ 2610 w 4034"/>
                <a:gd name="T57" fmla="*/ 1484 h 2120"/>
                <a:gd name="T58" fmla="*/ 3695 w 4034"/>
                <a:gd name="T59" fmla="*/ 1997 h 2120"/>
                <a:gd name="T60" fmla="*/ 3695 w 4034"/>
                <a:gd name="T61" fmla="*/ 1997 h 2120"/>
                <a:gd name="T62" fmla="*/ 3910 w 4034"/>
                <a:gd name="T63" fmla="*/ 2023 h 2120"/>
                <a:gd name="T64" fmla="*/ 3910 w 4034"/>
                <a:gd name="T65" fmla="*/ 2023 h 2120"/>
                <a:gd name="T66" fmla="*/ 3967 w 4034"/>
                <a:gd name="T67" fmla="*/ 1755 h 2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034" h="2120">
                  <a:moveTo>
                    <a:pt x="3967" y="1755"/>
                  </a:moveTo>
                  <a:lnTo>
                    <a:pt x="2983" y="1014"/>
                  </a:lnTo>
                  <a:lnTo>
                    <a:pt x="2983" y="1014"/>
                  </a:lnTo>
                  <a:cubicBezTo>
                    <a:pt x="2861" y="923"/>
                    <a:pt x="2869" y="738"/>
                    <a:pt x="2997" y="658"/>
                  </a:cubicBezTo>
                  <a:lnTo>
                    <a:pt x="3834" y="132"/>
                  </a:lnTo>
                  <a:lnTo>
                    <a:pt x="3834" y="132"/>
                  </a:lnTo>
                  <a:cubicBezTo>
                    <a:pt x="3834" y="132"/>
                    <a:pt x="3816" y="26"/>
                    <a:pt x="3644" y="12"/>
                  </a:cubicBezTo>
                  <a:lnTo>
                    <a:pt x="3644" y="12"/>
                  </a:lnTo>
                  <a:cubicBezTo>
                    <a:pt x="3485" y="0"/>
                    <a:pt x="2419" y="422"/>
                    <a:pt x="2261" y="485"/>
                  </a:cubicBezTo>
                  <a:lnTo>
                    <a:pt x="2261" y="485"/>
                  </a:lnTo>
                  <a:cubicBezTo>
                    <a:pt x="2187" y="463"/>
                    <a:pt x="2102" y="451"/>
                    <a:pt x="2012" y="451"/>
                  </a:cubicBezTo>
                  <a:lnTo>
                    <a:pt x="2012" y="451"/>
                  </a:lnTo>
                  <a:cubicBezTo>
                    <a:pt x="1974" y="451"/>
                    <a:pt x="1938" y="453"/>
                    <a:pt x="1902" y="457"/>
                  </a:cubicBezTo>
                  <a:lnTo>
                    <a:pt x="1905" y="452"/>
                  </a:lnTo>
                  <a:lnTo>
                    <a:pt x="1905" y="452"/>
                  </a:lnTo>
                  <a:cubicBezTo>
                    <a:pt x="1905" y="452"/>
                    <a:pt x="781" y="3"/>
                    <a:pt x="590" y="51"/>
                  </a:cubicBezTo>
                  <a:lnTo>
                    <a:pt x="590" y="51"/>
                  </a:lnTo>
                  <a:cubicBezTo>
                    <a:pt x="399" y="98"/>
                    <a:pt x="371" y="255"/>
                    <a:pt x="371" y="255"/>
                  </a:cubicBezTo>
                  <a:lnTo>
                    <a:pt x="1117" y="630"/>
                  </a:lnTo>
                  <a:lnTo>
                    <a:pt x="1117" y="630"/>
                  </a:lnTo>
                  <a:cubicBezTo>
                    <a:pt x="1261" y="702"/>
                    <a:pt x="1278" y="899"/>
                    <a:pt x="1150" y="995"/>
                  </a:cubicBezTo>
                  <a:lnTo>
                    <a:pt x="65" y="1812"/>
                  </a:lnTo>
                  <a:lnTo>
                    <a:pt x="65" y="1812"/>
                  </a:lnTo>
                  <a:cubicBezTo>
                    <a:pt x="0" y="1901"/>
                    <a:pt x="27" y="2026"/>
                    <a:pt x="123" y="2080"/>
                  </a:cubicBezTo>
                  <a:lnTo>
                    <a:pt x="123" y="2080"/>
                  </a:lnTo>
                  <a:cubicBezTo>
                    <a:pt x="193" y="2119"/>
                    <a:pt x="280" y="2108"/>
                    <a:pt x="338" y="2054"/>
                  </a:cubicBezTo>
                  <a:lnTo>
                    <a:pt x="1578" y="1480"/>
                  </a:lnTo>
                  <a:lnTo>
                    <a:pt x="1578" y="1480"/>
                  </a:lnTo>
                  <a:cubicBezTo>
                    <a:pt x="1906" y="1328"/>
                    <a:pt x="2284" y="1330"/>
                    <a:pt x="2610" y="1484"/>
                  </a:cubicBezTo>
                  <a:lnTo>
                    <a:pt x="3695" y="1997"/>
                  </a:lnTo>
                  <a:lnTo>
                    <a:pt x="3695" y="1997"/>
                  </a:lnTo>
                  <a:cubicBezTo>
                    <a:pt x="3754" y="2051"/>
                    <a:pt x="3841" y="2062"/>
                    <a:pt x="3910" y="2023"/>
                  </a:cubicBezTo>
                  <a:lnTo>
                    <a:pt x="3910" y="2023"/>
                  </a:lnTo>
                  <a:cubicBezTo>
                    <a:pt x="4006" y="1969"/>
                    <a:pt x="4033" y="1844"/>
                    <a:pt x="3967" y="1755"/>
                  </a:cubicBezTo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57" name="Freeform 106">
              <a:extLst>
                <a:ext uri="{FF2B5EF4-FFF2-40B4-BE49-F238E27FC236}">
                  <a16:creationId xmlns:a16="http://schemas.microsoft.com/office/drawing/2014/main" id="{DDAAE89F-1874-0644-8508-425D017375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18630" y="10743529"/>
              <a:ext cx="249931" cy="981537"/>
            </a:xfrm>
            <a:custGeom>
              <a:avLst/>
              <a:gdLst>
                <a:gd name="connsiteX0" fmla="*/ 0 w 249931"/>
                <a:gd name="connsiteY0" fmla="*/ 0 h 981537"/>
                <a:gd name="connsiteX1" fmla="*/ 249931 w 249931"/>
                <a:gd name="connsiteY1" fmla="*/ 0 h 981537"/>
                <a:gd name="connsiteX2" fmla="*/ 249931 w 249931"/>
                <a:gd name="connsiteY2" fmla="*/ 912405 h 981537"/>
                <a:gd name="connsiteX3" fmla="*/ 249262 w 249931"/>
                <a:gd name="connsiteY3" fmla="*/ 912405 h 981537"/>
                <a:gd name="connsiteX4" fmla="*/ 249931 w 249931"/>
                <a:gd name="connsiteY4" fmla="*/ 914174 h 981537"/>
                <a:gd name="connsiteX5" fmla="*/ 124965 w 249931"/>
                <a:gd name="connsiteY5" fmla="*/ 981537 h 981537"/>
                <a:gd name="connsiteX6" fmla="*/ 0 w 249931"/>
                <a:gd name="connsiteY6" fmla="*/ 914174 h 981537"/>
                <a:gd name="connsiteX7" fmla="*/ 669 w 249931"/>
                <a:gd name="connsiteY7" fmla="*/ 912405 h 981537"/>
                <a:gd name="connsiteX8" fmla="*/ 0 w 249931"/>
                <a:gd name="connsiteY8" fmla="*/ 912405 h 981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9931" h="981537">
                  <a:moveTo>
                    <a:pt x="0" y="0"/>
                  </a:moveTo>
                  <a:lnTo>
                    <a:pt x="249931" y="0"/>
                  </a:lnTo>
                  <a:lnTo>
                    <a:pt x="249931" y="912405"/>
                  </a:lnTo>
                  <a:lnTo>
                    <a:pt x="249262" y="912405"/>
                  </a:lnTo>
                  <a:lnTo>
                    <a:pt x="249931" y="914174"/>
                  </a:lnTo>
                  <a:cubicBezTo>
                    <a:pt x="249931" y="951094"/>
                    <a:pt x="193664" y="981537"/>
                    <a:pt x="124965" y="981537"/>
                  </a:cubicBezTo>
                  <a:cubicBezTo>
                    <a:pt x="56267" y="981537"/>
                    <a:pt x="0" y="951094"/>
                    <a:pt x="0" y="914174"/>
                  </a:cubicBezTo>
                  <a:lnTo>
                    <a:pt x="669" y="912405"/>
                  </a:lnTo>
                  <a:lnTo>
                    <a:pt x="0" y="91240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58" name="Freeform 190">
              <a:extLst>
                <a:ext uri="{FF2B5EF4-FFF2-40B4-BE49-F238E27FC236}">
                  <a16:creationId xmlns:a16="http://schemas.microsoft.com/office/drawing/2014/main" id="{C0D738F0-D656-B248-9782-E4299AE6CE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95397" y="9793029"/>
              <a:ext cx="3090565" cy="1117557"/>
            </a:xfrm>
            <a:custGeom>
              <a:avLst/>
              <a:gdLst>
                <a:gd name="T0" fmla="*/ 2591 w 4732"/>
                <a:gd name="T1" fmla="*/ 1003 h 1713"/>
                <a:gd name="T2" fmla="*/ 0 w 4732"/>
                <a:gd name="T3" fmla="*/ 0 h 1713"/>
                <a:gd name="T4" fmla="*/ 0 w 4732"/>
                <a:gd name="T5" fmla="*/ 0 h 1713"/>
                <a:gd name="T6" fmla="*/ 1588 w 4732"/>
                <a:gd name="T7" fmla="*/ 1397 h 1713"/>
                <a:gd name="T8" fmla="*/ 1588 w 4732"/>
                <a:gd name="T9" fmla="*/ 1397 h 1713"/>
                <a:gd name="T10" fmla="*/ 3503 w 4732"/>
                <a:gd name="T11" fmla="*/ 1577 h 1713"/>
                <a:gd name="T12" fmla="*/ 3503 w 4732"/>
                <a:gd name="T13" fmla="*/ 1577 h 1713"/>
                <a:gd name="T14" fmla="*/ 4731 w 4732"/>
                <a:gd name="T15" fmla="*/ 980 h 1713"/>
                <a:gd name="T16" fmla="*/ 2591 w 4732"/>
                <a:gd name="T17" fmla="*/ 1003 h 17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32" h="1713">
                  <a:moveTo>
                    <a:pt x="2591" y="1003"/>
                  </a:moveTo>
                  <a:lnTo>
                    <a:pt x="0" y="0"/>
                  </a:lnTo>
                  <a:lnTo>
                    <a:pt x="0" y="0"/>
                  </a:lnTo>
                  <a:cubicBezTo>
                    <a:pt x="0" y="0"/>
                    <a:pt x="777" y="1082"/>
                    <a:pt x="1588" y="1397"/>
                  </a:cubicBezTo>
                  <a:lnTo>
                    <a:pt x="1588" y="1397"/>
                  </a:lnTo>
                  <a:cubicBezTo>
                    <a:pt x="2400" y="1712"/>
                    <a:pt x="3019" y="1689"/>
                    <a:pt x="3503" y="1577"/>
                  </a:cubicBezTo>
                  <a:lnTo>
                    <a:pt x="3503" y="1577"/>
                  </a:lnTo>
                  <a:cubicBezTo>
                    <a:pt x="4207" y="1413"/>
                    <a:pt x="4731" y="980"/>
                    <a:pt x="4731" y="980"/>
                  </a:cubicBezTo>
                  <a:lnTo>
                    <a:pt x="2591" y="1003"/>
                  </a:lnTo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59" name="Freeform 191">
              <a:extLst>
                <a:ext uri="{FF2B5EF4-FFF2-40B4-BE49-F238E27FC236}">
                  <a16:creationId xmlns:a16="http://schemas.microsoft.com/office/drawing/2014/main" id="{36E4FFD3-10CE-0240-8AE1-01172AB53E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816197" y="6198413"/>
              <a:ext cx="2661399" cy="4582562"/>
            </a:xfrm>
            <a:custGeom>
              <a:avLst/>
              <a:gdLst>
                <a:gd name="T0" fmla="*/ 3499 w 4073"/>
                <a:gd name="T1" fmla="*/ 2055 h 7014"/>
                <a:gd name="T2" fmla="*/ 3499 w 4073"/>
                <a:gd name="T3" fmla="*/ 2055 h 7014"/>
                <a:gd name="T4" fmla="*/ 3318 w 4073"/>
                <a:gd name="T5" fmla="*/ 4628 h 7014"/>
                <a:gd name="T6" fmla="*/ 3318 w 4073"/>
                <a:gd name="T7" fmla="*/ 4628 h 7014"/>
                <a:gd name="T8" fmla="*/ 1971 w 4073"/>
                <a:gd name="T9" fmla="*/ 5611 h 7014"/>
                <a:gd name="T10" fmla="*/ 1971 w 4073"/>
                <a:gd name="T11" fmla="*/ 5611 h 7014"/>
                <a:gd name="T12" fmla="*/ 1275 w 4073"/>
                <a:gd name="T13" fmla="*/ 4945 h 7014"/>
                <a:gd name="T14" fmla="*/ 1275 w 4073"/>
                <a:gd name="T15" fmla="*/ 4945 h 7014"/>
                <a:gd name="T16" fmla="*/ 1215 w 4073"/>
                <a:gd name="T17" fmla="*/ 2922 h 7014"/>
                <a:gd name="T18" fmla="*/ 1215 w 4073"/>
                <a:gd name="T19" fmla="*/ 2922 h 7014"/>
                <a:gd name="T20" fmla="*/ 1647 w 4073"/>
                <a:gd name="T21" fmla="*/ 1627 h 7014"/>
                <a:gd name="T22" fmla="*/ 1647 w 4073"/>
                <a:gd name="T23" fmla="*/ 1627 h 7014"/>
                <a:gd name="T24" fmla="*/ 3141 w 4073"/>
                <a:gd name="T25" fmla="*/ 1011 h 7014"/>
                <a:gd name="T26" fmla="*/ 3141 w 4073"/>
                <a:gd name="T27" fmla="*/ 1011 h 7014"/>
                <a:gd name="T28" fmla="*/ 3499 w 4073"/>
                <a:gd name="T29" fmla="*/ 2055 h 7014"/>
                <a:gd name="T30" fmla="*/ 3448 w 4073"/>
                <a:gd name="T31" fmla="*/ 174 h 7014"/>
                <a:gd name="T32" fmla="*/ 3448 w 4073"/>
                <a:gd name="T33" fmla="*/ 174 h 7014"/>
                <a:gd name="T34" fmla="*/ 1267 w 4073"/>
                <a:gd name="T35" fmla="*/ 1074 h 7014"/>
                <a:gd name="T36" fmla="*/ 1267 w 4073"/>
                <a:gd name="T37" fmla="*/ 1074 h 7014"/>
                <a:gd name="T38" fmla="*/ 636 w 4073"/>
                <a:gd name="T39" fmla="*/ 2965 h 7014"/>
                <a:gd name="T40" fmla="*/ 636 w 4073"/>
                <a:gd name="T41" fmla="*/ 2965 h 7014"/>
                <a:gd name="T42" fmla="*/ 670 w 4073"/>
                <a:gd name="T43" fmla="*/ 5641 h 7014"/>
                <a:gd name="T44" fmla="*/ 670 w 4073"/>
                <a:gd name="T45" fmla="*/ 5641 h 7014"/>
                <a:gd name="T46" fmla="*/ 0 w 4073"/>
                <a:gd name="T47" fmla="*/ 6413 h 7014"/>
                <a:gd name="T48" fmla="*/ 0 w 4073"/>
                <a:gd name="T49" fmla="*/ 6413 h 7014"/>
                <a:gd name="T50" fmla="*/ 1850 w 4073"/>
                <a:gd name="T51" fmla="*/ 6837 h 7014"/>
                <a:gd name="T52" fmla="*/ 1850 w 4073"/>
                <a:gd name="T53" fmla="*/ 6837 h 7014"/>
                <a:gd name="T54" fmla="*/ 3618 w 4073"/>
                <a:gd name="T55" fmla="*/ 5386 h 7014"/>
                <a:gd name="T56" fmla="*/ 3618 w 4073"/>
                <a:gd name="T57" fmla="*/ 5386 h 7014"/>
                <a:gd name="T58" fmla="*/ 3985 w 4073"/>
                <a:gd name="T59" fmla="*/ 1991 h 7014"/>
                <a:gd name="T60" fmla="*/ 3985 w 4073"/>
                <a:gd name="T61" fmla="*/ 1991 h 7014"/>
                <a:gd name="T62" fmla="*/ 3448 w 4073"/>
                <a:gd name="T63" fmla="*/ 174 h 70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073" h="7014">
                  <a:moveTo>
                    <a:pt x="3499" y="2055"/>
                  </a:moveTo>
                  <a:lnTo>
                    <a:pt x="3499" y="2055"/>
                  </a:lnTo>
                  <a:cubicBezTo>
                    <a:pt x="3437" y="2741"/>
                    <a:pt x="3378" y="4326"/>
                    <a:pt x="3318" y="4628"/>
                  </a:cubicBezTo>
                  <a:lnTo>
                    <a:pt x="3318" y="4628"/>
                  </a:lnTo>
                  <a:cubicBezTo>
                    <a:pt x="3249" y="4970"/>
                    <a:pt x="2460" y="5315"/>
                    <a:pt x="1971" y="5611"/>
                  </a:cubicBezTo>
                  <a:lnTo>
                    <a:pt x="1971" y="5611"/>
                  </a:lnTo>
                  <a:cubicBezTo>
                    <a:pt x="1336" y="5997"/>
                    <a:pt x="1289" y="5377"/>
                    <a:pt x="1275" y="4945"/>
                  </a:cubicBezTo>
                  <a:lnTo>
                    <a:pt x="1275" y="4945"/>
                  </a:lnTo>
                  <a:cubicBezTo>
                    <a:pt x="1261" y="4514"/>
                    <a:pt x="1257" y="3450"/>
                    <a:pt x="1215" y="2922"/>
                  </a:cubicBezTo>
                  <a:lnTo>
                    <a:pt x="1215" y="2922"/>
                  </a:lnTo>
                  <a:cubicBezTo>
                    <a:pt x="1174" y="2395"/>
                    <a:pt x="1195" y="1975"/>
                    <a:pt x="1647" y="1627"/>
                  </a:cubicBezTo>
                  <a:lnTo>
                    <a:pt x="1647" y="1627"/>
                  </a:lnTo>
                  <a:cubicBezTo>
                    <a:pt x="2294" y="1131"/>
                    <a:pt x="2900" y="893"/>
                    <a:pt x="3141" y="1011"/>
                  </a:cubicBezTo>
                  <a:lnTo>
                    <a:pt x="3141" y="1011"/>
                  </a:lnTo>
                  <a:cubicBezTo>
                    <a:pt x="3457" y="1168"/>
                    <a:pt x="3559" y="1401"/>
                    <a:pt x="3499" y="2055"/>
                  </a:cubicBezTo>
                  <a:close/>
                  <a:moveTo>
                    <a:pt x="3448" y="174"/>
                  </a:moveTo>
                  <a:lnTo>
                    <a:pt x="3448" y="174"/>
                  </a:lnTo>
                  <a:cubicBezTo>
                    <a:pt x="3098" y="0"/>
                    <a:pt x="2213" y="349"/>
                    <a:pt x="1267" y="1074"/>
                  </a:cubicBezTo>
                  <a:lnTo>
                    <a:pt x="1267" y="1074"/>
                  </a:lnTo>
                  <a:cubicBezTo>
                    <a:pt x="606" y="1580"/>
                    <a:pt x="576" y="2195"/>
                    <a:pt x="636" y="2965"/>
                  </a:cubicBezTo>
                  <a:lnTo>
                    <a:pt x="636" y="2965"/>
                  </a:lnTo>
                  <a:cubicBezTo>
                    <a:pt x="696" y="3735"/>
                    <a:pt x="670" y="5011"/>
                    <a:pt x="670" y="5641"/>
                  </a:cubicBezTo>
                  <a:lnTo>
                    <a:pt x="670" y="5641"/>
                  </a:lnTo>
                  <a:cubicBezTo>
                    <a:pt x="670" y="6458"/>
                    <a:pt x="0" y="6413"/>
                    <a:pt x="0" y="6413"/>
                  </a:cubicBezTo>
                  <a:lnTo>
                    <a:pt x="0" y="6413"/>
                  </a:lnTo>
                  <a:cubicBezTo>
                    <a:pt x="570" y="7003"/>
                    <a:pt x="1424" y="7013"/>
                    <a:pt x="1850" y="6837"/>
                  </a:cubicBezTo>
                  <a:lnTo>
                    <a:pt x="1850" y="6837"/>
                  </a:lnTo>
                  <a:cubicBezTo>
                    <a:pt x="2622" y="6519"/>
                    <a:pt x="3518" y="5887"/>
                    <a:pt x="3618" y="5386"/>
                  </a:cubicBezTo>
                  <a:lnTo>
                    <a:pt x="3618" y="5386"/>
                  </a:lnTo>
                  <a:cubicBezTo>
                    <a:pt x="3706" y="4946"/>
                    <a:pt x="3893" y="2993"/>
                    <a:pt x="3985" y="1991"/>
                  </a:cubicBezTo>
                  <a:lnTo>
                    <a:pt x="3985" y="1991"/>
                  </a:lnTo>
                  <a:cubicBezTo>
                    <a:pt x="4072" y="1036"/>
                    <a:pt x="3911" y="405"/>
                    <a:pt x="3448" y="174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60" name="Freeform 109">
              <a:extLst>
                <a:ext uri="{FF2B5EF4-FFF2-40B4-BE49-F238E27FC236}">
                  <a16:creationId xmlns:a16="http://schemas.microsoft.com/office/drawing/2014/main" id="{23BE268B-2FE8-B84D-84A3-4EF5A57029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378927" y="9084474"/>
              <a:ext cx="1341102" cy="1517268"/>
            </a:xfrm>
            <a:custGeom>
              <a:avLst/>
              <a:gdLst>
                <a:gd name="connsiteX0" fmla="*/ 717193 w 1341102"/>
                <a:gd name="connsiteY0" fmla="*/ 290912 h 1517268"/>
                <a:gd name="connsiteX1" fmla="*/ 891924 w 1341102"/>
                <a:gd name="connsiteY1" fmla="*/ 290912 h 1517268"/>
                <a:gd name="connsiteX2" fmla="*/ 891924 w 1341102"/>
                <a:gd name="connsiteY2" fmla="*/ 899519 h 1517268"/>
                <a:gd name="connsiteX3" fmla="*/ 1124029 w 1341102"/>
                <a:gd name="connsiteY3" fmla="*/ 1244962 h 1517268"/>
                <a:gd name="connsiteX4" fmla="*/ 1232258 w 1341102"/>
                <a:gd name="connsiteY4" fmla="*/ 1289367 h 1517268"/>
                <a:gd name="connsiteX5" fmla="*/ 1328099 w 1341102"/>
                <a:gd name="connsiteY5" fmla="*/ 1517268 h 1517268"/>
                <a:gd name="connsiteX6" fmla="*/ 1058179 w 1341102"/>
                <a:gd name="connsiteY6" fmla="*/ 1407562 h 1517268"/>
                <a:gd name="connsiteX7" fmla="*/ 717193 w 1341102"/>
                <a:gd name="connsiteY7" fmla="*/ 899519 h 1517268"/>
                <a:gd name="connsiteX8" fmla="*/ 0 w 1341102"/>
                <a:gd name="connsiteY8" fmla="*/ 0 h 1517268"/>
                <a:gd name="connsiteX9" fmla="*/ 174730 w 1341102"/>
                <a:gd name="connsiteY9" fmla="*/ 0 h 1517268"/>
                <a:gd name="connsiteX10" fmla="*/ 174730 w 1341102"/>
                <a:gd name="connsiteY10" fmla="*/ 608607 h 1517268"/>
                <a:gd name="connsiteX11" fmla="*/ 406835 w 1341102"/>
                <a:gd name="connsiteY11" fmla="*/ 954050 h 1517268"/>
                <a:gd name="connsiteX12" fmla="*/ 515063 w 1341102"/>
                <a:gd name="connsiteY12" fmla="*/ 997802 h 1517268"/>
                <a:gd name="connsiteX13" fmla="*/ 610904 w 1341102"/>
                <a:gd name="connsiteY13" fmla="*/ 1226356 h 1517268"/>
                <a:gd name="connsiteX14" fmla="*/ 340985 w 1341102"/>
                <a:gd name="connsiteY14" fmla="*/ 1115997 h 1517268"/>
                <a:gd name="connsiteX15" fmla="*/ 0 w 1341102"/>
                <a:gd name="connsiteY15" fmla="*/ 608607 h 1517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41102" h="1517268">
                  <a:moveTo>
                    <a:pt x="717193" y="290912"/>
                  </a:moveTo>
                  <a:lnTo>
                    <a:pt x="891924" y="290912"/>
                  </a:lnTo>
                  <a:lnTo>
                    <a:pt x="891924" y="899519"/>
                  </a:lnTo>
                  <a:cubicBezTo>
                    <a:pt x="891924" y="1051018"/>
                    <a:pt x="983853" y="1188150"/>
                    <a:pt x="1124029" y="1244962"/>
                  </a:cubicBezTo>
                  <a:lnTo>
                    <a:pt x="1232258" y="1289367"/>
                  </a:lnTo>
                  <a:cubicBezTo>
                    <a:pt x="1321579" y="1325936"/>
                    <a:pt x="1364610" y="1427805"/>
                    <a:pt x="1328099" y="1517268"/>
                  </a:cubicBezTo>
                  <a:lnTo>
                    <a:pt x="1058179" y="1407562"/>
                  </a:lnTo>
                  <a:cubicBezTo>
                    <a:pt x="852153" y="1323323"/>
                    <a:pt x="717193" y="1122196"/>
                    <a:pt x="717193" y="899519"/>
                  </a:cubicBezTo>
                  <a:close/>
                  <a:moveTo>
                    <a:pt x="0" y="0"/>
                  </a:moveTo>
                  <a:lnTo>
                    <a:pt x="174730" y="0"/>
                  </a:lnTo>
                  <a:lnTo>
                    <a:pt x="174730" y="608607"/>
                  </a:lnTo>
                  <a:cubicBezTo>
                    <a:pt x="174730" y="760106"/>
                    <a:pt x="266659" y="897238"/>
                    <a:pt x="406835" y="954050"/>
                  </a:cubicBezTo>
                  <a:lnTo>
                    <a:pt x="515063" y="997802"/>
                  </a:lnTo>
                  <a:cubicBezTo>
                    <a:pt x="604384" y="1035024"/>
                    <a:pt x="647415" y="1136893"/>
                    <a:pt x="610904" y="1226356"/>
                  </a:cubicBezTo>
                  <a:lnTo>
                    <a:pt x="340985" y="1115997"/>
                  </a:lnTo>
                  <a:cubicBezTo>
                    <a:pt x="134960" y="1031759"/>
                    <a:pt x="0" y="831284"/>
                    <a:pt x="0" y="60860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61" name="Freeform 195">
              <a:extLst>
                <a:ext uri="{FF2B5EF4-FFF2-40B4-BE49-F238E27FC236}">
                  <a16:creationId xmlns:a16="http://schemas.microsoft.com/office/drawing/2014/main" id="{372BAE5E-ACE4-0B45-A46B-A7FF2094AD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50037" y="9375386"/>
              <a:ext cx="270748" cy="135373"/>
            </a:xfrm>
            <a:custGeom>
              <a:avLst/>
              <a:gdLst>
                <a:gd name="T0" fmla="*/ 414 w 415"/>
                <a:gd name="T1" fmla="*/ 104 h 209"/>
                <a:gd name="T2" fmla="*/ 414 w 415"/>
                <a:gd name="T3" fmla="*/ 104 h 209"/>
                <a:gd name="T4" fmla="*/ 207 w 415"/>
                <a:gd name="T5" fmla="*/ 208 h 209"/>
                <a:gd name="T6" fmla="*/ 207 w 415"/>
                <a:gd name="T7" fmla="*/ 208 h 209"/>
                <a:gd name="T8" fmla="*/ 0 w 415"/>
                <a:gd name="T9" fmla="*/ 104 h 209"/>
                <a:gd name="T10" fmla="*/ 0 w 415"/>
                <a:gd name="T11" fmla="*/ 104 h 209"/>
                <a:gd name="T12" fmla="*/ 207 w 415"/>
                <a:gd name="T13" fmla="*/ 0 h 209"/>
                <a:gd name="T14" fmla="*/ 207 w 415"/>
                <a:gd name="T15" fmla="*/ 0 h 209"/>
                <a:gd name="T16" fmla="*/ 414 w 415"/>
                <a:gd name="T17" fmla="*/ 104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5" h="209">
                  <a:moveTo>
                    <a:pt x="414" y="104"/>
                  </a:moveTo>
                  <a:lnTo>
                    <a:pt x="414" y="104"/>
                  </a:lnTo>
                  <a:cubicBezTo>
                    <a:pt x="414" y="161"/>
                    <a:pt x="321" y="208"/>
                    <a:pt x="207" y="208"/>
                  </a:cubicBezTo>
                  <a:lnTo>
                    <a:pt x="207" y="208"/>
                  </a:lnTo>
                  <a:cubicBezTo>
                    <a:pt x="92" y="208"/>
                    <a:pt x="0" y="161"/>
                    <a:pt x="0" y="104"/>
                  </a:cubicBezTo>
                  <a:lnTo>
                    <a:pt x="0" y="104"/>
                  </a:lnTo>
                  <a:cubicBezTo>
                    <a:pt x="0" y="47"/>
                    <a:pt x="92" y="0"/>
                    <a:pt x="207" y="0"/>
                  </a:cubicBezTo>
                  <a:lnTo>
                    <a:pt x="207" y="0"/>
                  </a:lnTo>
                  <a:cubicBezTo>
                    <a:pt x="321" y="0"/>
                    <a:pt x="414" y="47"/>
                    <a:pt x="414" y="10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263364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62" name="Freeform 111">
              <a:extLst>
                <a:ext uri="{FF2B5EF4-FFF2-40B4-BE49-F238E27FC236}">
                  <a16:creationId xmlns:a16="http://schemas.microsoft.com/office/drawing/2014/main" id="{99A4B674-7C41-B644-84EC-D9637BA631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338604" y="8508414"/>
              <a:ext cx="978649" cy="926803"/>
            </a:xfrm>
            <a:custGeom>
              <a:avLst/>
              <a:gdLst>
                <a:gd name="connsiteX0" fmla="*/ 711432 w 978649"/>
                <a:gd name="connsiteY0" fmla="*/ 336997 h 926803"/>
                <a:gd name="connsiteX1" fmla="*/ 978649 w 978649"/>
                <a:gd name="connsiteY1" fmla="*/ 336997 h 926803"/>
                <a:gd name="connsiteX2" fmla="*/ 978649 w 978649"/>
                <a:gd name="connsiteY2" fmla="*/ 926803 h 926803"/>
                <a:gd name="connsiteX3" fmla="*/ 711432 w 978649"/>
                <a:gd name="connsiteY3" fmla="*/ 926803 h 926803"/>
                <a:gd name="connsiteX4" fmla="*/ 0 w 978649"/>
                <a:gd name="connsiteY4" fmla="*/ 0 h 926803"/>
                <a:gd name="connsiteX5" fmla="*/ 267215 w 978649"/>
                <a:gd name="connsiteY5" fmla="*/ 0 h 926803"/>
                <a:gd name="connsiteX6" fmla="*/ 267215 w 978649"/>
                <a:gd name="connsiteY6" fmla="*/ 589808 h 926803"/>
                <a:gd name="connsiteX7" fmla="*/ 0 w 978649"/>
                <a:gd name="connsiteY7" fmla="*/ 589808 h 926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8649" h="926803">
                  <a:moveTo>
                    <a:pt x="711432" y="336997"/>
                  </a:moveTo>
                  <a:lnTo>
                    <a:pt x="978649" y="336997"/>
                  </a:lnTo>
                  <a:lnTo>
                    <a:pt x="978649" y="926803"/>
                  </a:lnTo>
                  <a:lnTo>
                    <a:pt x="711432" y="926803"/>
                  </a:lnTo>
                  <a:close/>
                  <a:moveTo>
                    <a:pt x="0" y="0"/>
                  </a:moveTo>
                  <a:lnTo>
                    <a:pt x="267215" y="0"/>
                  </a:lnTo>
                  <a:lnTo>
                    <a:pt x="267215" y="589808"/>
                  </a:lnTo>
                  <a:lnTo>
                    <a:pt x="0" y="58980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263364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anchor="ctr">
              <a:noAutofit/>
            </a:bodyPr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63" name="Freeform 197">
              <a:extLst>
                <a:ext uri="{FF2B5EF4-FFF2-40B4-BE49-F238E27FC236}">
                  <a16:creationId xmlns:a16="http://schemas.microsoft.com/office/drawing/2014/main" id="{0F247B2A-4F08-0742-A88D-A7CAB75429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338604" y="9038391"/>
              <a:ext cx="270748" cy="135375"/>
            </a:xfrm>
            <a:custGeom>
              <a:avLst/>
              <a:gdLst>
                <a:gd name="T0" fmla="*/ 415 w 416"/>
                <a:gd name="T1" fmla="*/ 104 h 209"/>
                <a:gd name="T2" fmla="*/ 415 w 416"/>
                <a:gd name="T3" fmla="*/ 104 h 209"/>
                <a:gd name="T4" fmla="*/ 207 w 416"/>
                <a:gd name="T5" fmla="*/ 208 h 209"/>
                <a:gd name="T6" fmla="*/ 207 w 416"/>
                <a:gd name="T7" fmla="*/ 208 h 209"/>
                <a:gd name="T8" fmla="*/ 0 w 416"/>
                <a:gd name="T9" fmla="*/ 104 h 209"/>
                <a:gd name="T10" fmla="*/ 0 w 416"/>
                <a:gd name="T11" fmla="*/ 104 h 209"/>
                <a:gd name="T12" fmla="*/ 207 w 416"/>
                <a:gd name="T13" fmla="*/ 0 h 209"/>
                <a:gd name="T14" fmla="*/ 207 w 416"/>
                <a:gd name="T15" fmla="*/ 0 h 209"/>
                <a:gd name="T16" fmla="*/ 415 w 416"/>
                <a:gd name="T17" fmla="*/ 104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6" h="209">
                  <a:moveTo>
                    <a:pt x="415" y="104"/>
                  </a:moveTo>
                  <a:lnTo>
                    <a:pt x="415" y="104"/>
                  </a:lnTo>
                  <a:cubicBezTo>
                    <a:pt x="415" y="161"/>
                    <a:pt x="322" y="208"/>
                    <a:pt x="207" y="208"/>
                  </a:cubicBezTo>
                  <a:lnTo>
                    <a:pt x="207" y="208"/>
                  </a:lnTo>
                  <a:cubicBezTo>
                    <a:pt x="93" y="208"/>
                    <a:pt x="0" y="161"/>
                    <a:pt x="0" y="104"/>
                  </a:cubicBezTo>
                  <a:lnTo>
                    <a:pt x="0" y="104"/>
                  </a:lnTo>
                  <a:cubicBezTo>
                    <a:pt x="0" y="47"/>
                    <a:pt x="93" y="0"/>
                    <a:pt x="207" y="0"/>
                  </a:cubicBezTo>
                  <a:lnTo>
                    <a:pt x="207" y="0"/>
                  </a:lnTo>
                  <a:cubicBezTo>
                    <a:pt x="322" y="0"/>
                    <a:pt x="415" y="47"/>
                    <a:pt x="415" y="10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263364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64" name="Freeform 198">
              <a:extLst>
                <a:ext uri="{FF2B5EF4-FFF2-40B4-BE49-F238E27FC236}">
                  <a16:creationId xmlns:a16="http://schemas.microsoft.com/office/drawing/2014/main" id="{CCD87311-9669-C149-A905-3D99DC4046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920958" y="7978439"/>
              <a:ext cx="1797309" cy="1111797"/>
            </a:xfrm>
            <a:custGeom>
              <a:avLst/>
              <a:gdLst>
                <a:gd name="T0" fmla="*/ 570 w 2752"/>
                <a:gd name="T1" fmla="*/ 800 h 1702"/>
                <a:gd name="T2" fmla="*/ 570 w 2752"/>
                <a:gd name="T3" fmla="*/ 800 h 1702"/>
                <a:gd name="T4" fmla="*/ 160 w 2752"/>
                <a:gd name="T5" fmla="*/ 321 h 1702"/>
                <a:gd name="T6" fmla="*/ 160 w 2752"/>
                <a:gd name="T7" fmla="*/ 321 h 1702"/>
                <a:gd name="T8" fmla="*/ 1050 w 2752"/>
                <a:gd name="T9" fmla="*/ 50 h 1702"/>
                <a:gd name="T10" fmla="*/ 1050 w 2752"/>
                <a:gd name="T11" fmla="*/ 50 h 1702"/>
                <a:gd name="T12" fmla="*/ 2581 w 2752"/>
                <a:gd name="T13" fmla="*/ 991 h 1702"/>
                <a:gd name="T14" fmla="*/ 2581 w 2752"/>
                <a:gd name="T15" fmla="*/ 991 h 1702"/>
                <a:gd name="T16" fmla="*/ 2521 w 2752"/>
                <a:gd name="T17" fmla="*/ 1591 h 1702"/>
                <a:gd name="T18" fmla="*/ 2521 w 2752"/>
                <a:gd name="T19" fmla="*/ 1591 h 1702"/>
                <a:gd name="T20" fmla="*/ 1911 w 2752"/>
                <a:gd name="T21" fmla="*/ 1591 h 1702"/>
                <a:gd name="T22" fmla="*/ 1911 w 2752"/>
                <a:gd name="T23" fmla="*/ 1591 h 1702"/>
                <a:gd name="T24" fmla="*/ 570 w 2752"/>
                <a:gd name="T25" fmla="*/ 800 h 17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52" h="1702">
                  <a:moveTo>
                    <a:pt x="570" y="800"/>
                  </a:moveTo>
                  <a:lnTo>
                    <a:pt x="570" y="800"/>
                  </a:lnTo>
                  <a:cubicBezTo>
                    <a:pt x="320" y="672"/>
                    <a:pt x="0" y="561"/>
                    <a:pt x="160" y="321"/>
                  </a:cubicBezTo>
                  <a:lnTo>
                    <a:pt x="160" y="321"/>
                  </a:lnTo>
                  <a:cubicBezTo>
                    <a:pt x="309" y="95"/>
                    <a:pt x="690" y="0"/>
                    <a:pt x="1050" y="50"/>
                  </a:cubicBezTo>
                  <a:lnTo>
                    <a:pt x="1050" y="50"/>
                  </a:lnTo>
                  <a:cubicBezTo>
                    <a:pt x="1482" y="110"/>
                    <a:pt x="2411" y="780"/>
                    <a:pt x="2581" y="991"/>
                  </a:cubicBezTo>
                  <a:lnTo>
                    <a:pt x="2581" y="991"/>
                  </a:lnTo>
                  <a:cubicBezTo>
                    <a:pt x="2751" y="1201"/>
                    <a:pt x="2701" y="1481"/>
                    <a:pt x="2521" y="1591"/>
                  </a:cubicBezTo>
                  <a:lnTo>
                    <a:pt x="2521" y="1591"/>
                  </a:lnTo>
                  <a:cubicBezTo>
                    <a:pt x="2341" y="1701"/>
                    <a:pt x="2141" y="1691"/>
                    <a:pt x="1911" y="1591"/>
                  </a:cubicBezTo>
                  <a:lnTo>
                    <a:pt x="1911" y="1591"/>
                  </a:lnTo>
                  <a:cubicBezTo>
                    <a:pt x="1681" y="1491"/>
                    <a:pt x="900" y="971"/>
                    <a:pt x="570" y="800"/>
                  </a:cubicBezTo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65" name="Freeform 199">
              <a:extLst>
                <a:ext uri="{FF2B5EF4-FFF2-40B4-BE49-F238E27FC236}">
                  <a16:creationId xmlns:a16="http://schemas.microsoft.com/office/drawing/2014/main" id="{2CFC90E9-D983-9A4B-B24E-E8358AE860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82531" y="4380942"/>
              <a:ext cx="466609" cy="31682"/>
            </a:xfrm>
            <a:custGeom>
              <a:avLst/>
              <a:gdLst>
                <a:gd name="T0" fmla="*/ 0 w 715"/>
                <a:gd name="T1" fmla="*/ 25 h 49"/>
                <a:gd name="T2" fmla="*/ 713 w 715"/>
                <a:gd name="T3" fmla="*/ 0 h 49"/>
                <a:gd name="T4" fmla="*/ 714 w 715"/>
                <a:gd name="T5" fmla="*/ 13 h 49"/>
                <a:gd name="T6" fmla="*/ 1 w 715"/>
                <a:gd name="T7" fmla="*/ 48 h 49"/>
                <a:gd name="T8" fmla="*/ 0 w 715"/>
                <a:gd name="T9" fmla="*/ 25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5" h="49">
                  <a:moveTo>
                    <a:pt x="0" y="25"/>
                  </a:moveTo>
                  <a:lnTo>
                    <a:pt x="713" y="0"/>
                  </a:lnTo>
                  <a:lnTo>
                    <a:pt x="714" y="13"/>
                  </a:lnTo>
                  <a:lnTo>
                    <a:pt x="1" y="48"/>
                  </a:lnTo>
                  <a:lnTo>
                    <a:pt x="0" y="25"/>
                  </a:ln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66" name="Freeform 200">
              <a:extLst>
                <a:ext uri="{FF2B5EF4-FFF2-40B4-BE49-F238E27FC236}">
                  <a16:creationId xmlns:a16="http://schemas.microsoft.com/office/drawing/2014/main" id="{CCB7197C-F4EF-B544-8B1C-1E4E76A4F4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856522" y="4861952"/>
              <a:ext cx="941860" cy="504054"/>
            </a:xfrm>
            <a:custGeom>
              <a:avLst/>
              <a:gdLst>
                <a:gd name="T0" fmla="*/ 0 w 1440"/>
                <a:gd name="T1" fmla="*/ 732 h 772"/>
                <a:gd name="T2" fmla="*/ 0 w 1440"/>
                <a:gd name="T3" fmla="*/ 732 h 772"/>
                <a:gd name="T4" fmla="*/ 360 w 1440"/>
                <a:gd name="T5" fmla="*/ 732 h 772"/>
                <a:gd name="T6" fmla="*/ 360 w 1440"/>
                <a:gd name="T7" fmla="*/ 732 h 772"/>
                <a:gd name="T8" fmla="*/ 1315 w 1440"/>
                <a:gd name="T9" fmla="*/ 457 h 772"/>
                <a:gd name="T10" fmla="*/ 1315 w 1440"/>
                <a:gd name="T11" fmla="*/ 457 h 772"/>
                <a:gd name="T12" fmla="*/ 1393 w 1440"/>
                <a:gd name="T13" fmla="*/ 254 h 772"/>
                <a:gd name="T14" fmla="*/ 1393 w 1440"/>
                <a:gd name="T15" fmla="*/ 254 h 772"/>
                <a:gd name="T16" fmla="*/ 1138 w 1440"/>
                <a:gd name="T17" fmla="*/ 0 h 772"/>
                <a:gd name="T18" fmla="*/ 1138 w 1440"/>
                <a:gd name="T19" fmla="*/ 0 h 772"/>
                <a:gd name="T20" fmla="*/ 255 w 1440"/>
                <a:gd name="T21" fmla="*/ 379 h 772"/>
                <a:gd name="T22" fmla="*/ 255 w 1440"/>
                <a:gd name="T23" fmla="*/ 379 h 772"/>
                <a:gd name="T24" fmla="*/ 0 w 1440"/>
                <a:gd name="T25" fmla="*/ 732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40" h="772">
                  <a:moveTo>
                    <a:pt x="0" y="732"/>
                  </a:moveTo>
                  <a:lnTo>
                    <a:pt x="0" y="732"/>
                  </a:lnTo>
                  <a:cubicBezTo>
                    <a:pt x="0" y="732"/>
                    <a:pt x="235" y="692"/>
                    <a:pt x="360" y="732"/>
                  </a:cubicBezTo>
                  <a:lnTo>
                    <a:pt x="360" y="732"/>
                  </a:lnTo>
                  <a:cubicBezTo>
                    <a:pt x="484" y="771"/>
                    <a:pt x="1190" y="509"/>
                    <a:pt x="1315" y="457"/>
                  </a:cubicBezTo>
                  <a:lnTo>
                    <a:pt x="1315" y="457"/>
                  </a:lnTo>
                  <a:cubicBezTo>
                    <a:pt x="1439" y="405"/>
                    <a:pt x="1419" y="313"/>
                    <a:pt x="1393" y="254"/>
                  </a:cubicBezTo>
                  <a:lnTo>
                    <a:pt x="1393" y="254"/>
                  </a:lnTo>
                  <a:cubicBezTo>
                    <a:pt x="1367" y="196"/>
                    <a:pt x="1138" y="0"/>
                    <a:pt x="1138" y="0"/>
                  </a:cubicBezTo>
                  <a:lnTo>
                    <a:pt x="1138" y="0"/>
                  </a:lnTo>
                  <a:cubicBezTo>
                    <a:pt x="1138" y="0"/>
                    <a:pt x="419" y="267"/>
                    <a:pt x="255" y="379"/>
                  </a:cubicBezTo>
                  <a:lnTo>
                    <a:pt x="255" y="379"/>
                  </a:lnTo>
                  <a:cubicBezTo>
                    <a:pt x="121" y="470"/>
                    <a:pt x="6" y="581"/>
                    <a:pt x="0" y="732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  <p:sp>
          <p:nvSpPr>
            <p:cNvPr id="167" name="Freeform 201">
              <a:extLst>
                <a:ext uri="{FF2B5EF4-FFF2-40B4-BE49-F238E27FC236}">
                  <a16:creationId xmlns:a16="http://schemas.microsoft.com/office/drawing/2014/main" id="{D6D5657A-089B-2D4F-A559-B6450C91E3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39052" y="5003087"/>
              <a:ext cx="682631" cy="426285"/>
            </a:xfrm>
            <a:custGeom>
              <a:avLst/>
              <a:gdLst>
                <a:gd name="T0" fmla="*/ 1045 w 1046"/>
                <a:gd name="T1" fmla="*/ 383 h 654"/>
                <a:gd name="T2" fmla="*/ 1045 w 1046"/>
                <a:gd name="T3" fmla="*/ 383 h 654"/>
                <a:gd name="T4" fmla="*/ 852 w 1046"/>
                <a:gd name="T5" fmla="*/ 23 h 654"/>
                <a:gd name="T6" fmla="*/ 852 w 1046"/>
                <a:gd name="T7" fmla="*/ 23 h 654"/>
                <a:gd name="T8" fmla="*/ 392 w 1046"/>
                <a:gd name="T9" fmla="*/ 50 h 654"/>
                <a:gd name="T10" fmla="*/ 392 w 1046"/>
                <a:gd name="T11" fmla="*/ 50 h 654"/>
                <a:gd name="T12" fmla="*/ 0 w 1046"/>
                <a:gd name="T13" fmla="*/ 352 h 654"/>
                <a:gd name="T14" fmla="*/ 0 w 1046"/>
                <a:gd name="T15" fmla="*/ 352 h 654"/>
                <a:gd name="T16" fmla="*/ 129 w 1046"/>
                <a:gd name="T17" fmla="*/ 357 h 654"/>
                <a:gd name="T18" fmla="*/ 129 w 1046"/>
                <a:gd name="T19" fmla="*/ 357 h 654"/>
                <a:gd name="T20" fmla="*/ 424 w 1046"/>
                <a:gd name="T21" fmla="*/ 252 h 654"/>
                <a:gd name="T22" fmla="*/ 424 w 1046"/>
                <a:gd name="T23" fmla="*/ 252 h 654"/>
                <a:gd name="T24" fmla="*/ 491 w 1046"/>
                <a:gd name="T25" fmla="*/ 351 h 654"/>
                <a:gd name="T26" fmla="*/ 491 w 1046"/>
                <a:gd name="T27" fmla="*/ 351 h 654"/>
                <a:gd name="T28" fmla="*/ 164 w 1046"/>
                <a:gd name="T29" fmla="*/ 526 h 654"/>
                <a:gd name="T30" fmla="*/ 164 w 1046"/>
                <a:gd name="T31" fmla="*/ 526 h 654"/>
                <a:gd name="T32" fmla="*/ 243 w 1046"/>
                <a:gd name="T33" fmla="*/ 570 h 654"/>
                <a:gd name="T34" fmla="*/ 243 w 1046"/>
                <a:gd name="T35" fmla="*/ 570 h 654"/>
                <a:gd name="T36" fmla="*/ 458 w 1046"/>
                <a:gd name="T37" fmla="*/ 552 h 654"/>
                <a:gd name="T38" fmla="*/ 458 w 1046"/>
                <a:gd name="T39" fmla="*/ 552 h 654"/>
                <a:gd name="T40" fmla="*/ 632 w 1046"/>
                <a:gd name="T41" fmla="*/ 600 h 654"/>
                <a:gd name="T42" fmla="*/ 632 w 1046"/>
                <a:gd name="T43" fmla="*/ 600 h 654"/>
                <a:gd name="T44" fmla="*/ 715 w 1046"/>
                <a:gd name="T45" fmla="*/ 643 h 654"/>
                <a:gd name="T46" fmla="*/ 1045 w 1046"/>
                <a:gd name="T47" fmla="*/ 383 h 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46" h="654">
                  <a:moveTo>
                    <a:pt x="1045" y="383"/>
                  </a:moveTo>
                  <a:lnTo>
                    <a:pt x="1045" y="383"/>
                  </a:lnTo>
                  <a:cubicBezTo>
                    <a:pt x="1045" y="383"/>
                    <a:pt x="869" y="45"/>
                    <a:pt x="852" y="23"/>
                  </a:cubicBezTo>
                  <a:lnTo>
                    <a:pt x="852" y="23"/>
                  </a:lnTo>
                  <a:cubicBezTo>
                    <a:pt x="835" y="0"/>
                    <a:pt x="454" y="50"/>
                    <a:pt x="392" y="50"/>
                  </a:cubicBezTo>
                  <a:lnTo>
                    <a:pt x="392" y="50"/>
                  </a:lnTo>
                  <a:cubicBezTo>
                    <a:pt x="330" y="50"/>
                    <a:pt x="0" y="307"/>
                    <a:pt x="0" y="352"/>
                  </a:cubicBezTo>
                  <a:lnTo>
                    <a:pt x="0" y="352"/>
                  </a:lnTo>
                  <a:cubicBezTo>
                    <a:pt x="0" y="396"/>
                    <a:pt x="102" y="380"/>
                    <a:pt x="129" y="357"/>
                  </a:cubicBezTo>
                  <a:lnTo>
                    <a:pt x="129" y="357"/>
                  </a:lnTo>
                  <a:cubicBezTo>
                    <a:pt x="157" y="335"/>
                    <a:pt x="424" y="252"/>
                    <a:pt x="424" y="252"/>
                  </a:cubicBezTo>
                  <a:lnTo>
                    <a:pt x="424" y="252"/>
                  </a:lnTo>
                  <a:cubicBezTo>
                    <a:pt x="424" y="252"/>
                    <a:pt x="524" y="334"/>
                    <a:pt x="491" y="351"/>
                  </a:cubicBezTo>
                  <a:lnTo>
                    <a:pt x="491" y="351"/>
                  </a:lnTo>
                  <a:cubicBezTo>
                    <a:pt x="457" y="368"/>
                    <a:pt x="130" y="464"/>
                    <a:pt x="164" y="526"/>
                  </a:cubicBezTo>
                  <a:lnTo>
                    <a:pt x="164" y="526"/>
                  </a:lnTo>
                  <a:cubicBezTo>
                    <a:pt x="171" y="539"/>
                    <a:pt x="199" y="572"/>
                    <a:pt x="243" y="570"/>
                  </a:cubicBezTo>
                  <a:lnTo>
                    <a:pt x="243" y="570"/>
                  </a:lnTo>
                  <a:cubicBezTo>
                    <a:pt x="353" y="567"/>
                    <a:pt x="379" y="568"/>
                    <a:pt x="458" y="552"/>
                  </a:cubicBezTo>
                  <a:lnTo>
                    <a:pt x="458" y="552"/>
                  </a:lnTo>
                  <a:cubicBezTo>
                    <a:pt x="521" y="540"/>
                    <a:pt x="586" y="557"/>
                    <a:pt x="632" y="600"/>
                  </a:cubicBezTo>
                  <a:lnTo>
                    <a:pt x="632" y="600"/>
                  </a:lnTo>
                  <a:cubicBezTo>
                    <a:pt x="689" y="653"/>
                    <a:pt x="715" y="643"/>
                    <a:pt x="715" y="643"/>
                  </a:cubicBezTo>
                  <a:lnTo>
                    <a:pt x="1045" y="383"/>
                  </a:lnTo>
                </a:path>
              </a:pathLst>
            </a:custGeom>
            <a:solidFill>
              <a:srgbClr val="FCE3C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263364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3266" dirty="0">
                <a:latin typeface="Lato Light" panose="020F0502020204030203" pitchFamily="34" charset="0"/>
              </a:endParaRPr>
            </a:p>
          </p:txBody>
        </p:sp>
      </p:grpSp>
      <p:pic>
        <p:nvPicPr>
          <p:cNvPr id="170" name="Turkey">
            <a:extLst>
              <a:ext uri="{FF2B5EF4-FFF2-40B4-BE49-F238E27FC236}">
                <a16:creationId xmlns:a16="http://schemas.microsoft.com/office/drawing/2014/main" id="{4C9D1D3C-6B30-B715-73F4-6E3FB59C2830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138840">
            <a:off x="10359172" y="4317293"/>
            <a:ext cx="990057" cy="619437"/>
          </a:xfrm>
          <a:prstGeom prst="rect">
            <a:avLst/>
          </a:prstGeom>
        </p:spPr>
      </p:pic>
      <p:pic>
        <p:nvPicPr>
          <p:cNvPr id="169" name="Grafik 168" descr="Rakete mit einfarbiger Füllung">
            <a:extLst>
              <a:ext uri="{FF2B5EF4-FFF2-40B4-BE49-F238E27FC236}">
                <a16:creationId xmlns:a16="http://schemas.microsoft.com/office/drawing/2014/main" id="{7D8E49EF-9FAC-F2C0-DFC5-E2AF289DDCE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381370">
            <a:off x="7684453" y="3053766"/>
            <a:ext cx="4423939" cy="4423939"/>
          </a:xfrm>
          <a:prstGeom prst="rect">
            <a:avLst/>
          </a:prstGeom>
        </p:spPr>
      </p:pic>
      <p:sp>
        <p:nvSpPr>
          <p:cNvPr id="171" name="Textfeld 170">
            <a:extLst>
              <a:ext uri="{FF2B5EF4-FFF2-40B4-BE49-F238E27FC236}">
                <a16:creationId xmlns:a16="http://schemas.microsoft.com/office/drawing/2014/main" id="{9F709905-473A-E8BD-8B8F-DA5F2E772065}"/>
              </a:ext>
            </a:extLst>
          </p:cNvPr>
          <p:cNvSpPr txBox="1"/>
          <p:nvPr/>
        </p:nvSpPr>
        <p:spPr>
          <a:xfrm>
            <a:off x="5638800" y="1804236"/>
            <a:ext cx="914400" cy="914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4000" b="1" i="0" u="none" dirty="0" err="1">
                <a:solidFill>
                  <a:schemeClr val="accent1"/>
                </a:solidFill>
                <a:latin typeface="Amasis MT Pro Black" panose="020F0502020204030204" pitchFamily="18" charset="0"/>
              </a:rPr>
              <a:t>Thank</a:t>
            </a:r>
            <a:r>
              <a:rPr lang="de-DE" sz="4000" b="1" i="0" u="none" dirty="0">
                <a:solidFill>
                  <a:schemeClr val="accent1"/>
                </a:solidFill>
                <a:latin typeface="Amasis MT Pro Black" panose="020F0502020204030204" pitchFamily="18" charset="0"/>
              </a:rPr>
              <a:t> </a:t>
            </a:r>
            <a:r>
              <a:rPr lang="de-DE" sz="4000" b="1" i="0" u="none" dirty="0" err="1">
                <a:solidFill>
                  <a:schemeClr val="accent1"/>
                </a:solidFill>
                <a:latin typeface="Amasis MT Pro Black" panose="020F0502020204030204" pitchFamily="18" charset="0"/>
              </a:rPr>
              <a:t>you</a:t>
            </a:r>
            <a:r>
              <a:rPr lang="de-DE" sz="4000" b="1" i="0" u="none" dirty="0">
                <a:solidFill>
                  <a:schemeClr val="accent1"/>
                </a:solidFill>
                <a:latin typeface="Amasis MT Pro Black" panose="020F0502020204030204" pitchFamily="18" charset="0"/>
              </a:rPr>
              <a:t> </a:t>
            </a:r>
            <a:r>
              <a:rPr lang="de-DE" sz="4000" b="1" i="0" u="none" dirty="0" err="1">
                <a:solidFill>
                  <a:schemeClr val="accent1"/>
                </a:solidFill>
                <a:latin typeface="Amasis MT Pro Black" panose="020F0502020204030204" pitchFamily="18" charset="0"/>
              </a:rPr>
              <a:t>for</a:t>
            </a:r>
            <a:r>
              <a:rPr lang="de-DE" sz="4000" b="1" i="0" u="none" dirty="0">
                <a:solidFill>
                  <a:schemeClr val="accent1"/>
                </a:solidFill>
                <a:latin typeface="Amasis MT Pro Black" panose="020F0502020204030204" pitchFamily="18" charset="0"/>
              </a:rPr>
              <a:t> </a:t>
            </a:r>
            <a:r>
              <a:rPr lang="de-DE" sz="4000" b="1" i="0" u="none" dirty="0" err="1">
                <a:solidFill>
                  <a:schemeClr val="accent1"/>
                </a:solidFill>
                <a:latin typeface="Amasis MT Pro Black" panose="020F0502020204030204" pitchFamily="18" charset="0"/>
              </a:rPr>
              <a:t>your</a:t>
            </a:r>
            <a:r>
              <a:rPr lang="de-DE" sz="4000" b="1" i="0" u="none" dirty="0">
                <a:solidFill>
                  <a:schemeClr val="accent1"/>
                </a:solidFill>
                <a:latin typeface="Amasis MT Pro Black" panose="020F0502020204030204" pitchFamily="18" charset="0"/>
              </a:rPr>
              <a:t> </a:t>
            </a:r>
            <a:r>
              <a:rPr lang="de-DE" sz="4000" b="1" i="0" u="none" dirty="0" err="1">
                <a:solidFill>
                  <a:schemeClr val="accent1"/>
                </a:solidFill>
                <a:latin typeface="Amasis MT Pro Black" panose="020F0502020204030204" pitchFamily="18" charset="0"/>
              </a:rPr>
              <a:t>attention</a:t>
            </a:r>
            <a:r>
              <a:rPr lang="de-DE" sz="4000" b="1" i="0" u="none" dirty="0">
                <a:solidFill>
                  <a:schemeClr val="accent1"/>
                </a:solidFill>
                <a:latin typeface="Amasis MT Pro Black" panose="020F0502020204030204" pitchFamily="18" charset="0"/>
              </a:rPr>
              <a:t>! </a:t>
            </a: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4000" b="1" dirty="0">
              <a:solidFill>
                <a:schemeClr val="accent1"/>
              </a:solidFill>
              <a:latin typeface="Amasis MT Pro Black" panose="020F0502020204030204" pitchFamily="18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4000" b="1" i="0" u="none" dirty="0">
                <a:solidFill>
                  <a:schemeClr val="accent1"/>
                </a:solidFill>
                <a:latin typeface="Amasis MT Pro Black" panose="020F0502020204030204" pitchFamily="18" charset="0"/>
              </a:rPr>
              <a:t>Any </a:t>
            </a:r>
            <a:r>
              <a:rPr lang="de-DE" sz="4000" b="1" i="0" u="none" dirty="0" err="1">
                <a:solidFill>
                  <a:schemeClr val="accent1"/>
                </a:solidFill>
                <a:latin typeface="Amasis MT Pro Black" panose="020F0502020204030204" pitchFamily="18" charset="0"/>
              </a:rPr>
              <a:t>questions</a:t>
            </a:r>
            <a:r>
              <a:rPr lang="de-DE" sz="4000" b="1" dirty="0">
                <a:solidFill>
                  <a:schemeClr val="accent1"/>
                </a:solidFill>
                <a:latin typeface="Amasis MT Pro Black" panose="020F0502020204030204" pitchFamily="18" charset="0"/>
              </a:rPr>
              <a:t>?</a:t>
            </a:r>
            <a:endParaRPr lang="de-DE" sz="4000" b="1" i="0" u="none" dirty="0">
              <a:solidFill>
                <a:schemeClr val="accent1"/>
              </a:solidFill>
              <a:latin typeface="Amasis MT Pro Black" panose="020F0502020204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205281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DBD963-B6EC-95A1-595C-0D194D0B6F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>
                <a:solidFill>
                  <a:schemeClr val="accent1"/>
                </a:solidFill>
              </a:rPr>
              <a:t>Backup </a:t>
            </a:r>
            <a:r>
              <a:rPr lang="de-DE" b="1" dirty="0" err="1">
                <a:solidFill>
                  <a:schemeClr val="accent1"/>
                </a:solidFill>
              </a:rPr>
              <a:t>slides</a:t>
            </a:r>
            <a:endParaRPr lang="de-DE" dirty="0"/>
          </a:p>
        </p:txBody>
      </p:sp>
      <p:sp>
        <p:nvSpPr>
          <p:cNvPr id="3" name="Titel 1">
            <a:extLst>
              <a:ext uri="{FF2B5EF4-FFF2-40B4-BE49-F238E27FC236}">
                <a16:creationId xmlns:a16="http://schemas.microsoft.com/office/drawing/2014/main" id="{6F876C1E-0079-988B-DB25-849F295F0D40}"/>
              </a:ext>
            </a:extLst>
          </p:cNvPr>
          <p:cNvSpPr txBox="1">
            <a:spLocks/>
          </p:cNvSpPr>
          <p:nvPr/>
        </p:nvSpPr>
        <p:spPr>
          <a:xfrm>
            <a:off x="458400" y="1233001"/>
            <a:ext cx="11275200" cy="58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de-DE" sz="3600" b="0" i="0" kern="1200" spc="-10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>
              <a:buFont typeface="+mj-lt"/>
              <a:buAutoNum type="arabicPeriod"/>
            </a:pPr>
            <a:r>
              <a:rPr lang="en-US" sz="1600" b="1" dirty="0">
                <a:solidFill>
                  <a:schemeClr val="accent1"/>
                </a:solidFill>
                <a:hlinkClick r:id="rId2" action="ppaction://hlinksldjump"/>
              </a:rPr>
              <a:t>About the intraday and day ahead market</a:t>
            </a:r>
            <a:endParaRPr lang="en-US" sz="1600" b="1" dirty="0">
              <a:solidFill>
                <a:schemeClr val="accent1"/>
              </a:solidFill>
            </a:endParaRPr>
          </a:p>
          <a:p>
            <a:pPr marL="342900" indent="-342900">
              <a:buFont typeface="+mj-lt"/>
              <a:buAutoNum type="arabicPeriod"/>
            </a:pPr>
            <a:endParaRPr lang="en-US" sz="1600" b="1" dirty="0">
              <a:solidFill>
                <a:schemeClr val="accent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de-DE" sz="1600" b="1" i="0" u="none" dirty="0" err="1">
                <a:solidFill>
                  <a:schemeClr val="accent1"/>
                </a:solidFill>
                <a:hlinkClick r:id="rId3" action="ppaction://hlinksldjump"/>
              </a:rPr>
              <a:t>Electricity</a:t>
            </a:r>
            <a:r>
              <a:rPr lang="de-DE" sz="1600" b="1" i="0" u="none" dirty="0">
                <a:solidFill>
                  <a:schemeClr val="accent1"/>
                </a:solidFill>
                <a:hlinkClick r:id="rId3" action="ppaction://hlinksldjump"/>
              </a:rPr>
              <a:t> </a:t>
            </a:r>
            <a:r>
              <a:rPr lang="de-DE" sz="1600" b="1" i="0" u="none" dirty="0" err="1">
                <a:solidFill>
                  <a:schemeClr val="accent1"/>
                </a:solidFill>
                <a:hlinkClick r:id="rId3" action="ppaction://hlinksldjump"/>
              </a:rPr>
              <a:t>market</a:t>
            </a:r>
            <a:r>
              <a:rPr lang="de-DE" sz="1600" b="1" i="0" u="none" dirty="0">
                <a:solidFill>
                  <a:schemeClr val="accent1"/>
                </a:solidFill>
                <a:hlinkClick r:id="rId3" action="ppaction://hlinksldjump"/>
              </a:rPr>
              <a:t> </a:t>
            </a:r>
            <a:r>
              <a:rPr lang="de-DE" sz="1600" b="1" i="0" u="none" dirty="0" err="1">
                <a:solidFill>
                  <a:schemeClr val="accent1"/>
                </a:solidFill>
                <a:hlinkClick r:id="rId3" action="ppaction://hlinksldjump"/>
              </a:rPr>
              <a:t>comparison</a:t>
            </a:r>
            <a:endParaRPr lang="de-DE" sz="1600" b="1" i="0" u="none" dirty="0">
              <a:solidFill>
                <a:schemeClr val="accent1"/>
              </a:solidFill>
            </a:endParaRPr>
          </a:p>
          <a:p>
            <a:pPr marL="342900" indent="-342900">
              <a:buFont typeface="+mj-lt"/>
              <a:buAutoNum type="arabicPeriod"/>
            </a:pPr>
            <a:endParaRPr lang="de-DE" sz="1600" b="1" dirty="0">
              <a:solidFill>
                <a:schemeClr val="accent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de-DE" sz="1600" b="1" i="0" u="none" dirty="0">
                <a:solidFill>
                  <a:schemeClr val="accent1"/>
                </a:solidFill>
                <a:hlinkClick r:id="rId4" action="ppaction://hlinksldjump"/>
              </a:rPr>
              <a:t>Trade </a:t>
            </a:r>
            <a:r>
              <a:rPr lang="de-DE" sz="1600" b="1" i="0" u="none" dirty="0" err="1">
                <a:solidFill>
                  <a:schemeClr val="accent1"/>
                </a:solidFill>
                <a:hlinkClick r:id="rId4" action="ppaction://hlinksldjump"/>
              </a:rPr>
              <a:t>information</a:t>
            </a:r>
            <a:endParaRPr lang="de-DE" sz="1600" b="1" i="0" u="none" dirty="0">
              <a:solidFill>
                <a:schemeClr val="accent1"/>
              </a:solidFill>
            </a:endParaRPr>
          </a:p>
          <a:p>
            <a:pPr marL="342900" indent="-342900">
              <a:buFont typeface="+mj-lt"/>
              <a:buAutoNum type="arabicPeriod"/>
            </a:pPr>
            <a:endParaRPr lang="de-DE" sz="1600" b="1" dirty="0">
              <a:solidFill>
                <a:schemeClr val="accent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de-DE" sz="1600" b="1" i="0" u="none" dirty="0" err="1">
                <a:solidFill>
                  <a:schemeClr val="accent1"/>
                </a:solidFill>
                <a:latin typeface="Segoe UI Semibold (Überschriften)"/>
                <a:hlinkClick r:id="rId5" action="ppaction://hlinksldjump"/>
              </a:rPr>
              <a:t>Example</a:t>
            </a:r>
            <a:r>
              <a:rPr lang="de-DE" sz="1600" b="1" i="0" u="none" dirty="0">
                <a:solidFill>
                  <a:schemeClr val="accent1"/>
                </a:solidFill>
                <a:latin typeface="Segoe UI Semibold (Überschriften)"/>
                <a:hlinkClick r:id="rId5" action="ppaction://hlinksldjump"/>
              </a:rPr>
              <a:t> ID3 </a:t>
            </a:r>
            <a:r>
              <a:rPr lang="de-DE" sz="1600" b="1" i="0" u="none" dirty="0" err="1">
                <a:solidFill>
                  <a:schemeClr val="accent1"/>
                </a:solidFill>
                <a:latin typeface="Segoe UI Semibold (Überschriften)"/>
                <a:hlinkClick r:id="rId5" action="ppaction://hlinksldjump"/>
              </a:rPr>
              <a:t>calculation</a:t>
            </a:r>
            <a:endParaRPr lang="de-DE" sz="1600" b="1" i="0" u="none" dirty="0">
              <a:solidFill>
                <a:schemeClr val="accent1"/>
              </a:solidFill>
              <a:latin typeface="Segoe UI Semibold (Überschriften)"/>
            </a:endParaRPr>
          </a:p>
          <a:p>
            <a:pPr marL="342900" indent="-342900">
              <a:buFont typeface="+mj-lt"/>
              <a:buAutoNum type="arabicPeriod"/>
            </a:pPr>
            <a:endParaRPr lang="de-DE" sz="1600" b="1" dirty="0">
              <a:solidFill>
                <a:schemeClr val="accent1"/>
              </a:solidFill>
              <a:latin typeface="Segoe UI Semibold (Überschriften)"/>
            </a:endParaRPr>
          </a:p>
          <a:p>
            <a:pPr marL="342900" indent="-342900">
              <a:buFont typeface="+mj-lt"/>
              <a:buAutoNum type="arabicPeriod"/>
            </a:pPr>
            <a:r>
              <a:rPr lang="de-DE" sz="1600" b="1" i="0" u="none" dirty="0">
                <a:solidFill>
                  <a:schemeClr val="accent1"/>
                </a:solidFill>
                <a:hlinkClick r:id="rId6" action="ppaction://hlinksldjump"/>
              </a:rPr>
              <a:t>Model </a:t>
            </a:r>
            <a:r>
              <a:rPr lang="de-DE" sz="1600" b="1" i="0" u="none" dirty="0" err="1">
                <a:solidFill>
                  <a:schemeClr val="accent1"/>
                </a:solidFill>
                <a:hlinkClick r:id="rId6" action="ppaction://hlinksldjump"/>
              </a:rPr>
              <a:t>evaluation</a:t>
            </a:r>
            <a:r>
              <a:rPr lang="de-DE" sz="1600" b="1" i="0" u="none" dirty="0">
                <a:solidFill>
                  <a:schemeClr val="accent1"/>
                </a:solidFill>
                <a:hlinkClick r:id="rId6" action="ppaction://hlinksldjump"/>
              </a:rPr>
              <a:t> Regression (MAPE) 2 </a:t>
            </a:r>
            <a:r>
              <a:rPr lang="de-DE" sz="1600" b="1" i="0" u="none" dirty="0" err="1">
                <a:solidFill>
                  <a:schemeClr val="accent1"/>
                </a:solidFill>
                <a:hlinkClick r:id="rId6" action="ppaction://hlinksldjump"/>
              </a:rPr>
              <a:t>hours</a:t>
            </a:r>
            <a:r>
              <a:rPr lang="de-DE" sz="1600" b="1" i="0" u="none" dirty="0">
                <a:solidFill>
                  <a:schemeClr val="accent1"/>
                </a:solidFill>
                <a:hlinkClick r:id="rId6" action="ppaction://hlinksldjump"/>
              </a:rPr>
              <a:t> </a:t>
            </a:r>
            <a:r>
              <a:rPr lang="de-DE" sz="1600" b="1" i="0" u="none" dirty="0" err="1">
                <a:solidFill>
                  <a:schemeClr val="accent1"/>
                </a:solidFill>
                <a:hlinkClick r:id="rId6" action="ppaction://hlinksldjump"/>
              </a:rPr>
              <a:t>prior</a:t>
            </a:r>
            <a:endParaRPr lang="de-DE" sz="1600" b="1" i="0" u="none" dirty="0">
              <a:solidFill>
                <a:schemeClr val="accent1"/>
              </a:solidFill>
            </a:endParaRPr>
          </a:p>
          <a:p>
            <a:pPr marL="342900" indent="-342900">
              <a:buFont typeface="+mj-lt"/>
              <a:buAutoNum type="arabicPeriod"/>
            </a:pPr>
            <a:endParaRPr lang="de-DE" sz="1600" b="1" i="0" u="none" dirty="0">
              <a:solidFill>
                <a:schemeClr val="accent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de-DE" sz="1600" b="1" i="0" u="none" dirty="0">
                <a:solidFill>
                  <a:schemeClr val="accent1"/>
                </a:solidFill>
                <a:hlinkClick r:id="rId7" action="ppaction://hlinksldjump"/>
              </a:rPr>
              <a:t>Features</a:t>
            </a:r>
            <a:endParaRPr lang="de-DE" sz="1600" b="1" i="0" u="none" dirty="0">
              <a:solidFill>
                <a:schemeClr val="accent1"/>
              </a:solidFill>
            </a:endParaRPr>
          </a:p>
          <a:p>
            <a:pPr marL="342900" indent="-342900">
              <a:buFont typeface="+mj-lt"/>
              <a:buAutoNum type="arabicPeriod"/>
            </a:pPr>
            <a:endParaRPr lang="de-DE" sz="1600" b="1" i="0" u="none" dirty="0">
              <a:solidFill>
                <a:schemeClr val="accent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de-DE" sz="1600" b="1" i="0" u="none" dirty="0">
                <a:solidFill>
                  <a:schemeClr val="accent1"/>
                </a:solidFill>
                <a:hlinkClick r:id="rId8" action="ppaction://hlinksldjump"/>
              </a:rPr>
              <a:t>Feature </a:t>
            </a:r>
            <a:r>
              <a:rPr lang="de-DE" sz="1600" b="1" i="0" u="none" dirty="0" err="1">
                <a:solidFill>
                  <a:schemeClr val="accent1"/>
                </a:solidFill>
                <a:hlinkClick r:id="rId8" action="ppaction://hlinksldjump"/>
              </a:rPr>
              <a:t>importance</a:t>
            </a:r>
            <a:endParaRPr lang="en-US" sz="16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689464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DBD963-B6EC-95A1-595C-0D194D0B6F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>
                <a:solidFill>
                  <a:schemeClr val="accent1"/>
                </a:solidFill>
              </a:rPr>
              <a:t>About </a:t>
            </a:r>
            <a:r>
              <a:rPr lang="de-DE" b="1" dirty="0" err="1">
                <a:solidFill>
                  <a:schemeClr val="accent1"/>
                </a:solidFill>
              </a:rPr>
              <a:t>the</a:t>
            </a:r>
            <a:r>
              <a:rPr lang="de-DE" b="1" dirty="0">
                <a:solidFill>
                  <a:schemeClr val="accent1"/>
                </a:solidFill>
              </a:rPr>
              <a:t> </a:t>
            </a:r>
            <a:r>
              <a:rPr lang="de-DE" b="1" dirty="0" err="1">
                <a:solidFill>
                  <a:schemeClr val="accent1"/>
                </a:solidFill>
              </a:rPr>
              <a:t>intraday</a:t>
            </a:r>
            <a:r>
              <a:rPr lang="de-DE" b="1" dirty="0">
                <a:solidFill>
                  <a:schemeClr val="accent1"/>
                </a:solidFill>
              </a:rPr>
              <a:t> and </a:t>
            </a:r>
            <a:r>
              <a:rPr lang="de-DE" b="1" dirty="0" err="1">
                <a:solidFill>
                  <a:schemeClr val="accent1"/>
                </a:solidFill>
              </a:rPr>
              <a:t>day</a:t>
            </a:r>
            <a:r>
              <a:rPr lang="de-DE" b="1" dirty="0">
                <a:solidFill>
                  <a:schemeClr val="accent1"/>
                </a:solidFill>
              </a:rPr>
              <a:t> </a:t>
            </a:r>
            <a:r>
              <a:rPr lang="de-DE" b="1" dirty="0" err="1">
                <a:solidFill>
                  <a:schemeClr val="accent1"/>
                </a:solidFill>
              </a:rPr>
              <a:t>ahead</a:t>
            </a:r>
            <a:r>
              <a:rPr lang="de-DE" b="1" dirty="0">
                <a:solidFill>
                  <a:schemeClr val="accent1"/>
                </a:solidFill>
              </a:rPr>
              <a:t> </a:t>
            </a:r>
            <a:r>
              <a:rPr lang="de-DE" b="1" dirty="0" err="1">
                <a:solidFill>
                  <a:schemeClr val="accent1"/>
                </a:solidFill>
              </a:rPr>
              <a:t>market</a:t>
            </a:r>
            <a:endParaRPr lang="de-DE" dirty="0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FBABE3DC-8086-7B84-80C3-523BDBAB9D31}"/>
              </a:ext>
            </a:extLst>
          </p:cNvPr>
          <p:cNvSpPr/>
          <p:nvPr/>
        </p:nvSpPr>
        <p:spPr>
          <a:xfrm>
            <a:off x="458400" y="1238250"/>
            <a:ext cx="4904175" cy="5832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r>
              <a:rPr lang="de-DE" sz="1600" dirty="0">
                <a:solidFill>
                  <a:schemeClr val="tx1"/>
                </a:solidFill>
              </a:rPr>
              <a:t>Day </a:t>
            </a:r>
            <a:r>
              <a:rPr lang="de-DE" sz="1600" dirty="0" err="1">
                <a:solidFill>
                  <a:schemeClr val="tx1"/>
                </a:solidFill>
              </a:rPr>
              <a:t>Ahead</a:t>
            </a:r>
            <a:r>
              <a:rPr lang="de-DE" sz="1600" dirty="0">
                <a:solidFill>
                  <a:schemeClr val="tx1"/>
                </a:solidFill>
              </a:rPr>
              <a:t> Market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3887CF09-0AE9-9824-65A3-F34CA896E85B}"/>
              </a:ext>
            </a:extLst>
          </p:cNvPr>
          <p:cNvSpPr/>
          <p:nvPr/>
        </p:nvSpPr>
        <p:spPr>
          <a:xfrm>
            <a:off x="6829425" y="1238250"/>
            <a:ext cx="4904175" cy="5832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r>
              <a:rPr lang="de-DE" sz="1600" dirty="0">
                <a:solidFill>
                  <a:schemeClr val="tx1"/>
                </a:solidFill>
              </a:rPr>
              <a:t>Intraday Market</a:t>
            </a:r>
          </a:p>
        </p:txBody>
      </p:sp>
      <p:pic>
        <p:nvPicPr>
          <p:cNvPr id="8" name="Grafik 7" descr="Uhr Silhouette">
            <a:extLst>
              <a:ext uri="{FF2B5EF4-FFF2-40B4-BE49-F238E27FC236}">
                <a16:creationId xmlns:a16="http://schemas.microsoft.com/office/drawing/2014/main" id="{BBF8ECFD-FBEC-2790-6F62-5D14DC585EE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93999" y="2018699"/>
            <a:ext cx="583200" cy="583200"/>
          </a:xfrm>
          <a:prstGeom prst="rect">
            <a:avLst/>
          </a:prstGeom>
        </p:spPr>
      </p:pic>
      <p:pic>
        <p:nvPicPr>
          <p:cNvPr id="10" name="Grafik 9" descr="Filmklappe Silhouette">
            <a:extLst>
              <a:ext uri="{FF2B5EF4-FFF2-40B4-BE49-F238E27FC236}">
                <a16:creationId xmlns:a16="http://schemas.microsoft.com/office/drawing/2014/main" id="{41C65E54-B0CC-2403-5C43-0FA5BBD91E2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807019" y="2025151"/>
            <a:ext cx="583200" cy="583200"/>
          </a:xfrm>
          <a:prstGeom prst="rect">
            <a:avLst/>
          </a:prstGeom>
        </p:spPr>
      </p:pic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7C5322C9-E2D8-7C7E-988C-CE3EA9A15B02}"/>
              </a:ext>
            </a:extLst>
          </p:cNvPr>
          <p:cNvCxnSpPr>
            <a:cxnSpLocks/>
          </p:cNvCxnSpPr>
          <p:nvPr/>
        </p:nvCxnSpPr>
        <p:spPr>
          <a:xfrm>
            <a:off x="2247900" y="2018699"/>
            <a:ext cx="0" cy="3277201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251EAF0F-8B6F-A93B-BA5B-4ABD8631C927}"/>
              </a:ext>
            </a:extLst>
          </p:cNvPr>
          <p:cNvGrpSpPr/>
          <p:nvPr/>
        </p:nvGrpSpPr>
        <p:grpSpPr>
          <a:xfrm>
            <a:off x="1028399" y="2799148"/>
            <a:ext cx="914400" cy="2612254"/>
            <a:chOff x="1111143" y="2799148"/>
            <a:chExt cx="914400" cy="2612254"/>
          </a:xfrm>
        </p:grpSpPr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93E027D7-A54E-3F88-36AF-401515DBD0B1}"/>
                </a:ext>
              </a:extLst>
            </p:cNvPr>
            <p:cNvSpPr txBox="1"/>
            <p:nvPr/>
          </p:nvSpPr>
          <p:spPr>
            <a:xfrm>
              <a:off x="1111143" y="2799148"/>
              <a:ext cx="914400" cy="914400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1" i="0" u="none" dirty="0">
                  <a:latin typeface="+mj-lt"/>
                </a:rPr>
                <a:t>11 am</a:t>
              </a:r>
            </a:p>
          </p:txBody>
        </p:sp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67261731-780E-7F08-AF2D-132C03308175}"/>
                </a:ext>
              </a:extLst>
            </p:cNvPr>
            <p:cNvSpPr txBox="1"/>
            <p:nvPr/>
          </p:nvSpPr>
          <p:spPr>
            <a:xfrm>
              <a:off x="1111143" y="3365099"/>
              <a:ext cx="914400" cy="914400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1" dirty="0" err="1">
                  <a:latin typeface="+mj-lt"/>
                </a:rPr>
                <a:t>until</a:t>
              </a:r>
              <a:r>
                <a:rPr lang="de-DE" sz="1600" b="1" i="0" u="none" dirty="0">
                  <a:latin typeface="+mj-lt"/>
                </a:rPr>
                <a:t> 12:30</a:t>
              </a:r>
            </a:p>
          </p:txBody>
        </p:sp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29A29D5C-6F45-9210-811B-7026BD1BD9F0}"/>
                </a:ext>
              </a:extLst>
            </p:cNvPr>
            <p:cNvSpPr txBox="1"/>
            <p:nvPr/>
          </p:nvSpPr>
          <p:spPr>
            <a:xfrm>
              <a:off x="1111143" y="3931050"/>
              <a:ext cx="914400" cy="914400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1" i="0" u="none" dirty="0">
                  <a:latin typeface="+mj-lt"/>
                </a:rPr>
                <a:t>12:30 – 13:00</a:t>
              </a:r>
            </a:p>
          </p:txBody>
        </p:sp>
        <p:sp>
          <p:nvSpPr>
            <p:cNvPr id="28" name="Textfeld 27">
              <a:extLst>
                <a:ext uri="{FF2B5EF4-FFF2-40B4-BE49-F238E27FC236}">
                  <a16:creationId xmlns:a16="http://schemas.microsoft.com/office/drawing/2014/main" id="{D193B687-90FA-F9E9-94CF-F151F210469E}"/>
                </a:ext>
              </a:extLst>
            </p:cNvPr>
            <p:cNvSpPr txBox="1"/>
            <p:nvPr/>
          </p:nvSpPr>
          <p:spPr>
            <a:xfrm>
              <a:off x="1111143" y="4497002"/>
              <a:ext cx="914400" cy="914400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1" i="0" u="none" dirty="0">
                  <a:latin typeface="+mj-lt"/>
                </a:rPr>
                <a:t>13:00</a:t>
              </a:r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4CB7A479-A7D4-B730-4091-4821BE0D7171}"/>
              </a:ext>
            </a:extLst>
          </p:cNvPr>
          <p:cNvGrpSpPr/>
          <p:nvPr/>
        </p:nvGrpSpPr>
        <p:grpSpPr>
          <a:xfrm>
            <a:off x="3641419" y="2799148"/>
            <a:ext cx="914400" cy="2612254"/>
            <a:chOff x="3641419" y="2799148"/>
            <a:chExt cx="914400" cy="2612254"/>
          </a:xfrm>
        </p:grpSpPr>
        <p:sp>
          <p:nvSpPr>
            <p:cNvPr id="24" name="Textfeld 23">
              <a:extLst>
                <a:ext uri="{FF2B5EF4-FFF2-40B4-BE49-F238E27FC236}">
                  <a16:creationId xmlns:a16="http://schemas.microsoft.com/office/drawing/2014/main" id="{F52208E5-A1DF-ED71-943D-3BDC949041C3}"/>
                </a:ext>
              </a:extLst>
            </p:cNvPr>
            <p:cNvSpPr txBox="1"/>
            <p:nvPr/>
          </p:nvSpPr>
          <p:spPr>
            <a:xfrm>
              <a:off x="3641419" y="2799148"/>
              <a:ext cx="914400" cy="914400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0" i="0" u="none" dirty="0"/>
                <a:t>Market </a:t>
              </a:r>
              <a:r>
                <a:rPr lang="de-DE" sz="1600" b="0" i="0" u="none" dirty="0" err="1"/>
                <a:t>opening</a:t>
              </a:r>
              <a:endParaRPr lang="de-DE" sz="1600" b="0" i="0" u="none" dirty="0"/>
            </a:p>
          </p:txBody>
        </p:sp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id="{E114F0E2-9D3B-F328-090A-6C4E0E591099}"/>
                </a:ext>
              </a:extLst>
            </p:cNvPr>
            <p:cNvSpPr txBox="1"/>
            <p:nvPr/>
          </p:nvSpPr>
          <p:spPr>
            <a:xfrm>
              <a:off x="3641419" y="3365099"/>
              <a:ext cx="914400" cy="914400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0" i="0" u="none" dirty="0" err="1"/>
                <a:t>Bid</a:t>
              </a:r>
              <a:r>
                <a:rPr lang="de-DE" sz="1600" b="0" i="0" u="none" dirty="0"/>
                <a:t> </a:t>
              </a:r>
              <a:r>
                <a:rPr lang="de-DE" sz="1600" b="0" i="0" u="none" dirty="0" err="1"/>
                <a:t>submission</a:t>
              </a:r>
              <a:endParaRPr lang="de-DE" sz="1600" b="0" i="0" u="none" dirty="0"/>
            </a:p>
          </p:txBody>
        </p:sp>
        <p:sp>
          <p:nvSpPr>
            <p:cNvPr id="27" name="Textfeld 26">
              <a:extLst>
                <a:ext uri="{FF2B5EF4-FFF2-40B4-BE49-F238E27FC236}">
                  <a16:creationId xmlns:a16="http://schemas.microsoft.com/office/drawing/2014/main" id="{C43B449D-A1BA-67A9-3A0D-FBECE9AB5D4F}"/>
                </a:ext>
              </a:extLst>
            </p:cNvPr>
            <p:cNvSpPr txBox="1"/>
            <p:nvPr/>
          </p:nvSpPr>
          <p:spPr>
            <a:xfrm>
              <a:off x="3641419" y="3931050"/>
              <a:ext cx="914400" cy="914400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0" i="0" u="none" dirty="0"/>
                <a:t>Market </a:t>
              </a:r>
              <a:r>
                <a:rPr lang="de-DE" sz="1600" b="0" i="0" u="none" dirty="0" err="1"/>
                <a:t>equilibrium</a:t>
              </a:r>
              <a:r>
                <a:rPr lang="de-DE" sz="1600" b="0" i="0" u="none" dirty="0"/>
                <a:t> and pricing</a:t>
              </a:r>
            </a:p>
          </p:txBody>
        </p:sp>
        <p:sp>
          <p:nvSpPr>
            <p:cNvPr id="29" name="Textfeld 28">
              <a:extLst>
                <a:ext uri="{FF2B5EF4-FFF2-40B4-BE49-F238E27FC236}">
                  <a16:creationId xmlns:a16="http://schemas.microsoft.com/office/drawing/2014/main" id="{862601E1-C1FF-1232-0885-8A6F46A19EEB}"/>
                </a:ext>
              </a:extLst>
            </p:cNvPr>
            <p:cNvSpPr txBox="1"/>
            <p:nvPr/>
          </p:nvSpPr>
          <p:spPr>
            <a:xfrm>
              <a:off x="3641419" y="4497002"/>
              <a:ext cx="914400" cy="914400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0" i="0" u="none" dirty="0" err="1"/>
                <a:t>Publication</a:t>
              </a:r>
              <a:endParaRPr lang="de-DE" sz="1600" b="0" i="0" u="none" dirty="0"/>
            </a:p>
          </p:txBody>
        </p:sp>
      </p:grpSp>
      <p:pic>
        <p:nvPicPr>
          <p:cNvPr id="33" name="Grafik 32" descr="Uhr Silhouette">
            <a:extLst>
              <a:ext uri="{FF2B5EF4-FFF2-40B4-BE49-F238E27FC236}">
                <a16:creationId xmlns:a16="http://schemas.microsoft.com/office/drawing/2014/main" id="{9327C5D1-D94A-163A-18D2-1B04725C0D4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636181" y="2018699"/>
            <a:ext cx="583200" cy="583200"/>
          </a:xfrm>
          <a:prstGeom prst="rect">
            <a:avLst/>
          </a:prstGeom>
        </p:spPr>
      </p:pic>
      <p:pic>
        <p:nvPicPr>
          <p:cNvPr id="34" name="Grafik 33" descr="Filmklappe Silhouette">
            <a:extLst>
              <a:ext uri="{FF2B5EF4-FFF2-40B4-BE49-F238E27FC236}">
                <a16:creationId xmlns:a16="http://schemas.microsoft.com/office/drawing/2014/main" id="{143072D4-2ACD-D522-C4DD-6F57A7CA01A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49201" y="2025151"/>
            <a:ext cx="583200" cy="583200"/>
          </a:xfrm>
          <a:prstGeom prst="rect">
            <a:avLst/>
          </a:prstGeom>
        </p:spPr>
      </p:pic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53607DB7-4A1B-4C7A-2057-D0AE14E8C457}"/>
              </a:ext>
            </a:extLst>
          </p:cNvPr>
          <p:cNvCxnSpPr>
            <a:cxnSpLocks/>
          </p:cNvCxnSpPr>
          <p:nvPr/>
        </p:nvCxnSpPr>
        <p:spPr>
          <a:xfrm>
            <a:off x="8690082" y="2018699"/>
            <a:ext cx="0" cy="3277201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AF98CC22-740C-970A-9B83-16B0F36F54C4}"/>
              </a:ext>
            </a:extLst>
          </p:cNvPr>
          <p:cNvGrpSpPr/>
          <p:nvPr/>
        </p:nvGrpSpPr>
        <p:grpSpPr>
          <a:xfrm>
            <a:off x="7470581" y="2799148"/>
            <a:ext cx="914400" cy="1480351"/>
            <a:chOff x="1111143" y="2799148"/>
            <a:chExt cx="914400" cy="1480351"/>
          </a:xfrm>
        </p:grpSpPr>
        <p:sp>
          <p:nvSpPr>
            <p:cNvPr id="37" name="Textfeld 36">
              <a:extLst>
                <a:ext uri="{FF2B5EF4-FFF2-40B4-BE49-F238E27FC236}">
                  <a16:creationId xmlns:a16="http://schemas.microsoft.com/office/drawing/2014/main" id="{0E0C67CE-BFE5-1546-8E61-450E8C9236C4}"/>
                </a:ext>
              </a:extLst>
            </p:cNvPr>
            <p:cNvSpPr txBox="1"/>
            <p:nvPr/>
          </p:nvSpPr>
          <p:spPr>
            <a:xfrm>
              <a:off x="1111143" y="2799148"/>
              <a:ext cx="914400" cy="914400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1" dirty="0">
                  <a:latin typeface="+mj-lt"/>
                </a:rPr>
                <a:t>2 </a:t>
              </a:r>
              <a:r>
                <a:rPr lang="de-DE" sz="1600" b="1" dirty="0" err="1">
                  <a:latin typeface="+mj-lt"/>
                </a:rPr>
                <a:t>pm</a:t>
              </a:r>
              <a:r>
                <a:rPr lang="de-DE" sz="1600" b="1" dirty="0">
                  <a:latin typeface="+mj-lt"/>
                </a:rPr>
                <a:t> (DA)</a:t>
              </a:r>
              <a:endParaRPr lang="de-DE" sz="1600" b="1" i="0" u="none" dirty="0">
                <a:latin typeface="+mj-lt"/>
              </a:endParaRPr>
            </a:p>
          </p:txBody>
        </p:sp>
        <p:sp>
          <p:nvSpPr>
            <p:cNvPr id="38" name="Textfeld 37">
              <a:extLst>
                <a:ext uri="{FF2B5EF4-FFF2-40B4-BE49-F238E27FC236}">
                  <a16:creationId xmlns:a16="http://schemas.microsoft.com/office/drawing/2014/main" id="{6EDD7E17-B557-8D00-56FA-FA78DD70F656}"/>
                </a:ext>
              </a:extLst>
            </p:cNvPr>
            <p:cNvSpPr txBox="1"/>
            <p:nvPr/>
          </p:nvSpPr>
          <p:spPr>
            <a:xfrm>
              <a:off x="1111143" y="3365099"/>
              <a:ext cx="914400" cy="914400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1" dirty="0" err="1">
                  <a:latin typeface="+mj-lt"/>
                </a:rPr>
                <a:t>until</a:t>
              </a:r>
              <a:r>
                <a:rPr lang="de-DE" sz="1600" b="1" i="0" u="none" dirty="0">
                  <a:latin typeface="+mj-lt"/>
                </a:rPr>
                <a:t> 1 </a:t>
              </a:r>
              <a:r>
                <a:rPr lang="de-DE" sz="1600" b="1" i="0" u="none" dirty="0" err="1">
                  <a:latin typeface="+mj-lt"/>
                </a:rPr>
                <a:t>pm</a:t>
              </a:r>
              <a:r>
                <a:rPr lang="de-DE" sz="1600" b="1" i="0" u="none" dirty="0">
                  <a:latin typeface="+mj-lt"/>
                </a:rPr>
                <a:t> (ND)</a:t>
              </a:r>
            </a:p>
          </p:txBody>
        </p:sp>
      </p:grp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C60D02FE-C968-0680-C878-393BF3A980D3}"/>
              </a:ext>
            </a:extLst>
          </p:cNvPr>
          <p:cNvGrpSpPr/>
          <p:nvPr/>
        </p:nvGrpSpPr>
        <p:grpSpPr>
          <a:xfrm>
            <a:off x="10083601" y="2799148"/>
            <a:ext cx="914400" cy="1480351"/>
            <a:chOff x="3641419" y="2799148"/>
            <a:chExt cx="914400" cy="1480351"/>
          </a:xfrm>
        </p:grpSpPr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id="{A9DEFB7E-E105-79C1-A1CC-277E47E78960}"/>
                </a:ext>
              </a:extLst>
            </p:cNvPr>
            <p:cNvSpPr txBox="1"/>
            <p:nvPr/>
          </p:nvSpPr>
          <p:spPr>
            <a:xfrm>
              <a:off x="3641419" y="2799148"/>
              <a:ext cx="914400" cy="914400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0" i="0" u="none" dirty="0"/>
                <a:t>Market </a:t>
              </a:r>
              <a:r>
                <a:rPr lang="de-DE" sz="1600" b="0" i="0" u="none" dirty="0" err="1"/>
                <a:t>opening</a:t>
              </a:r>
              <a:endParaRPr lang="de-DE" sz="1600" b="0" i="0" u="none" dirty="0"/>
            </a:p>
          </p:txBody>
        </p:sp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3B6138E6-ED96-B76D-9E7A-9E01BE58179E}"/>
                </a:ext>
              </a:extLst>
            </p:cNvPr>
            <p:cNvSpPr txBox="1"/>
            <p:nvPr/>
          </p:nvSpPr>
          <p:spPr>
            <a:xfrm>
              <a:off x="3641419" y="3365099"/>
              <a:ext cx="914400" cy="914400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0" i="0" u="none" dirty="0"/>
                <a:t>Real- time </a:t>
              </a:r>
              <a:r>
                <a:rPr lang="de-DE" sz="1600" b="0" i="0" u="none" dirty="0" err="1"/>
                <a:t>bid</a:t>
              </a:r>
              <a:r>
                <a:rPr lang="de-DE" sz="1600" b="0" i="0" u="none" dirty="0"/>
                <a:t> </a:t>
              </a:r>
              <a:r>
                <a:rPr lang="de-DE" sz="1600" b="0" i="0" u="none" dirty="0" err="1"/>
                <a:t>submission</a:t>
              </a:r>
              <a:r>
                <a:rPr lang="de-DE" sz="1600" b="0" i="0" u="none" dirty="0"/>
                <a:t>,</a:t>
              </a:r>
            </a:p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dirty="0" err="1"/>
                <a:t>modification</a:t>
              </a:r>
              <a:r>
                <a:rPr lang="de-DE" sz="1600" dirty="0"/>
                <a:t> and </a:t>
              </a:r>
              <a:r>
                <a:rPr lang="de-DE" sz="1600" dirty="0" err="1"/>
                <a:t>cancellation</a:t>
              </a:r>
              <a:endParaRPr lang="de-DE" sz="1600" dirty="0"/>
            </a:p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de-DE" sz="1600" b="0" i="0" u="none" dirty="0"/>
            </a:p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dirty="0"/>
                <a:t>Order </a:t>
              </a:r>
              <a:r>
                <a:rPr lang="de-DE" sz="1600" dirty="0" err="1"/>
                <a:t>book</a:t>
              </a:r>
              <a:r>
                <a:rPr lang="de-DE" sz="1600" dirty="0"/>
                <a:t> </a:t>
              </a:r>
              <a:r>
                <a:rPr lang="de-DE" sz="1600" dirty="0" err="1"/>
                <a:t>system</a:t>
              </a:r>
              <a:r>
                <a:rPr lang="de-DE" sz="1600" dirty="0"/>
                <a:t> </a:t>
              </a:r>
              <a:r>
                <a:rPr lang="de-DE" sz="1600" dirty="0" err="1"/>
                <a:t>for</a:t>
              </a:r>
              <a:r>
                <a:rPr lang="de-DE" sz="1600" dirty="0"/>
                <a:t> </a:t>
              </a:r>
            </a:p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dirty="0" err="1"/>
                <a:t>price</a:t>
              </a:r>
              <a:r>
                <a:rPr lang="de-DE" sz="1600" dirty="0"/>
                <a:t> </a:t>
              </a:r>
              <a:r>
                <a:rPr lang="de-DE" sz="1600" dirty="0" err="1"/>
                <a:t>determination</a:t>
              </a:r>
              <a:endParaRPr lang="de-DE" sz="1600" b="0" i="0" u="none" dirty="0"/>
            </a:p>
          </p:txBody>
        </p:sp>
      </p:grpSp>
    </p:spTree>
    <p:extLst>
      <p:ext uri="{BB962C8B-B14F-4D97-AF65-F5344CB8AC3E}">
        <p14:creationId xmlns:p14="http://schemas.microsoft.com/office/powerpoint/2010/main" val="4862002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>
            <a:extLst>
              <a:ext uri="{FF2B5EF4-FFF2-40B4-BE49-F238E27FC236}">
                <a16:creationId xmlns:a16="http://schemas.microsoft.com/office/drawing/2014/main" id="{0D8066DA-9245-2D10-EB70-AFD1D61E1C7E}"/>
              </a:ext>
            </a:extLst>
          </p:cNvPr>
          <p:cNvSpPr txBox="1"/>
          <p:nvPr/>
        </p:nvSpPr>
        <p:spPr>
          <a:xfrm>
            <a:off x="490668" y="368749"/>
            <a:ext cx="8068236" cy="914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3600" b="1" i="0" u="none" dirty="0" err="1">
                <a:latin typeface="Segoe UI Semibold (Überschriften)"/>
              </a:rPr>
              <a:t>Introduction</a:t>
            </a:r>
            <a:r>
              <a:rPr lang="de-DE" sz="3600" b="1" i="0" u="none" dirty="0">
                <a:latin typeface="Segoe UI Semibold (Überschriften)"/>
              </a:rPr>
              <a:t> </a:t>
            </a:r>
            <a:r>
              <a:rPr lang="de-DE" sz="3600" b="1" i="0" u="none" dirty="0" err="1">
                <a:latin typeface="Segoe UI Semibold (Überschriften)"/>
              </a:rPr>
              <a:t>to</a:t>
            </a:r>
            <a:r>
              <a:rPr lang="de-DE" sz="3600" b="1" i="0" u="none" dirty="0">
                <a:latin typeface="Segoe UI Semibold (Überschriften)"/>
              </a:rPr>
              <a:t> </a:t>
            </a:r>
            <a:r>
              <a:rPr lang="de-DE" sz="3600" b="1" i="0" u="none" dirty="0" err="1">
                <a:latin typeface="Segoe UI Semibold (Überschriften)"/>
              </a:rPr>
              <a:t>our</a:t>
            </a:r>
            <a:r>
              <a:rPr lang="de-DE" sz="3600" b="1" i="0" u="none" dirty="0">
                <a:latin typeface="Segoe UI Semibold (Überschriften)"/>
              </a:rPr>
              <a:t> </a:t>
            </a:r>
            <a:r>
              <a:rPr lang="de-DE" sz="3600" b="1" i="0" u="none" dirty="0" err="1">
                <a:latin typeface="Segoe UI Semibold (Überschriften)"/>
              </a:rPr>
              <a:t>project</a:t>
            </a:r>
            <a:endParaRPr lang="de-DE" sz="3600" b="1" i="0" u="none" dirty="0">
              <a:latin typeface="Segoe UI Semibold (Überschriften)"/>
            </a:endParaRPr>
          </a:p>
        </p:txBody>
      </p:sp>
      <p:grpSp>
        <p:nvGrpSpPr>
          <p:cNvPr id="9" name="Magnifying glass 02">
            <a:extLst>
              <a:ext uri="{FF2B5EF4-FFF2-40B4-BE49-F238E27FC236}">
                <a16:creationId xmlns:a16="http://schemas.microsoft.com/office/drawing/2014/main" id="{A7E72363-5358-317C-E6C4-F5654EDAA6DE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>
          <a:xfrm>
            <a:off x="490668" y="1214941"/>
            <a:ext cx="360000" cy="360000"/>
            <a:chOff x="2811687" y="3640192"/>
            <a:chExt cx="592500" cy="592500"/>
          </a:xfrm>
          <a:solidFill>
            <a:schemeClr val="tx1"/>
          </a:solidFill>
        </p:grpSpPr>
        <p:sp>
          <p:nvSpPr>
            <p:cNvPr id="7" name="MIO_PICTOGRAM_PART2">
              <a:extLst>
                <a:ext uri="{FF2B5EF4-FFF2-40B4-BE49-F238E27FC236}">
                  <a16:creationId xmlns:a16="http://schemas.microsoft.com/office/drawing/2014/main" id="{635430B7-2D6F-9D7D-8E57-BF11A9E5CC46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>
            <a:xfrm>
              <a:off x="2811687" y="3640192"/>
              <a:ext cx="592500" cy="592500"/>
            </a:xfrm>
            <a:custGeom>
              <a:avLst/>
              <a:gdLst>
                <a:gd name="connsiteX0" fmla="*/ 363941 w 444375"/>
                <a:gd name="connsiteY0" fmla="*/ 308253 h 444375"/>
                <a:gd name="connsiteX1" fmla="*/ 329066 w 444375"/>
                <a:gd name="connsiteY1" fmla="*/ 297566 h 444375"/>
                <a:gd name="connsiteX2" fmla="*/ 303753 w 444375"/>
                <a:gd name="connsiteY2" fmla="*/ 272816 h 444375"/>
                <a:gd name="connsiteX3" fmla="*/ 338628 w 444375"/>
                <a:gd name="connsiteY3" fmla="*/ 170441 h 444375"/>
                <a:gd name="connsiteX4" fmla="*/ 169878 w 444375"/>
                <a:gd name="connsiteY4" fmla="*/ 3 h 444375"/>
                <a:gd name="connsiteX5" fmla="*/ 3 w 444375"/>
                <a:gd name="connsiteY5" fmla="*/ 168753 h 444375"/>
                <a:gd name="connsiteX6" fmla="*/ 168753 w 444375"/>
                <a:gd name="connsiteY6" fmla="*/ 338628 h 444375"/>
                <a:gd name="connsiteX7" fmla="*/ 272253 w 444375"/>
                <a:gd name="connsiteY7" fmla="*/ 303753 h 444375"/>
                <a:gd name="connsiteX8" fmla="*/ 297003 w 444375"/>
                <a:gd name="connsiteY8" fmla="*/ 328503 h 444375"/>
                <a:gd name="connsiteX9" fmla="*/ 307691 w 444375"/>
                <a:gd name="connsiteY9" fmla="*/ 363941 h 444375"/>
                <a:gd name="connsiteX10" fmla="*/ 378003 w 444375"/>
                <a:gd name="connsiteY10" fmla="*/ 434253 h 444375"/>
                <a:gd name="connsiteX11" fmla="*/ 433691 w 444375"/>
                <a:gd name="connsiteY11" fmla="*/ 434253 h 444375"/>
                <a:gd name="connsiteX12" fmla="*/ 433691 w 444375"/>
                <a:gd name="connsiteY12" fmla="*/ 378566 h 444375"/>
                <a:gd name="connsiteX13" fmla="*/ 363941 w 444375"/>
                <a:gd name="connsiteY13" fmla="*/ 308253 h 444375"/>
                <a:gd name="connsiteX14" fmla="*/ 169878 w 444375"/>
                <a:gd name="connsiteY14" fmla="*/ 304878 h 444375"/>
                <a:gd name="connsiteX15" fmla="*/ 34878 w 444375"/>
                <a:gd name="connsiteY15" fmla="*/ 169878 h 444375"/>
                <a:gd name="connsiteX16" fmla="*/ 169878 w 444375"/>
                <a:gd name="connsiteY16" fmla="*/ 34878 h 444375"/>
                <a:gd name="connsiteX17" fmla="*/ 304878 w 444375"/>
                <a:gd name="connsiteY17" fmla="*/ 169878 h 444375"/>
                <a:gd name="connsiteX18" fmla="*/ 169878 w 444375"/>
                <a:gd name="connsiteY18" fmla="*/ 304878 h 444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44375" h="444375">
                  <a:moveTo>
                    <a:pt x="363941" y="308253"/>
                  </a:moveTo>
                  <a:cubicBezTo>
                    <a:pt x="354941" y="299253"/>
                    <a:pt x="341441" y="294753"/>
                    <a:pt x="329066" y="297566"/>
                  </a:cubicBezTo>
                  <a:lnTo>
                    <a:pt x="303753" y="272816"/>
                  </a:lnTo>
                  <a:cubicBezTo>
                    <a:pt x="326253" y="243566"/>
                    <a:pt x="338628" y="207566"/>
                    <a:pt x="338628" y="170441"/>
                  </a:cubicBezTo>
                  <a:cubicBezTo>
                    <a:pt x="339191" y="76503"/>
                    <a:pt x="263253" y="566"/>
                    <a:pt x="169878" y="3"/>
                  </a:cubicBezTo>
                  <a:cubicBezTo>
                    <a:pt x="76503" y="-559"/>
                    <a:pt x="566" y="75378"/>
                    <a:pt x="3" y="168753"/>
                  </a:cubicBezTo>
                  <a:cubicBezTo>
                    <a:pt x="-559" y="262128"/>
                    <a:pt x="75378" y="338066"/>
                    <a:pt x="168753" y="338628"/>
                  </a:cubicBezTo>
                  <a:cubicBezTo>
                    <a:pt x="205878" y="338628"/>
                    <a:pt x="242441" y="326253"/>
                    <a:pt x="272253" y="303753"/>
                  </a:cubicBezTo>
                  <a:lnTo>
                    <a:pt x="297003" y="328503"/>
                  </a:lnTo>
                  <a:cubicBezTo>
                    <a:pt x="294753" y="341441"/>
                    <a:pt x="298691" y="354378"/>
                    <a:pt x="307691" y="363941"/>
                  </a:cubicBezTo>
                  <a:lnTo>
                    <a:pt x="378003" y="434253"/>
                  </a:lnTo>
                  <a:cubicBezTo>
                    <a:pt x="393191" y="449441"/>
                    <a:pt x="418503" y="449441"/>
                    <a:pt x="433691" y="434253"/>
                  </a:cubicBezTo>
                  <a:cubicBezTo>
                    <a:pt x="448878" y="419066"/>
                    <a:pt x="448878" y="393753"/>
                    <a:pt x="433691" y="378566"/>
                  </a:cubicBezTo>
                  <a:lnTo>
                    <a:pt x="363941" y="308253"/>
                  </a:lnTo>
                  <a:close/>
                  <a:moveTo>
                    <a:pt x="169878" y="304878"/>
                  </a:moveTo>
                  <a:cubicBezTo>
                    <a:pt x="95066" y="304878"/>
                    <a:pt x="34878" y="244691"/>
                    <a:pt x="34878" y="169878"/>
                  </a:cubicBezTo>
                  <a:cubicBezTo>
                    <a:pt x="34878" y="95066"/>
                    <a:pt x="95066" y="34878"/>
                    <a:pt x="169878" y="34878"/>
                  </a:cubicBezTo>
                  <a:cubicBezTo>
                    <a:pt x="244691" y="34878"/>
                    <a:pt x="304878" y="95066"/>
                    <a:pt x="304878" y="169878"/>
                  </a:cubicBezTo>
                  <a:cubicBezTo>
                    <a:pt x="304878" y="244128"/>
                    <a:pt x="244128" y="304878"/>
                    <a:pt x="169878" y="304878"/>
                  </a:cubicBezTo>
                  <a:close/>
                </a:path>
              </a:pathLst>
            </a:custGeom>
            <a:grpFill/>
            <a:ln w="55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cs typeface="Segoe UI Light"/>
              </a:endParaRPr>
            </a:p>
          </p:txBody>
        </p:sp>
        <p:sp>
          <p:nvSpPr>
            <p:cNvPr id="8" name="MIO_PICTOGRAM_PART1">
              <a:extLst>
                <a:ext uri="{FF2B5EF4-FFF2-40B4-BE49-F238E27FC236}">
                  <a16:creationId xmlns:a16="http://schemas.microsoft.com/office/drawing/2014/main" id="{F984D076-AE1A-86B7-4642-FB35C3EEB901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>
              <a:off x="2876942" y="3751659"/>
              <a:ext cx="322500" cy="232500"/>
            </a:xfrm>
            <a:custGeom>
              <a:avLst/>
              <a:gdLst>
                <a:gd name="connsiteX0" fmla="*/ 241875 w 241875"/>
                <a:gd name="connsiteY0" fmla="*/ 77841 h 174375"/>
                <a:gd name="connsiteX1" fmla="*/ 209813 w 241875"/>
                <a:gd name="connsiteY1" fmla="*/ 77841 h 174375"/>
                <a:gd name="connsiteX2" fmla="*/ 202500 w 241875"/>
                <a:gd name="connsiteY2" fmla="*/ 82341 h 174375"/>
                <a:gd name="connsiteX3" fmla="*/ 181125 w 241875"/>
                <a:gd name="connsiteY3" fmla="*/ 105403 h 174375"/>
                <a:gd name="connsiteX4" fmla="*/ 163125 w 241875"/>
                <a:gd name="connsiteY4" fmla="*/ 42966 h 174375"/>
                <a:gd name="connsiteX5" fmla="*/ 150750 w 241875"/>
                <a:gd name="connsiteY5" fmla="*/ 36216 h 174375"/>
                <a:gd name="connsiteX6" fmla="*/ 144000 w 241875"/>
                <a:gd name="connsiteY6" fmla="*/ 42403 h 174375"/>
                <a:gd name="connsiteX7" fmla="*/ 110250 w 241875"/>
                <a:gd name="connsiteY7" fmla="*/ 131841 h 174375"/>
                <a:gd name="connsiteX8" fmla="*/ 87188 w 241875"/>
                <a:gd name="connsiteY8" fmla="*/ 8091 h 174375"/>
                <a:gd name="connsiteX9" fmla="*/ 75938 w 241875"/>
                <a:gd name="connsiteY9" fmla="*/ 216 h 174375"/>
                <a:gd name="connsiteX10" fmla="*/ 68063 w 241875"/>
                <a:gd name="connsiteY10" fmla="*/ 6966 h 174375"/>
                <a:gd name="connsiteX11" fmla="*/ 43875 w 241875"/>
                <a:gd name="connsiteY11" fmla="*/ 77841 h 174375"/>
                <a:gd name="connsiteX12" fmla="*/ 0 w 241875"/>
                <a:gd name="connsiteY12" fmla="*/ 77841 h 174375"/>
                <a:gd name="connsiteX13" fmla="*/ 0 w 241875"/>
                <a:gd name="connsiteY13" fmla="*/ 100341 h 174375"/>
                <a:gd name="connsiteX14" fmla="*/ 51188 w 241875"/>
                <a:gd name="connsiteY14" fmla="*/ 100341 h 174375"/>
                <a:gd name="connsiteX15" fmla="*/ 60750 w 241875"/>
                <a:gd name="connsiteY15" fmla="*/ 91903 h 174375"/>
                <a:gd name="connsiteX16" fmla="*/ 74812 w 241875"/>
                <a:gd name="connsiteY16" fmla="*/ 49153 h 174375"/>
                <a:gd name="connsiteX17" fmla="*/ 97312 w 241875"/>
                <a:gd name="connsiteY17" fmla="*/ 170091 h 174375"/>
                <a:gd name="connsiteX18" fmla="*/ 106313 w 241875"/>
                <a:gd name="connsiteY18" fmla="*/ 177966 h 174375"/>
                <a:gd name="connsiteX19" fmla="*/ 107437 w 241875"/>
                <a:gd name="connsiteY19" fmla="*/ 177966 h 174375"/>
                <a:gd name="connsiteX20" fmla="*/ 117000 w 241875"/>
                <a:gd name="connsiteY20" fmla="*/ 171778 h 174375"/>
                <a:gd name="connsiteX21" fmla="*/ 153000 w 241875"/>
                <a:gd name="connsiteY21" fmla="*/ 77278 h 174375"/>
                <a:gd name="connsiteX22" fmla="*/ 167625 w 241875"/>
                <a:gd name="connsiteY22" fmla="*/ 127903 h 174375"/>
                <a:gd name="connsiteX23" fmla="*/ 180000 w 241875"/>
                <a:gd name="connsiteY23" fmla="*/ 134653 h 174375"/>
                <a:gd name="connsiteX24" fmla="*/ 184500 w 241875"/>
                <a:gd name="connsiteY24" fmla="*/ 131841 h 174375"/>
                <a:gd name="connsiteX25" fmla="*/ 214875 w 241875"/>
                <a:gd name="connsiteY25" fmla="*/ 100341 h 174375"/>
                <a:gd name="connsiteX26" fmla="*/ 242437 w 241875"/>
                <a:gd name="connsiteY26" fmla="*/ 100341 h 174375"/>
                <a:gd name="connsiteX27" fmla="*/ 242437 w 241875"/>
                <a:gd name="connsiteY27" fmla="*/ 77841 h 174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41875" h="174375">
                  <a:moveTo>
                    <a:pt x="241875" y="77841"/>
                  </a:moveTo>
                  <a:lnTo>
                    <a:pt x="209813" y="77841"/>
                  </a:lnTo>
                  <a:cubicBezTo>
                    <a:pt x="207000" y="78403"/>
                    <a:pt x="204188" y="80091"/>
                    <a:pt x="202500" y="82341"/>
                  </a:cubicBezTo>
                  <a:lnTo>
                    <a:pt x="181125" y="105403"/>
                  </a:lnTo>
                  <a:lnTo>
                    <a:pt x="163125" y="42966"/>
                  </a:lnTo>
                  <a:cubicBezTo>
                    <a:pt x="161438" y="37903"/>
                    <a:pt x="155813" y="34528"/>
                    <a:pt x="150750" y="36216"/>
                  </a:cubicBezTo>
                  <a:cubicBezTo>
                    <a:pt x="147938" y="37341"/>
                    <a:pt x="145125" y="39028"/>
                    <a:pt x="144000" y="42403"/>
                  </a:cubicBezTo>
                  <a:lnTo>
                    <a:pt x="110250" y="131841"/>
                  </a:lnTo>
                  <a:lnTo>
                    <a:pt x="87188" y="8091"/>
                  </a:lnTo>
                  <a:cubicBezTo>
                    <a:pt x="86062" y="2466"/>
                    <a:pt x="81000" y="-909"/>
                    <a:pt x="75938" y="216"/>
                  </a:cubicBezTo>
                  <a:cubicBezTo>
                    <a:pt x="72563" y="778"/>
                    <a:pt x="69750" y="3591"/>
                    <a:pt x="68063" y="6966"/>
                  </a:cubicBezTo>
                  <a:lnTo>
                    <a:pt x="43875" y="77841"/>
                  </a:lnTo>
                  <a:lnTo>
                    <a:pt x="0" y="77841"/>
                  </a:lnTo>
                  <a:lnTo>
                    <a:pt x="0" y="100341"/>
                  </a:lnTo>
                  <a:lnTo>
                    <a:pt x="51188" y="100341"/>
                  </a:lnTo>
                  <a:cubicBezTo>
                    <a:pt x="55687" y="99778"/>
                    <a:pt x="59625" y="96403"/>
                    <a:pt x="60750" y="91903"/>
                  </a:cubicBezTo>
                  <a:lnTo>
                    <a:pt x="74812" y="49153"/>
                  </a:lnTo>
                  <a:lnTo>
                    <a:pt x="97312" y="170091"/>
                  </a:lnTo>
                  <a:cubicBezTo>
                    <a:pt x="97875" y="174591"/>
                    <a:pt x="101812" y="177966"/>
                    <a:pt x="106313" y="177966"/>
                  </a:cubicBezTo>
                  <a:lnTo>
                    <a:pt x="107437" y="177966"/>
                  </a:lnTo>
                  <a:cubicBezTo>
                    <a:pt x="111375" y="177966"/>
                    <a:pt x="115313" y="175716"/>
                    <a:pt x="117000" y="171778"/>
                  </a:cubicBezTo>
                  <a:lnTo>
                    <a:pt x="153000" y="77278"/>
                  </a:lnTo>
                  <a:lnTo>
                    <a:pt x="167625" y="127903"/>
                  </a:lnTo>
                  <a:cubicBezTo>
                    <a:pt x="169312" y="132966"/>
                    <a:pt x="174375" y="136341"/>
                    <a:pt x="180000" y="134653"/>
                  </a:cubicBezTo>
                  <a:cubicBezTo>
                    <a:pt x="181688" y="134091"/>
                    <a:pt x="183375" y="132966"/>
                    <a:pt x="184500" y="131841"/>
                  </a:cubicBezTo>
                  <a:lnTo>
                    <a:pt x="214875" y="100341"/>
                  </a:lnTo>
                  <a:lnTo>
                    <a:pt x="242437" y="100341"/>
                  </a:lnTo>
                  <a:lnTo>
                    <a:pt x="242437" y="77841"/>
                  </a:lnTo>
                  <a:close/>
                </a:path>
              </a:pathLst>
            </a:custGeom>
            <a:grpFill/>
            <a:ln w="55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cs typeface="Segoe UI Light"/>
              </a:endParaRPr>
            </a:p>
          </p:txBody>
        </p:sp>
      </p:grpSp>
      <p:sp>
        <p:nvSpPr>
          <p:cNvPr id="10" name="Textfeld 9">
            <a:extLst>
              <a:ext uri="{FF2B5EF4-FFF2-40B4-BE49-F238E27FC236}">
                <a16:creationId xmlns:a16="http://schemas.microsoft.com/office/drawing/2014/main" id="{0E0D5A66-3AFC-2FE5-E2F9-B3F69F372DDA}"/>
              </a:ext>
            </a:extLst>
          </p:cNvPr>
          <p:cNvSpPr txBox="1"/>
          <p:nvPr/>
        </p:nvSpPr>
        <p:spPr>
          <a:xfrm>
            <a:off x="1036320" y="1275016"/>
            <a:ext cx="914400" cy="914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/>
              <a:t>Forecast </a:t>
            </a:r>
            <a:r>
              <a:rPr lang="de-DE" sz="1600" dirty="0" err="1"/>
              <a:t>the</a:t>
            </a:r>
            <a:r>
              <a:rPr lang="de-DE" sz="1600" dirty="0"/>
              <a:t> ID3 </a:t>
            </a:r>
            <a:r>
              <a:rPr lang="de-DE" sz="1600" dirty="0" err="1"/>
              <a:t>price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turkish</a:t>
            </a:r>
            <a:r>
              <a:rPr lang="de-DE" sz="1600" dirty="0"/>
              <a:t> </a:t>
            </a:r>
            <a:r>
              <a:rPr lang="de-DE" sz="1600" dirty="0" err="1"/>
              <a:t>intraday</a:t>
            </a:r>
            <a:r>
              <a:rPr lang="de-DE" sz="1600" dirty="0"/>
              <a:t> </a:t>
            </a:r>
            <a:r>
              <a:rPr lang="de-DE" sz="1600" dirty="0" err="1"/>
              <a:t>electricity</a:t>
            </a:r>
            <a:r>
              <a:rPr lang="de-DE" sz="1600" dirty="0"/>
              <a:t> </a:t>
            </a:r>
            <a:r>
              <a:rPr lang="de-DE" sz="1600" dirty="0" err="1"/>
              <a:t>market</a:t>
            </a:r>
            <a:endParaRPr lang="de-DE" sz="1600" b="0" i="0" u="none" dirty="0"/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EFA65F0A-182F-6ACB-69DB-C5DCB89055B7}"/>
              </a:ext>
            </a:extLst>
          </p:cNvPr>
          <p:cNvCxnSpPr/>
          <p:nvPr/>
        </p:nvCxnSpPr>
        <p:spPr>
          <a:xfrm>
            <a:off x="448291" y="1778000"/>
            <a:ext cx="11295417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12">
            <a:extLst>
              <a:ext uri="{FF2B5EF4-FFF2-40B4-BE49-F238E27FC236}">
                <a16:creationId xmlns:a16="http://schemas.microsoft.com/office/drawing/2014/main" id="{31B8F1B5-00BE-E400-46BF-D3AD8D86B25E}"/>
              </a:ext>
            </a:extLst>
          </p:cNvPr>
          <p:cNvSpPr txBox="1"/>
          <p:nvPr/>
        </p:nvSpPr>
        <p:spPr>
          <a:xfrm>
            <a:off x="3344000" y="1994928"/>
            <a:ext cx="1080000" cy="3600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i="0" u="none" dirty="0"/>
              <a:t>Intraday </a:t>
            </a:r>
            <a:r>
              <a:rPr lang="de-DE" sz="1600" b="1" i="0" u="none" dirty="0" err="1"/>
              <a:t>market</a:t>
            </a:r>
            <a:endParaRPr lang="de-DE" sz="1600" b="1" i="0" u="none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D06C648A-527D-6053-9043-C815013E7F0A}"/>
              </a:ext>
            </a:extLst>
          </p:cNvPr>
          <p:cNvSpPr txBox="1"/>
          <p:nvPr/>
        </p:nvSpPr>
        <p:spPr>
          <a:xfrm>
            <a:off x="7768000" y="1994928"/>
            <a:ext cx="1080000" cy="3600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i="0" u="none" dirty="0"/>
              <a:t>ID3 </a:t>
            </a:r>
            <a:r>
              <a:rPr lang="de-DE" sz="1600" b="1" i="0" u="none" dirty="0" err="1"/>
              <a:t>price</a:t>
            </a:r>
            <a:endParaRPr lang="de-DE" sz="1600" b="1" i="0" u="none" dirty="0"/>
          </a:p>
        </p:txBody>
      </p:sp>
    </p:spTree>
    <p:extLst>
      <p:ext uri="{BB962C8B-B14F-4D97-AF65-F5344CB8AC3E}">
        <p14:creationId xmlns:p14="http://schemas.microsoft.com/office/powerpoint/2010/main" val="23406306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3" grpId="0"/>
      <p:bldP spid="14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E3C16B-D2C1-1458-0395-5A3180BBCE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600" b="1" i="0" u="none" dirty="0" err="1">
                <a:solidFill>
                  <a:schemeClr val="accent1"/>
                </a:solidFill>
              </a:rPr>
              <a:t>Electricity</a:t>
            </a:r>
            <a:r>
              <a:rPr lang="de-DE" sz="3600" b="1" i="0" u="none" dirty="0">
                <a:solidFill>
                  <a:schemeClr val="accent1"/>
                </a:solidFill>
              </a:rPr>
              <a:t> </a:t>
            </a:r>
            <a:r>
              <a:rPr lang="de-DE" sz="3600" b="1" i="0" u="none" dirty="0" err="1">
                <a:solidFill>
                  <a:schemeClr val="accent1"/>
                </a:solidFill>
              </a:rPr>
              <a:t>market</a:t>
            </a:r>
            <a:r>
              <a:rPr lang="de-DE" sz="3600" b="1" i="0" u="none" dirty="0">
                <a:solidFill>
                  <a:schemeClr val="accent1"/>
                </a:solidFill>
              </a:rPr>
              <a:t> </a:t>
            </a:r>
            <a:r>
              <a:rPr lang="de-DE" sz="3600" b="1" i="0" u="none" dirty="0" err="1">
                <a:solidFill>
                  <a:schemeClr val="accent1"/>
                </a:solidFill>
              </a:rPr>
              <a:t>comparison</a:t>
            </a:r>
            <a:r>
              <a:rPr lang="de-DE" sz="3600" b="1" i="0" u="none" dirty="0">
                <a:solidFill>
                  <a:schemeClr val="accent1"/>
                </a:solidFill>
              </a:rPr>
              <a:t> </a:t>
            </a:r>
            <a:r>
              <a:rPr lang="de-DE" sz="1600" b="1" i="0" u="none" dirty="0">
                <a:solidFill>
                  <a:schemeClr val="accent1"/>
                </a:solidFill>
              </a:rPr>
              <a:t>[1], [2], [3]</a:t>
            </a:r>
            <a:endParaRPr lang="de-DE" sz="1600" dirty="0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152A6AD-A3A6-455D-A5DC-547F4EB7F3C0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9312957" y="1086657"/>
            <a:ext cx="1027919" cy="1288724"/>
            <a:chOff x="4353898" y="1387800"/>
            <a:chExt cx="3418571" cy="5054401"/>
          </a:xfrm>
        </p:grpSpPr>
        <p:sp>
          <p:nvSpPr>
            <p:cNvPr id="16" name="Thuringia">
              <a:extLst>
                <a:ext uri="{FF2B5EF4-FFF2-40B4-BE49-F238E27FC236}">
                  <a16:creationId xmlns:a16="http://schemas.microsoft.com/office/drawing/2014/main" id="{3FE19E5A-CE77-4743-87A2-D6230C9BC807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2313" y="3568305"/>
              <a:ext cx="1032021" cy="967521"/>
            </a:xfrm>
            <a:custGeom>
              <a:avLst/>
              <a:gdLst>
                <a:gd name="T0" fmla="*/ 1112823142 w 658"/>
                <a:gd name="T1" fmla="*/ 425950627 h 568"/>
                <a:gd name="T2" fmla="*/ 1176284748 w 658"/>
                <a:gd name="T3" fmla="*/ 471507106 h 568"/>
                <a:gd name="T4" fmla="*/ 1176284748 w 658"/>
                <a:gd name="T5" fmla="*/ 521619988 h 568"/>
                <a:gd name="T6" fmla="*/ 1083359578 w 658"/>
                <a:gd name="T7" fmla="*/ 678787954 h 568"/>
                <a:gd name="T8" fmla="*/ 1006300561 w 658"/>
                <a:gd name="T9" fmla="*/ 738012132 h 568"/>
                <a:gd name="T10" fmla="*/ 974571264 w 658"/>
                <a:gd name="T11" fmla="*/ 788123504 h 568"/>
                <a:gd name="T12" fmla="*/ 911109657 w 658"/>
                <a:gd name="T13" fmla="*/ 835957618 h 568"/>
                <a:gd name="T14" fmla="*/ 865781444 w 658"/>
                <a:gd name="T15" fmla="*/ 899736689 h 568"/>
                <a:gd name="T16" fmla="*/ 682199659 w 658"/>
                <a:gd name="T17" fmla="*/ 886070500 h 568"/>
                <a:gd name="T18" fmla="*/ 602873404 w 658"/>
                <a:gd name="T19" fmla="*/ 865568952 h 568"/>
                <a:gd name="T20" fmla="*/ 616472319 w 658"/>
                <a:gd name="T21" fmla="*/ 993127094 h 568"/>
                <a:gd name="T22" fmla="*/ 557545190 w 658"/>
                <a:gd name="T23" fmla="*/ 993127094 h 568"/>
                <a:gd name="T24" fmla="*/ 509949738 w 658"/>
                <a:gd name="T25" fmla="*/ 945293168 h 568"/>
                <a:gd name="T26" fmla="*/ 417026073 w 658"/>
                <a:gd name="T27" fmla="*/ 931625470 h 568"/>
                <a:gd name="T28" fmla="*/ 353564373 w 658"/>
                <a:gd name="T29" fmla="*/ 963515760 h 568"/>
                <a:gd name="T30" fmla="*/ 432890722 w 658"/>
                <a:gd name="T31" fmla="*/ 1025015875 h 568"/>
                <a:gd name="T32" fmla="*/ 353564373 w 658"/>
                <a:gd name="T33" fmla="*/ 1056906165 h 568"/>
                <a:gd name="T34" fmla="*/ 294637244 w 658"/>
                <a:gd name="T35" fmla="*/ 963515760 h 568"/>
                <a:gd name="T36" fmla="*/ 201713579 w 658"/>
                <a:gd name="T37" fmla="*/ 886070500 h 568"/>
                <a:gd name="T38" fmla="*/ 106522628 w 658"/>
                <a:gd name="T39" fmla="*/ 806346284 h 568"/>
                <a:gd name="T40" fmla="*/ 77059040 w 658"/>
                <a:gd name="T41" fmla="*/ 758512170 h 568"/>
                <a:gd name="T42" fmla="*/ 18131893 w 658"/>
                <a:gd name="T43" fmla="*/ 758512170 h 568"/>
                <a:gd name="T44" fmla="*/ 29463576 w 658"/>
                <a:gd name="T45" fmla="*/ 630954028 h 568"/>
                <a:gd name="T46" fmla="*/ 29463576 w 658"/>
                <a:gd name="T47" fmla="*/ 551231322 h 568"/>
                <a:gd name="T48" fmla="*/ 124654515 w 658"/>
                <a:gd name="T49" fmla="*/ 489729698 h 568"/>
                <a:gd name="T50" fmla="*/ 124654515 w 658"/>
                <a:gd name="T51" fmla="*/ 410006991 h 568"/>
                <a:gd name="T52" fmla="*/ 138253431 w 658"/>
                <a:gd name="T53" fmla="*/ 346227826 h 568"/>
                <a:gd name="T54" fmla="*/ 77059040 w 658"/>
                <a:gd name="T55" fmla="*/ 314339045 h 568"/>
                <a:gd name="T56" fmla="*/ 61194391 w 658"/>
                <a:gd name="T57" fmla="*/ 205003496 h 568"/>
                <a:gd name="T58" fmla="*/ 201713579 w 658"/>
                <a:gd name="T59" fmla="*/ 125279233 h 568"/>
                <a:gd name="T60" fmla="*/ 278772595 w 658"/>
                <a:gd name="T61" fmla="*/ 95667875 h 568"/>
                <a:gd name="T62" fmla="*/ 337699724 w 658"/>
                <a:gd name="T63" fmla="*/ 61501648 h 568"/>
                <a:gd name="T64" fmla="*/ 387562415 w 658"/>
                <a:gd name="T65" fmla="*/ 18222598 h 568"/>
                <a:gd name="T66" fmla="*/ 432890722 w 658"/>
                <a:gd name="T67" fmla="*/ 77445283 h 568"/>
                <a:gd name="T68" fmla="*/ 478218935 w 658"/>
                <a:gd name="T69" fmla="*/ 154892076 h 568"/>
                <a:gd name="T70" fmla="*/ 541680542 w 658"/>
                <a:gd name="T71" fmla="*/ 205003496 h 568"/>
                <a:gd name="T72" fmla="*/ 584743022 w 658"/>
                <a:gd name="T73" fmla="*/ 268782566 h 568"/>
                <a:gd name="T74" fmla="*/ 557545190 w 658"/>
                <a:gd name="T75" fmla="*/ 346227826 h 568"/>
                <a:gd name="T76" fmla="*/ 634604207 w 658"/>
                <a:gd name="T77" fmla="*/ 375839160 h 568"/>
                <a:gd name="T78" fmla="*/ 727527872 w 658"/>
                <a:gd name="T79" fmla="*/ 410006991 h 568"/>
                <a:gd name="T80" fmla="*/ 849916795 w 658"/>
                <a:gd name="T81" fmla="*/ 439618325 h 568"/>
                <a:gd name="T82" fmla="*/ 911109657 w 658"/>
                <a:gd name="T83" fmla="*/ 471507106 h 568"/>
                <a:gd name="T84" fmla="*/ 1019899477 w 658"/>
                <a:gd name="T85" fmla="*/ 489729698 h 568"/>
                <a:gd name="T86" fmla="*/ 1035764126 w 658"/>
                <a:gd name="T87" fmla="*/ 425950627 h 56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658"/>
                <a:gd name="T133" fmla="*/ 0 h 568"/>
                <a:gd name="T134" fmla="*/ 658 w 658"/>
                <a:gd name="T135" fmla="*/ 568 h 568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658" h="568">
                  <a:moveTo>
                    <a:pt x="590" y="220"/>
                  </a:moveTo>
                  <a:lnTo>
                    <a:pt x="590" y="229"/>
                  </a:lnTo>
                  <a:lnTo>
                    <a:pt x="607" y="229"/>
                  </a:lnTo>
                  <a:lnTo>
                    <a:pt x="624" y="237"/>
                  </a:lnTo>
                  <a:lnTo>
                    <a:pt x="624" y="254"/>
                  </a:lnTo>
                  <a:lnTo>
                    <a:pt x="641" y="254"/>
                  </a:lnTo>
                  <a:lnTo>
                    <a:pt x="649" y="263"/>
                  </a:lnTo>
                  <a:lnTo>
                    <a:pt x="658" y="280"/>
                  </a:lnTo>
                  <a:lnTo>
                    <a:pt x="641" y="280"/>
                  </a:lnTo>
                  <a:lnTo>
                    <a:pt x="607" y="322"/>
                  </a:lnTo>
                  <a:lnTo>
                    <a:pt x="582" y="356"/>
                  </a:lnTo>
                  <a:lnTo>
                    <a:pt x="590" y="364"/>
                  </a:lnTo>
                  <a:lnTo>
                    <a:pt x="582" y="381"/>
                  </a:lnTo>
                  <a:lnTo>
                    <a:pt x="557" y="390"/>
                  </a:lnTo>
                  <a:lnTo>
                    <a:pt x="548" y="398"/>
                  </a:lnTo>
                  <a:lnTo>
                    <a:pt x="540" y="415"/>
                  </a:lnTo>
                  <a:lnTo>
                    <a:pt x="540" y="424"/>
                  </a:lnTo>
                  <a:lnTo>
                    <a:pt x="531" y="424"/>
                  </a:lnTo>
                  <a:lnTo>
                    <a:pt x="514" y="398"/>
                  </a:lnTo>
                  <a:lnTo>
                    <a:pt x="497" y="415"/>
                  </a:lnTo>
                  <a:lnTo>
                    <a:pt x="497" y="449"/>
                  </a:lnTo>
                  <a:lnTo>
                    <a:pt x="497" y="483"/>
                  </a:lnTo>
                  <a:lnTo>
                    <a:pt x="472" y="492"/>
                  </a:lnTo>
                  <a:lnTo>
                    <a:pt x="472" y="483"/>
                  </a:lnTo>
                  <a:lnTo>
                    <a:pt x="430" y="492"/>
                  </a:lnTo>
                  <a:lnTo>
                    <a:pt x="396" y="492"/>
                  </a:lnTo>
                  <a:lnTo>
                    <a:pt x="371" y="475"/>
                  </a:lnTo>
                  <a:lnTo>
                    <a:pt x="371" y="449"/>
                  </a:lnTo>
                  <a:lnTo>
                    <a:pt x="363" y="449"/>
                  </a:lnTo>
                  <a:lnTo>
                    <a:pt x="329" y="466"/>
                  </a:lnTo>
                  <a:lnTo>
                    <a:pt x="337" y="475"/>
                  </a:lnTo>
                  <a:lnTo>
                    <a:pt x="337" y="509"/>
                  </a:lnTo>
                  <a:lnTo>
                    <a:pt x="337" y="534"/>
                  </a:lnTo>
                  <a:lnTo>
                    <a:pt x="329" y="543"/>
                  </a:lnTo>
                  <a:lnTo>
                    <a:pt x="320" y="543"/>
                  </a:lnTo>
                  <a:lnTo>
                    <a:pt x="304" y="534"/>
                  </a:lnTo>
                  <a:lnTo>
                    <a:pt x="304" y="526"/>
                  </a:lnTo>
                  <a:lnTo>
                    <a:pt x="304" y="517"/>
                  </a:lnTo>
                  <a:lnTo>
                    <a:pt x="278" y="509"/>
                  </a:lnTo>
                  <a:lnTo>
                    <a:pt x="261" y="517"/>
                  </a:lnTo>
                  <a:lnTo>
                    <a:pt x="261" y="500"/>
                  </a:lnTo>
                  <a:lnTo>
                    <a:pt x="228" y="500"/>
                  </a:lnTo>
                  <a:lnTo>
                    <a:pt x="211" y="509"/>
                  </a:lnTo>
                  <a:lnTo>
                    <a:pt x="202" y="509"/>
                  </a:lnTo>
                  <a:lnTo>
                    <a:pt x="194" y="517"/>
                  </a:lnTo>
                  <a:lnTo>
                    <a:pt x="202" y="526"/>
                  </a:lnTo>
                  <a:lnTo>
                    <a:pt x="236" y="543"/>
                  </a:lnTo>
                  <a:lnTo>
                    <a:pt x="236" y="551"/>
                  </a:lnTo>
                  <a:lnTo>
                    <a:pt x="211" y="560"/>
                  </a:lnTo>
                  <a:lnTo>
                    <a:pt x="202" y="568"/>
                  </a:lnTo>
                  <a:lnTo>
                    <a:pt x="194" y="568"/>
                  </a:lnTo>
                  <a:lnTo>
                    <a:pt x="169" y="551"/>
                  </a:lnTo>
                  <a:lnTo>
                    <a:pt x="169" y="534"/>
                  </a:lnTo>
                  <a:lnTo>
                    <a:pt x="160" y="517"/>
                  </a:lnTo>
                  <a:lnTo>
                    <a:pt x="143" y="500"/>
                  </a:lnTo>
                  <a:lnTo>
                    <a:pt x="126" y="492"/>
                  </a:lnTo>
                  <a:lnTo>
                    <a:pt x="110" y="475"/>
                  </a:lnTo>
                  <a:lnTo>
                    <a:pt x="76" y="441"/>
                  </a:lnTo>
                  <a:lnTo>
                    <a:pt x="67" y="441"/>
                  </a:lnTo>
                  <a:lnTo>
                    <a:pt x="59" y="432"/>
                  </a:lnTo>
                  <a:lnTo>
                    <a:pt x="42" y="449"/>
                  </a:lnTo>
                  <a:lnTo>
                    <a:pt x="42" y="432"/>
                  </a:lnTo>
                  <a:lnTo>
                    <a:pt x="42" y="407"/>
                  </a:lnTo>
                  <a:lnTo>
                    <a:pt x="42" y="398"/>
                  </a:lnTo>
                  <a:lnTo>
                    <a:pt x="25" y="398"/>
                  </a:lnTo>
                  <a:lnTo>
                    <a:pt x="8" y="407"/>
                  </a:lnTo>
                  <a:lnTo>
                    <a:pt x="0" y="407"/>
                  </a:lnTo>
                  <a:lnTo>
                    <a:pt x="8" y="381"/>
                  </a:lnTo>
                  <a:lnTo>
                    <a:pt x="17" y="339"/>
                  </a:lnTo>
                  <a:lnTo>
                    <a:pt x="42" y="322"/>
                  </a:lnTo>
                  <a:lnTo>
                    <a:pt x="42" y="314"/>
                  </a:lnTo>
                  <a:lnTo>
                    <a:pt x="17" y="297"/>
                  </a:lnTo>
                  <a:lnTo>
                    <a:pt x="42" y="280"/>
                  </a:lnTo>
                  <a:lnTo>
                    <a:pt x="42" y="263"/>
                  </a:lnTo>
                  <a:lnTo>
                    <a:pt x="67" y="263"/>
                  </a:lnTo>
                  <a:lnTo>
                    <a:pt x="76" y="254"/>
                  </a:lnTo>
                  <a:lnTo>
                    <a:pt x="59" y="237"/>
                  </a:lnTo>
                  <a:lnTo>
                    <a:pt x="67" y="220"/>
                  </a:lnTo>
                  <a:lnTo>
                    <a:pt x="76" y="220"/>
                  </a:lnTo>
                  <a:lnTo>
                    <a:pt x="84" y="212"/>
                  </a:lnTo>
                  <a:lnTo>
                    <a:pt x="76" y="186"/>
                  </a:lnTo>
                  <a:lnTo>
                    <a:pt x="59" y="186"/>
                  </a:lnTo>
                  <a:lnTo>
                    <a:pt x="42" y="178"/>
                  </a:lnTo>
                  <a:lnTo>
                    <a:pt x="42" y="169"/>
                  </a:lnTo>
                  <a:lnTo>
                    <a:pt x="17" y="152"/>
                  </a:lnTo>
                  <a:lnTo>
                    <a:pt x="0" y="127"/>
                  </a:lnTo>
                  <a:lnTo>
                    <a:pt x="34" y="110"/>
                  </a:lnTo>
                  <a:lnTo>
                    <a:pt x="59" y="101"/>
                  </a:lnTo>
                  <a:lnTo>
                    <a:pt x="101" y="76"/>
                  </a:lnTo>
                  <a:lnTo>
                    <a:pt x="110" y="67"/>
                  </a:lnTo>
                  <a:lnTo>
                    <a:pt x="118" y="50"/>
                  </a:lnTo>
                  <a:lnTo>
                    <a:pt x="126" y="33"/>
                  </a:lnTo>
                  <a:lnTo>
                    <a:pt x="152" y="50"/>
                  </a:lnTo>
                  <a:lnTo>
                    <a:pt x="169" y="42"/>
                  </a:lnTo>
                  <a:lnTo>
                    <a:pt x="185" y="42"/>
                  </a:lnTo>
                  <a:lnTo>
                    <a:pt x="185" y="33"/>
                  </a:lnTo>
                  <a:lnTo>
                    <a:pt x="194" y="16"/>
                  </a:lnTo>
                  <a:lnTo>
                    <a:pt x="185" y="0"/>
                  </a:lnTo>
                  <a:lnTo>
                    <a:pt x="211" y="8"/>
                  </a:lnTo>
                  <a:lnTo>
                    <a:pt x="211" y="16"/>
                  </a:lnTo>
                  <a:lnTo>
                    <a:pt x="228" y="33"/>
                  </a:lnTo>
                  <a:lnTo>
                    <a:pt x="236" y="42"/>
                  </a:lnTo>
                  <a:lnTo>
                    <a:pt x="236" y="50"/>
                  </a:lnTo>
                  <a:lnTo>
                    <a:pt x="244" y="76"/>
                  </a:lnTo>
                  <a:lnTo>
                    <a:pt x="261" y="84"/>
                  </a:lnTo>
                  <a:lnTo>
                    <a:pt x="270" y="93"/>
                  </a:lnTo>
                  <a:lnTo>
                    <a:pt x="287" y="110"/>
                  </a:lnTo>
                  <a:lnTo>
                    <a:pt x="295" y="110"/>
                  </a:lnTo>
                  <a:lnTo>
                    <a:pt x="312" y="118"/>
                  </a:lnTo>
                  <a:lnTo>
                    <a:pt x="320" y="127"/>
                  </a:lnTo>
                  <a:lnTo>
                    <a:pt x="320" y="144"/>
                  </a:lnTo>
                  <a:lnTo>
                    <a:pt x="278" y="152"/>
                  </a:lnTo>
                  <a:lnTo>
                    <a:pt x="295" y="169"/>
                  </a:lnTo>
                  <a:lnTo>
                    <a:pt x="304" y="186"/>
                  </a:lnTo>
                  <a:lnTo>
                    <a:pt x="312" y="212"/>
                  </a:lnTo>
                  <a:lnTo>
                    <a:pt x="320" y="203"/>
                  </a:lnTo>
                  <a:lnTo>
                    <a:pt x="346" y="203"/>
                  </a:lnTo>
                  <a:lnTo>
                    <a:pt x="371" y="203"/>
                  </a:lnTo>
                  <a:lnTo>
                    <a:pt x="371" y="212"/>
                  </a:lnTo>
                  <a:lnTo>
                    <a:pt x="396" y="220"/>
                  </a:lnTo>
                  <a:lnTo>
                    <a:pt x="455" y="229"/>
                  </a:lnTo>
                  <a:lnTo>
                    <a:pt x="464" y="229"/>
                  </a:lnTo>
                  <a:lnTo>
                    <a:pt x="464" y="237"/>
                  </a:lnTo>
                  <a:lnTo>
                    <a:pt x="472" y="246"/>
                  </a:lnTo>
                  <a:lnTo>
                    <a:pt x="481" y="254"/>
                  </a:lnTo>
                  <a:lnTo>
                    <a:pt x="497" y="254"/>
                  </a:lnTo>
                  <a:lnTo>
                    <a:pt x="514" y="271"/>
                  </a:lnTo>
                  <a:lnTo>
                    <a:pt x="540" y="263"/>
                  </a:lnTo>
                  <a:lnTo>
                    <a:pt x="557" y="263"/>
                  </a:lnTo>
                  <a:lnTo>
                    <a:pt x="565" y="254"/>
                  </a:lnTo>
                  <a:lnTo>
                    <a:pt x="565" y="237"/>
                  </a:lnTo>
                  <a:lnTo>
                    <a:pt x="565" y="229"/>
                  </a:lnTo>
                  <a:lnTo>
                    <a:pt x="590" y="22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mpd="sng" algn="ctr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79747" tIns="39873" rIns="79747" bIns="39873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de-DE" sz="1477" dirty="0"/>
            </a:p>
          </p:txBody>
        </p:sp>
        <p:sp>
          <p:nvSpPr>
            <p:cNvPr id="6" name="Schleswig-Holstein">
              <a:extLst>
                <a:ext uri="{FF2B5EF4-FFF2-40B4-BE49-F238E27FC236}">
                  <a16:creationId xmlns:a16="http://schemas.microsoft.com/office/drawing/2014/main" id="{26C738F0-2F6D-4AEC-A1FE-00FF01A191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1725" y="1387800"/>
              <a:ext cx="993982" cy="1096523"/>
            </a:xfrm>
            <a:custGeom>
              <a:avLst/>
              <a:gdLst>
                <a:gd name="T0" fmla="*/ 279430205 w 633"/>
                <a:gd name="T1" fmla="*/ 796375844 h 645"/>
                <a:gd name="T2" fmla="*/ 233994231 w 633"/>
                <a:gd name="T3" fmla="*/ 698813998 h 645"/>
                <a:gd name="T4" fmla="*/ 297604595 w 633"/>
                <a:gd name="T5" fmla="*/ 698813998 h 645"/>
                <a:gd name="T6" fmla="*/ 279430205 w 633"/>
                <a:gd name="T7" fmla="*/ 623941412 h 645"/>
                <a:gd name="T8" fmla="*/ 218092770 w 633"/>
                <a:gd name="T9" fmla="*/ 610327667 h 645"/>
                <a:gd name="T10" fmla="*/ 233994231 w 633"/>
                <a:gd name="T11" fmla="*/ 560412610 h 645"/>
                <a:gd name="T12" fmla="*/ 233994231 w 633"/>
                <a:gd name="T13" fmla="*/ 528648209 h 645"/>
                <a:gd name="T14" fmla="*/ 188558210 w 633"/>
                <a:gd name="T15" fmla="*/ 528648209 h 645"/>
                <a:gd name="T16" fmla="*/ 140850813 w 633"/>
                <a:gd name="T17" fmla="*/ 499152264 h 645"/>
                <a:gd name="T18" fmla="*/ 140850813 w 633"/>
                <a:gd name="T19" fmla="*/ 451507169 h 645"/>
                <a:gd name="T20" fmla="*/ 249897199 w 633"/>
                <a:gd name="T21" fmla="*/ 451507169 h 645"/>
                <a:gd name="T22" fmla="*/ 297604595 w 633"/>
                <a:gd name="T23" fmla="*/ 376632983 h 645"/>
                <a:gd name="T24" fmla="*/ 156753781 w 633"/>
                <a:gd name="T25" fmla="*/ 140669890 h 645"/>
                <a:gd name="T26" fmla="*/ 95414816 w 633"/>
                <a:gd name="T27" fmla="*/ 127057651 h 645"/>
                <a:gd name="T28" fmla="*/ 61338966 w 633"/>
                <a:gd name="T29" fmla="*/ 127057651 h 645"/>
                <a:gd name="T30" fmla="*/ 20445817 w 633"/>
                <a:gd name="T31" fmla="*/ 127057651 h 645"/>
                <a:gd name="T32" fmla="*/ 20445817 w 633"/>
                <a:gd name="T33" fmla="*/ 170165835 h 645"/>
                <a:gd name="T34" fmla="*/ 0 w 633"/>
                <a:gd name="T35" fmla="*/ 140669890 h 645"/>
                <a:gd name="T36" fmla="*/ 29533018 w 633"/>
                <a:gd name="T37" fmla="*/ 77141064 h 645"/>
                <a:gd name="T38" fmla="*/ 61338966 w 633"/>
                <a:gd name="T39" fmla="*/ 0 h 645"/>
                <a:gd name="T40" fmla="*/ 49978842 w 633"/>
                <a:gd name="T41" fmla="*/ 47646613 h 645"/>
                <a:gd name="T42" fmla="*/ 77240426 w 633"/>
                <a:gd name="T43" fmla="*/ 106637033 h 645"/>
                <a:gd name="T44" fmla="*/ 156753781 w 633"/>
                <a:gd name="T45" fmla="*/ 95293227 h 645"/>
                <a:gd name="T46" fmla="*/ 233994231 w 633"/>
                <a:gd name="T47" fmla="*/ 95293227 h 645"/>
                <a:gd name="T48" fmla="*/ 345311991 w 633"/>
                <a:gd name="T49" fmla="*/ 127057651 h 645"/>
                <a:gd name="T50" fmla="*/ 404379605 w 633"/>
                <a:gd name="T51" fmla="*/ 170165835 h 645"/>
                <a:gd name="T52" fmla="*/ 483891430 w 633"/>
                <a:gd name="T53" fmla="*/ 140669890 h 645"/>
                <a:gd name="T54" fmla="*/ 515697365 w 633"/>
                <a:gd name="T55" fmla="*/ 127057651 h 645"/>
                <a:gd name="T56" fmla="*/ 606569314 w 633"/>
                <a:gd name="T57" fmla="*/ 170165835 h 645"/>
                <a:gd name="T58" fmla="*/ 670179677 w 633"/>
                <a:gd name="T59" fmla="*/ 201930284 h 645"/>
                <a:gd name="T60" fmla="*/ 683809716 w 633"/>
                <a:gd name="T61" fmla="*/ 170165835 h 645"/>
                <a:gd name="T62" fmla="*/ 683809716 w 633"/>
                <a:gd name="T63" fmla="*/ 249576885 h 645"/>
                <a:gd name="T64" fmla="*/ 713342722 w 633"/>
                <a:gd name="T65" fmla="*/ 326717926 h 645"/>
                <a:gd name="T66" fmla="*/ 654276710 w 633"/>
                <a:gd name="T67" fmla="*/ 406129022 h 645"/>
                <a:gd name="T68" fmla="*/ 747420080 w 633"/>
                <a:gd name="T69" fmla="*/ 390246728 h 645"/>
                <a:gd name="T70" fmla="*/ 781497437 w 633"/>
                <a:gd name="T71" fmla="*/ 451507169 h 645"/>
                <a:gd name="T72" fmla="*/ 781497437 w 633"/>
                <a:gd name="T73" fmla="*/ 499152264 h 645"/>
                <a:gd name="T74" fmla="*/ 826933600 w 633"/>
                <a:gd name="T75" fmla="*/ 437893423 h 645"/>
                <a:gd name="T76" fmla="*/ 1010948919 w 633"/>
                <a:gd name="T77" fmla="*/ 515034464 h 645"/>
                <a:gd name="T78" fmla="*/ 1090460743 w 633"/>
                <a:gd name="T79" fmla="*/ 467387863 h 645"/>
                <a:gd name="T80" fmla="*/ 1151799685 w 633"/>
                <a:gd name="T81" fmla="*/ 451507169 h 645"/>
                <a:gd name="T82" fmla="*/ 1151799685 w 633"/>
                <a:gd name="T83" fmla="*/ 499152264 h 645"/>
                <a:gd name="T84" fmla="*/ 1135896717 w 633"/>
                <a:gd name="T85" fmla="*/ 610327667 h 645"/>
                <a:gd name="T86" fmla="*/ 1029123308 w 633"/>
                <a:gd name="T87" fmla="*/ 669318052 h 645"/>
                <a:gd name="T88" fmla="*/ 1029123308 w 633"/>
                <a:gd name="T89" fmla="*/ 737385271 h 645"/>
                <a:gd name="T90" fmla="*/ 1074559283 w 633"/>
                <a:gd name="T91" fmla="*/ 746460599 h 645"/>
                <a:gd name="T92" fmla="*/ 1058656315 w 633"/>
                <a:gd name="T93" fmla="*/ 812258045 h 645"/>
                <a:gd name="T94" fmla="*/ 1029123308 w 633"/>
                <a:gd name="T95" fmla="*/ 905281286 h 645"/>
                <a:gd name="T96" fmla="*/ 1106363711 w 633"/>
                <a:gd name="T97" fmla="*/ 1016456690 h 645"/>
                <a:gd name="T98" fmla="*/ 1042753347 w 633"/>
                <a:gd name="T99" fmla="*/ 1077717036 h 645"/>
                <a:gd name="T100" fmla="*/ 981414405 w 633"/>
                <a:gd name="T101" fmla="*/ 1123093676 h 645"/>
                <a:gd name="T102" fmla="*/ 981414405 w 633"/>
                <a:gd name="T103" fmla="*/ 1186622478 h 645"/>
                <a:gd name="T104" fmla="*/ 840563639 w 633"/>
                <a:gd name="T105" fmla="*/ 1138975877 h 645"/>
                <a:gd name="T106" fmla="*/ 811030632 w 633"/>
                <a:gd name="T107" fmla="*/ 1077717036 h 645"/>
                <a:gd name="T108" fmla="*/ 811030632 w 633"/>
                <a:gd name="T109" fmla="*/ 998306034 h 645"/>
                <a:gd name="T110" fmla="*/ 781497437 w 633"/>
                <a:gd name="T111" fmla="*/ 937045687 h 645"/>
                <a:gd name="T112" fmla="*/ 733790041 w 633"/>
                <a:gd name="T113" fmla="*/ 966541633 h 645"/>
                <a:gd name="T114" fmla="*/ 683809716 w 633"/>
                <a:gd name="T115" fmla="*/ 984692289 h 645"/>
                <a:gd name="T116" fmla="*/ 624743703 w 633"/>
                <a:gd name="T117" fmla="*/ 998306034 h 645"/>
                <a:gd name="T118" fmla="*/ 545230372 w 633"/>
                <a:gd name="T119" fmla="*/ 1030070435 h 645"/>
                <a:gd name="T120" fmla="*/ 436184033 w 633"/>
                <a:gd name="T121" fmla="*/ 859904646 h 645"/>
                <a:gd name="T122" fmla="*/ 358943537 w 633"/>
                <a:gd name="T123" fmla="*/ 825871790 h 64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33"/>
                <a:gd name="T187" fmla="*/ 0 h 645"/>
                <a:gd name="T188" fmla="*/ 633 w 633"/>
                <a:gd name="T189" fmla="*/ 645 h 645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33" h="645">
                  <a:moveTo>
                    <a:pt x="177" y="441"/>
                  </a:moveTo>
                  <a:lnTo>
                    <a:pt x="152" y="433"/>
                  </a:lnTo>
                  <a:lnTo>
                    <a:pt x="127" y="399"/>
                  </a:lnTo>
                  <a:lnTo>
                    <a:pt x="127" y="382"/>
                  </a:lnTo>
                  <a:lnTo>
                    <a:pt x="152" y="390"/>
                  </a:lnTo>
                  <a:lnTo>
                    <a:pt x="161" y="382"/>
                  </a:lnTo>
                  <a:lnTo>
                    <a:pt x="161" y="348"/>
                  </a:lnTo>
                  <a:lnTo>
                    <a:pt x="152" y="339"/>
                  </a:lnTo>
                  <a:lnTo>
                    <a:pt x="127" y="348"/>
                  </a:lnTo>
                  <a:lnTo>
                    <a:pt x="118" y="331"/>
                  </a:lnTo>
                  <a:lnTo>
                    <a:pt x="127" y="314"/>
                  </a:lnTo>
                  <a:lnTo>
                    <a:pt x="127" y="305"/>
                  </a:lnTo>
                  <a:lnTo>
                    <a:pt x="144" y="288"/>
                  </a:lnTo>
                  <a:lnTo>
                    <a:pt x="127" y="288"/>
                  </a:lnTo>
                  <a:lnTo>
                    <a:pt x="118" y="288"/>
                  </a:lnTo>
                  <a:lnTo>
                    <a:pt x="102" y="288"/>
                  </a:lnTo>
                  <a:lnTo>
                    <a:pt x="85" y="288"/>
                  </a:lnTo>
                  <a:lnTo>
                    <a:pt x="76" y="271"/>
                  </a:lnTo>
                  <a:lnTo>
                    <a:pt x="93" y="263"/>
                  </a:lnTo>
                  <a:lnTo>
                    <a:pt x="76" y="246"/>
                  </a:lnTo>
                  <a:lnTo>
                    <a:pt x="102" y="246"/>
                  </a:lnTo>
                  <a:lnTo>
                    <a:pt x="135" y="246"/>
                  </a:lnTo>
                  <a:lnTo>
                    <a:pt x="161" y="221"/>
                  </a:lnTo>
                  <a:lnTo>
                    <a:pt x="161" y="204"/>
                  </a:lnTo>
                  <a:lnTo>
                    <a:pt x="102" y="119"/>
                  </a:lnTo>
                  <a:lnTo>
                    <a:pt x="85" y="76"/>
                  </a:lnTo>
                  <a:lnTo>
                    <a:pt x="85" y="68"/>
                  </a:lnTo>
                  <a:lnTo>
                    <a:pt x="51" y="68"/>
                  </a:lnTo>
                  <a:lnTo>
                    <a:pt x="42" y="76"/>
                  </a:lnTo>
                  <a:lnTo>
                    <a:pt x="34" y="68"/>
                  </a:lnTo>
                  <a:lnTo>
                    <a:pt x="26" y="68"/>
                  </a:lnTo>
                  <a:lnTo>
                    <a:pt x="9" y="68"/>
                  </a:lnTo>
                  <a:lnTo>
                    <a:pt x="9" y="85"/>
                  </a:lnTo>
                  <a:lnTo>
                    <a:pt x="9" y="93"/>
                  </a:lnTo>
                  <a:lnTo>
                    <a:pt x="0" y="85"/>
                  </a:lnTo>
                  <a:lnTo>
                    <a:pt x="0" y="76"/>
                  </a:lnTo>
                  <a:lnTo>
                    <a:pt x="9" y="59"/>
                  </a:lnTo>
                  <a:lnTo>
                    <a:pt x="17" y="42"/>
                  </a:lnTo>
                  <a:lnTo>
                    <a:pt x="26" y="8"/>
                  </a:lnTo>
                  <a:lnTo>
                    <a:pt x="34" y="0"/>
                  </a:lnTo>
                  <a:lnTo>
                    <a:pt x="42" y="8"/>
                  </a:lnTo>
                  <a:lnTo>
                    <a:pt x="26" y="25"/>
                  </a:lnTo>
                  <a:lnTo>
                    <a:pt x="26" y="51"/>
                  </a:lnTo>
                  <a:lnTo>
                    <a:pt x="42" y="59"/>
                  </a:lnTo>
                  <a:lnTo>
                    <a:pt x="85" y="59"/>
                  </a:lnTo>
                  <a:lnTo>
                    <a:pt x="85" y="51"/>
                  </a:lnTo>
                  <a:lnTo>
                    <a:pt x="102" y="51"/>
                  </a:lnTo>
                  <a:lnTo>
                    <a:pt x="127" y="51"/>
                  </a:lnTo>
                  <a:lnTo>
                    <a:pt x="152" y="51"/>
                  </a:lnTo>
                  <a:lnTo>
                    <a:pt x="186" y="68"/>
                  </a:lnTo>
                  <a:lnTo>
                    <a:pt x="211" y="76"/>
                  </a:lnTo>
                  <a:lnTo>
                    <a:pt x="220" y="93"/>
                  </a:lnTo>
                  <a:lnTo>
                    <a:pt x="245" y="93"/>
                  </a:lnTo>
                  <a:lnTo>
                    <a:pt x="262" y="76"/>
                  </a:lnTo>
                  <a:lnTo>
                    <a:pt x="270" y="85"/>
                  </a:lnTo>
                  <a:lnTo>
                    <a:pt x="279" y="68"/>
                  </a:lnTo>
                  <a:lnTo>
                    <a:pt x="295" y="76"/>
                  </a:lnTo>
                  <a:lnTo>
                    <a:pt x="329" y="93"/>
                  </a:lnTo>
                  <a:lnTo>
                    <a:pt x="346" y="110"/>
                  </a:lnTo>
                  <a:lnTo>
                    <a:pt x="363" y="110"/>
                  </a:lnTo>
                  <a:lnTo>
                    <a:pt x="363" y="93"/>
                  </a:lnTo>
                  <a:lnTo>
                    <a:pt x="371" y="93"/>
                  </a:lnTo>
                  <a:lnTo>
                    <a:pt x="380" y="136"/>
                  </a:lnTo>
                  <a:lnTo>
                    <a:pt x="371" y="136"/>
                  </a:lnTo>
                  <a:lnTo>
                    <a:pt x="388" y="144"/>
                  </a:lnTo>
                  <a:lnTo>
                    <a:pt x="388" y="178"/>
                  </a:lnTo>
                  <a:lnTo>
                    <a:pt x="380" y="195"/>
                  </a:lnTo>
                  <a:lnTo>
                    <a:pt x="354" y="221"/>
                  </a:lnTo>
                  <a:lnTo>
                    <a:pt x="363" y="229"/>
                  </a:lnTo>
                  <a:lnTo>
                    <a:pt x="405" y="212"/>
                  </a:lnTo>
                  <a:lnTo>
                    <a:pt x="422" y="229"/>
                  </a:lnTo>
                  <a:lnTo>
                    <a:pt x="422" y="246"/>
                  </a:lnTo>
                  <a:lnTo>
                    <a:pt x="414" y="263"/>
                  </a:lnTo>
                  <a:lnTo>
                    <a:pt x="422" y="271"/>
                  </a:lnTo>
                  <a:lnTo>
                    <a:pt x="430" y="246"/>
                  </a:lnTo>
                  <a:lnTo>
                    <a:pt x="447" y="238"/>
                  </a:lnTo>
                  <a:lnTo>
                    <a:pt x="464" y="229"/>
                  </a:lnTo>
                  <a:lnTo>
                    <a:pt x="548" y="280"/>
                  </a:lnTo>
                  <a:lnTo>
                    <a:pt x="565" y="271"/>
                  </a:lnTo>
                  <a:lnTo>
                    <a:pt x="591" y="254"/>
                  </a:lnTo>
                  <a:lnTo>
                    <a:pt x="607" y="254"/>
                  </a:lnTo>
                  <a:lnTo>
                    <a:pt x="624" y="246"/>
                  </a:lnTo>
                  <a:lnTo>
                    <a:pt x="633" y="246"/>
                  </a:lnTo>
                  <a:lnTo>
                    <a:pt x="624" y="271"/>
                  </a:lnTo>
                  <a:lnTo>
                    <a:pt x="624" y="314"/>
                  </a:lnTo>
                  <a:lnTo>
                    <a:pt x="616" y="331"/>
                  </a:lnTo>
                  <a:lnTo>
                    <a:pt x="574" y="365"/>
                  </a:lnTo>
                  <a:lnTo>
                    <a:pt x="557" y="365"/>
                  </a:lnTo>
                  <a:lnTo>
                    <a:pt x="557" y="382"/>
                  </a:lnTo>
                  <a:lnTo>
                    <a:pt x="557" y="399"/>
                  </a:lnTo>
                  <a:lnTo>
                    <a:pt x="582" y="399"/>
                  </a:lnTo>
                  <a:lnTo>
                    <a:pt x="582" y="407"/>
                  </a:lnTo>
                  <a:lnTo>
                    <a:pt x="582" y="424"/>
                  </a:lnTo>
                  <a:lnTo>
                    <a:pt x="574" y="441"/>
                  </a:lnTo>
                  <a:lnTo>
                    <a:pt x="557" y="441"/>
                  </a:lnTo>
                  <a:lnTo>
                    <a:pt x="557" y="492"/>
                  </a:lnTo>
                  <a:lnTo>
                    <a:pt x="599" y="518"/>
                  </a:lnTo>
                  <a:lnTo>
                    <a:pt x="599" y="552"/>
                  </a:lnTo>
                  <a:lnTo>
                    <a:pt x="574" y="569"/>
                  </a:lnTo>
                  <a:lnTo>
                    <a:pt x="565" y="586"/>
                  </a:lnTo>
                  <a:lnTo>
                    <a:pt x="557" y="594"/>
                  </a:lnTo>
                  <a:lnTo>
                    <a:pt x="532" y="611"/>
                  </a:lnTo>
                  <a:lnTo>
                    <a:pt x="532" y="619"/>
                  </a:lnTo>
                  <a:lnTo>
                    <a:pt x="532" y="645"/>
                  </a:lnTo>
                  <a:lnTo>
                    <a:pt x="489" y="636"/>
                  </a:lnTo>
                  <a:lnTo>
                    <a:pt x="456" y="619"/>
                  </a:lnTo>
                  <a:lnTo>
                    <a:pt x="456" y="611"/>
                  </a:lnTo>
                  <a:lnTo>
                    <a:pt x="439" y="586"/>
                  </a:lnTo>
                  <a:lnTo>
                    <a:pt x="422" y="577"/>
                  </a:lnTo>
                  <a:lnTo>
                    <a:pt x="439" y="543"/>
                  </a:lnTo>
                  <a:lnTo>
                    <a:pt x="422" y="526"/>
                  </a:lnTo>
                  <a:lnTo>
                    <a:pt x="422" y="509"/>
                  </a:lnTo>
                  <a:lnTo>
                    <a:pt x="414" y="509"/>
                  </a:lnTo>
                  <a:lnTo>
                    <a:pt x="397" y="526"/>
                  </a:lnTo>
                  <a:lnTo>
                    <a:pt x="380" y="535"/>
                  </a:lnTo>
                  <a:lnTo>
                    <a:pt x="371" y="535"/>
                  </a:lnTo>
                  <a:lnTo>
                    <a:pt x="346" y="552"/>
                  </a:lnTo>
                  <a:lnTo>
                    <a:pt x="338" y="543"/>
                  </a:lnTo>
                  <a:lnTo>
                    <a:pt x="329" y="569"/>
                  </a:lnTo>
                  <a:lnTo>
                    <a:pt x="295" y="560"/>
                  </a:lnTo>
                  <a:lnTo>
                    <a:pt x="270" y="535"/>
                  </a:lnTo>
                  <a:lnTo>
                    <a:pt x="236" y="467"/>
                  </a:lnTo>
                  <a:lnTo>
                    <a:pt x="211" y="450"/>
                  </a:lnTo>
                  <a:lnTo>
                    <a:pt x="194" y="450"/>
                  </a:lnTo>
                  <a:lnTo>
                    <a:pt x="177" y="441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mpd="sng" algn="ctr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79747" tIns="39873" rIns="79747" bIns="39873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de-DE" sz="1477" dirty="0"/>
            </a:p>
          </p:txBody>
        </p:sp>
        <p:sp>
          <p:nvSpPr>
            <p:cNvPr id="18" name="Saxony-Anhalt">
              <a:extLst>
                <a:ext uri="{FF2B5EF4-FFF2-40B4-BE49-F238E27FC236}">
                  <a16:creationId xmlns:a16="http://schemas.microsoft.com/office/drawing/2014/main" id="{58EDBE2A-0A9E-4952-95D0-6194E7EACDD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2049" y="2701121"/>
              <a:ext cx="1207333" cy="1329445"/>
            </a:xfrm>
            <a:custGeom>
              <a:avLst/>
              <a:gdLst>
                <a:gd name="T0" fmla="*/ 532803363 w 768"/>
                <a:gd name="T1" fmla="*/ 50044476 h 781"/>
                <a:gd name="T2" fmla="*/ 626157656 w 768"/>
                <a:gd name="T3" fmla="*/ 143308681 h 781"/>
                <a:gd name="T4" fmla="*/ 753665553 w 768"/>
                <a:gd name="T5" fmla="*/ 268420612 h 781"/>
                <a:gd name="T6" fmla="*/ 783265143 w 768"/>
                <a:gd name="T7" fmla="*/ 391256584 h 781"/>
                <a:gd name="T8" fmla="*/ 812866430 w 768"/>
                <a:gd name="T9" fmla="*/ 489071178 h 781"/>
                <a:gd name="T10" fmla="*/ 831080982 w 768"/>
                <a:gd name="T11" fmla="*/ 566411507 h 781"/>
                <a:gd name="T12" fmla="*/ 735449493 w 768"/>
                <a:gd name="T13" fmla="*/ 630105406 h 781"/>
                <a:gd name="T14" fmla="*/ 985912970 w 768"/>
                <a:gd name="T15" fmla="*/ 691523392 h 781"/>
                <a:gd name="T16" fmla="*/ 1158959510 w 768"/>
                <a:gd name="T17" fmla="*/ 768865229 h 781"/>
                <a:gd name="T18" fmla="*/ 1300129453 w 768"/>
                <a:gd name="T19" fmla="*/ 882602261 h 781"/>
                <a:gd name="T20" fmla="*/ 1334284567 w 768"/>
                <a:gd name="T21" fmla="*/ 1007712637 h 781"/>
                <a:gd name="T22" fmla="*/ 1427638859 w 768"/>
                <a:gd name="T23" fmla="*/ 1037284428 h 781"/>
                <a:gd name="T24" fmla="*/ 1427638859 w 768"/>
                <a:gd name="T25" fmla="*/ 1130550117 h 781"/>
                <a:gd name="T26" fmla="*/ 1334284567 w 768"/>
                <a:gd name="T27" fmla="*/ 1148746866 h 781"/>
                <a:gd name="T28" fmla="*/ 1190837616 w 768"/>
                <a:gd name="T29" fmla="*/ 1130550117 h 781"/>
                <a:gd name="T30" fmla="*/ 972250925 w 768"/>
                <a:gd name="T31" fmla="*/ 1100978327 h 781"/>
                <a:gd name="T32" fmla="*/ 831080982 w 768"/>
                <a:gd name="T33" fmla="*/ 1116900670 h 781"/>
                <a:gd name="T34" fmla="*/ 735449493 w 768"/>
                <a:gd name="T35" fmla="*/ 1194242508 h 781"/>
                <a:gd name="T36" fmla="*/ 735449493 w 768"/>
                <a:gd name="T37" fmla="*/ 1319352884 h 781"/>
                <a:gd name="T38" fmla="*/ 753665553 w 768"/>
                <a:gd name="T39" fmla="*/ 1385321188 h 781"/>
                <a:gd name="T40" fmla="*/ 705849903 w 768"/>
                <a:gd name="T41" fmla="*/ 1430816830 h 781"/>
                <a:gd name="T42" fmla="*/ 596556557 w 768"/>
                <a:gd name="T43" fmla="*/ 1417167384 h 781"/>
                <a:gd name="T44" fmla="*/ 564679960 w 768"/>
                <a:gd name="T45" fmla="*/ 1369397336 h 781"/>
                <a:gd name="T46" fmla="*/ 393910334 w 768"/>
                <a:gd name="T47" fmla="*/ 1337551141 h 781"/>
                <a:gd name="T48" fmla="*/ 296002026 w 768"/>
                <a:gd name="T49" fmla="*/ 1319352884 h 781"/>
                <a:gd name="T50" fmla="*/ 250463383 w 768"/>
                <a:gd name="T51" fmla="*/ 1257934898 h 781"/>
                <a:gd name="T52" fmla="*/ 296002026 w 768"/>
                <a:gd name="T53" fmla="*/ 1180594569 h 781"/>
                <a:gd name="T54" fmla="*/ 236801338 w 768"/>
                <a:gd name="T55" fmla="*/ 1148746866 h 781"/>
                <a:gd name="T56" fmla="*/ 154832036 w 768"/>
                <a:gd name="T57" fmla="*/ 1087328880 h 781"/>
                <a:gd name="T58" fmla="*/ 127507945 w 768"/>
                <a:gd name="T59" fmla="*/ 1007712637 h 781"/>
                <a:gd name="T60" fmla="*/ 47815662 w 768"/>
                <a:gd name="T61" fmla="*/ 946294651 h 781"/>
                <a:gd name="T62" fmla="*/ 29599601 w 768"/>
                <a:gd name="T63" fmla="*/ 800711613 h 781"/>
                <a:gd name="T64" fmla="*/ 0 w 768"/>
                <a:gd name="T65" fmla="*/ 739293439 h 781"/>
                <a:gd name="T66" fmla="*/ 47815662 w 768"/>
                <a:gd name="T67" fmla="*/ 691523392 h 781"/>
                <a:gd name="T68" fmla="*/ 173046587 w 768"/>
                <a:gd name="T69" fmla="*/ 661951601 h 781"/>
                <a:gd name="T70" fmla="*/ 218585277 w 768"/>
                <a:gd name="T71" fmla="*/ 566411507 h 781"/>
                <a:gd name="T72" fmla="*/ 218585277 w 768"/>
                <a:gd name="T73" fmla="*/ 473147326 h 781"/>
                <a:gd name="T74" fmla="*/ 154832036 w 768"/>
                <a:gd name="T75" fmla="*/ 329838598 h 781"/>
                <a:gd name="T76" fmla="*/ 141169990 w 768"/>
                <a:gd name="T77" fmla="*/ 282068551 h 781"/>
                <a:gd name="T78" fmla="*/ 77415263 w 768"/>
                <a:gd name="T79" fmla="*/ 156958127 h 781"/>
                <a:gd name="T80" fmla="*/ 186708633 w 768"/>
                <a:gd name="T81" fmla="*/ 79616266 h 781"/>
                <a:gd name="T82" fmla="*/ 375694273 w 768"/>
                <a:gd name="T83" fmla="*/ 63692414 h 781"/>
                <a:gd name="T84" fmla="*/ 455386614 w 768"/>
                <a:gd name="T85" fmla="*/ 0 h 78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768"/>
                <a:gd name="T130" fmla="*/ 0 h 781"/>
                <a:gd name="T131" fmla="*/ 768 w 768"/>
                <a:gd name="T132" fmla="*/ 781 h 78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768" h="781">
                  <a:moveTo>
                    <a:pt x="245" y="0"/>
                  </a:moveTo>
                  <a:lnTo>
                    <a:pt x="262" y="17"/>
                  </a:lnTo>
                  <a:lnTo>
                    <a:pt x="287" y="26"/>
                  </a:lnTo>
                  <a:lnTo>
                    <a:pt x="295" y="43"/>
                  </a:lnTo>
                  <a:lnTo>
                    <a:pt x="329" y="60"/>
                  </a:lnTo>
                  <a:lnTo>
                    <a:pt x="337" y="77"/>
                  </a:lnTo>
                  <a:lnTo>
                    <a:pt x="371" y="85"/>
                  </a:lnTo>
                  <a:lnTo>
                    <a:pt x="371" y="111"/>
                  </a:lnTo>
                  <a:lnTo>
                    <a:pt x="405" y="145"/>
                  </a:lnTo>
                  <a:lnTo>
                    <a:pt x="397" y="178"/>
                  </a:lnTo>
                  <a:lnTo>
                    <a:pt x="422" y="195"/>
                  </a:lnTo>
                  <a:lnTo>
                    <a:pt x="422" y="212"/>
                  </a:lnTo>
                  <a:lnTo>
                    <a:pt x="413" y="229"/>
                  </a:lnTo>
                  <a:lnTo>
                    <a:pt x="422" y="246"/>
                  </a:lnTo>
                  <a:lnTo>
                    <a:pt x="439" y="263"/>
                  </a:lnTo>
                  <a:lnTo>
                    <a:pt x="447" y="263"/>
                  </a:lnTo>
                  <a:lnTo>
                    <a:pt x="439" y="280"/>
                  </a:lnTo>
                  <a:lnTo>
                    <a:pt x="447" y="306"/>
                  </a:lnTo>
                  <a:lnTo>
                    <a:pt x="430" y="323"/>
                  </a:lnTo>
                  <a:lnTo>
                    <a:pt x="405" y="331"/>
                  </a:lnTo>
                  <a:lnTo>
                    <a:pt x="397" y="340"/>
                  </a:lnTo>
                  <a:lnTo>
                    <a:pt x="422" y="374"/>
                  </a:lnTo>
                  <a:lnTo>
                    <a:pt x="464" y="382"/>
                  </a:lnTo>
                  <a:lnTo>
                    <a:pt x="531" y="374"/>
                  </a:lnTo>
                  <a:lnTo>
                    <a:pt x="548" y="374"/>
                  </a:lnTo>
                  <a:lnTo>
                    <a:pt x="599" y="416"/>
                  </a:lnTo>
                  <a:lnTo>
                    <a:pt x="624" y="416"/>
                  </a:lnTo>
                  <a:lnTo>
                    <a:pt x="633" y="433"/>
                  </a:lnTo>
                  <a:lnTo>
                    <a:pt x="683" y="442"/>
                  </a:lnTo>
                  <a:lnTo>
                    <a:pt x="700" y="476"/>
                  </a:lnTo>
                  <a:lnTo>
                    <a:pt x="666" y="510"/>
                  </a:lnTo>
                  <a:lnTo>
                    <a:pt x="692" y="543"/>
                  </a:lnTo>
                  <a:lnTo>
                    <a:pt x="717" y="543"/>
                  </a:lnTo>
                  <a:lnTo>
                    <a:pt x="751" y="543"/>
                  </a:lnTo>
                  <a:lnTo>
                    <a:pt x="759" y="543"/>
                  </a:lnTo>
                  <a:lnTo>
                    <a:pt x="768" y="560"/>
                  </a:lnTo>
                  <a:lnTo>
                    <a:pt x="759" y="577"/>
                  </a:lnTo>
                  <a:lnTo>
                    <a:pt x="759" y="586"/>
                  </a:lnTo>
                  <a:lnTo>
                    <a:pt x="768" y="611"/>
                  </a:lnTo>
                  <a:lnTo>
                    <a:pt x="759" y="620"/>
                  </a:lnTo>
                  <a:lnTo>
                    <a:pt x="742" y="628"/>
                  </a:lnTo>
                  <a:lnTo>
                    <a:pt x="717" y="620"/>
                  </a:lnTo>
                  <a:lnTo>
                    <a:pt x="683" y="611"/>
                  </a:lnTo>
                  <a:lnTo>
                    <a:pt x="666" y="603"/>
                  </a:lnTo>
                  <a:lnTo>
                    <a:pt x="641" y="611"/>
                  </a:lnTo>
                  <a:lnTo>
                    <a:pt x="607" y="594"/>
                  </a:lnTo>
                  <a:lnTo>
                    <a:pt x="574" y="594"/>
                  </a:lnTo>
                  <a:lnTo>
                    <a:pt x="523" y="594"/>
                  </a:lnTo>
                  <a:lnTo>
                    <a:pt x="506" y="594"/>
                  </a:lnTo>
                  <a:lnTo>
                    <a:pt x="489" y="611"/>
                  </a:lnTo>
                  <a:lnTo>
                    <a:pt x="447" y="603"/>
                  </a:lnTo>
                  <a:lnTo>
                    <a:pt x="422" y="611"/>
                  </a:lnTo>
                  <a:lnTo>
                    <a:pt x="405" y="620"/>
                  </a:lnTo>
                  <a:lnTo>
                    <a:pt x="397" y="645"/>
                  </a:lnTo>
                  <a:lnTo>
                    <a:pt x="405" y="679"/>
                  </a:lnTo>
                  <a:lnTo>
                    <a:pt x="388" y="713"/>
                  </a:lnTo>
                  <a:lnTo>
                    <a:pt x="397" y="713"/>
                  </a:lnTo>
                  <a:lnTo>
                    <a:pt x="405" y="730"/>
                  </a:lnTo>
                  <a:lnTo>
                    <a:pt x="405" y="739"/>
                  </a:lnTo>
                  <a:lnTo>
                    <a:pt x="405" y="747"/>
                  </a:lnTo>
                  <a:lnTo>
                    <a:pt x="405" y="764"/>
                  </a:lnTo>
                  <a:lnTo>
                    <a:pt x="397" y="773"/>
                  </a:lnTo>
                  <a:lnTo>
                    <a:pt x="380" y="773"/>
                  </a:lnTo>
                  <a:lnTo>
                    <a:pt x="354" y="781"/>
                  </a:lnTo>
                  <a:lnTo>
                    <a:pt x="337" y="764"/>
                  </a:lnTo>
                  <a:lnTo>
                    <a:pt x="321" y="764"/>
                  </a:lnTo>
                  <a:lnTo>
                    <a:pt x="312" y="756"/>
                  </a:lnTo>
                  <a:lnTo>
                    <a:pt x="304" y="747"/>
                  </a:lnTo>
                  <a:lnTo>
                    <a:pt x="304" y="739"/>
                  </a:lnTo>
                  <a:lnTo>
                    <a:pt x="295" y="739"/>
                  </a:lnTo>
                  <a:lnTo>
                    <a:pt x="236" y="730"/>
                  </a:lnTo>
                  <a:lnTo>
                    <a:pt x="211" y="722"/>
                  </a:lnTo>
                  <a:lnTo>
                    <a:pt x="211" y="713"/>
                  </a:lnTo>
                  <a:lnTo>
                    <a:pt x="186" y="713"/>
                  </a:lnTo>
                  <a:lnTo>
                    <a:pt x="160" y="713"/>
                  </a:lnTo>
                  <a:lnTo>
                    <a:pt x="152" y="722"/>
                  </a:lnTo>
                  <a:lnTo>
                    <a:pt x="144" y="696"/>
                  </a:lnTo>
                  <a:lnTo>
                    <a:pt x="135" y="679"/>
                  </a:lnTo>
                  <a:lnTo>
                    <a:pt x="118" y="662"/>
                  </a:lnTo>
                  <a:lnTo>
                    <a:pt x="160" y="654"/>
                  </a:lnTo>
                  <a:lnTo>
                    <a:pt x="160" y="637"/>
                  </a:lnTo>
                  <a:lnTo>
                    <a:pt x="152" y="628"/>
                  </a:lnTo>
                  <a:lnTo>
                    <a:pt x="135" y="620"/>
                  </a:lnTo>
                  <a:lnTo>
                    <a:pt x="127" y="620"/>
                  </a:lnTo>
                  <a:lnTo>
                    <a:pt x="110" y="603"/>
                  </a:lnTo>
                  <a:lnTo>
                    <a:pt x="101" y="594"/>
                  </a:lnTo>
                  <a:lnTo>
                    <a:pt x="84" y="586"/>
                  </a:lnTo>
                  <a:lnTo>
                    <a:pt x="76" y="560"/>
                  </a:lnTo>
                  <a:lnTo>
                    <a:pt x="76" y="552"/>
                  </a:lnTo>
                  <a:lnTo>
                    <a:pt x="68" y="543"/>
                  </a:lnTo>
                  <a:lnTo>
                    <a:pt x="51" y="526"/>
                  </a:lnTo>
                  <a:lnTo>
                    <a:pt x="51" y="518"/>
                  </a:lnTo>
                  <a:lnTo>
                    <a:pt x="25" y="510"/>
                  </a:lnTo>
                  <a:lnTo>
                    <a:pt x="9" y="493"/>
                  </a:lnTo>
                  <a:lnTo>
                    <a:pt x="0" y="459"/>
                  </a:lnTo>
                  <a:lnTo>
                    <a:pt x="17" y="433"/>
                  </a:lnTo>
                  <a:lnTo>
                    <a:pt x="9" y="416"/>
                  </a:lnTo>
                  <a:lnTo>
                    <a:pt x="9" y="408"/>
                  </a:lnTo>
                  <a:lnTo>
                    <a:pt x="0" y="399"/>
                  </a:lnTo>
                  <a:lnTo>
                    <a:pt x="0" y="391"/>
                  </a:lnTo>
                  <a:lnTo>
                    <a:pt x="17" y="382"/>
                  </a:lnTo>
                  <a:lnTo>
                    <a:pt x="25" y="374"/>
                  </a:lnTo>
                  <a:lnTo>
                    <a:pt x="76" y="374"/>
                  </a:lnTo>
                  <a:lnTo>
                    <a:pt x="93" y="365"/>
                  </a:lnTo>
                  <a:lnTo>
                    <a:pt x="93" y="357"/>
                  </a:lnTo>
                  <a:lnTo>
                    <a:pt x="110" y="340"/>
                  </a:lnTo>
                  <a:lnTo>
                    <a:pt x="101" y="314"/>
                  </a:lnTo>
                  <a:lnTo>
                    <a:pt x="118" y="306"/>
                  </a:lnTo>
                  <a:lnTo>
                    <a:pt x="101" y="280"/>
                  </a:lnTo>
                  <a:lnTo>
                    <a:pt x="101" y="263"/>
                  </a:lnTo>
                  <a:lnTo>
                    <a:pt x="118" y="255"/>
                  </a:lnTo>
                  <a:lnTo>
                    <a:pt x="84" y="221"/>
                  </a:lnTo>
                  <a:lnTo>
                    <a:pt x="101" y="204"/>
                  </a:lnTo>
                  <a:lnTo>
                    <a:pt x="84" y="178"/>
                  </a:lnTo>
                  <a:lnTo>
                    <a:pt x="93" y="153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76" y="145"/>
                  </a:lnTo>
                  <a:lnTo>
                    <a:pt x="51" y="111"/>
                  </a:lnTo>
                  <a:lnTo>
                    <a:pt x="42" y="85"/>
                  </a:lnTo>
                  <a:lnTo>
                    <a:pt x="51" y="68"/>
                  </a:lnTo>
                  <a:lnTo>
                    <a:pt x="76" y="68"/>
                  </a:lnTo>
                  <a:lnTo>
                    <a:pt x="101" y="43"/>
                  </a:lnTo>
                  <a:lnTo>
                    <a:pt x="127" y="43"/>
                  </a:lnTo>
                  <a:lnTo>
                    <a:pt x="152" y="51"/>
                  </a:lnTo>
                  <a:lnTo>
                    <a:pt x="203" y="34"/>
                  </a:lnTo>
                  <a:lnTo>
                    <a:pt x="211" y="9"/>
                  </a:lnTo>
                  <a:lnTo>
                    <a:pt x="228" y="0"/>
                  </a:lnTo>
                  <a:lnTo>
                    <a:pt x="245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mpd="sng" algn="ctr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79747" tIns="39873" rIns="79747" bIns="39873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de-DE" sz="1477" dirty="0"/>
            </a:p>
          </p:txBody>
        </p:sp>
        <p:sp>
          <p:nvSpPr>
            <p:cNvPr id="15" name="Saxony">
              <a:extLst>
                <a:ext uri="{FF2B5EF4-FFF2-40B4-BE49-F238E27FC236}">
                  <a16:creationId xmlns:a16="http://schemas.microsoft.com/office/drawing/2014/main" id="{69E325A4-F709-45C0-A1E0-85F48E72C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2945" y="3553972"/>
              <a:ext cx="1139524" cy="996188"/>
            </a:xfrm>
            <a:custGeom>
              <a:avLst/>
              <a:gdLst>
                <a:gd name="T0" fmla="*/ 127109805 w 726"/>
                <a:gd name="T1" fmla="*/ 984626166 h 586"/>
                <a:gd name="T2" fmla="*/ 140729407 w 726"/>
                <a:gd name="T3" fmla="*/ 1016387997 h 586"/>
                <a:gd name="T4" fmla="*/ 156617939 w 726"/>
                <a:gd name="T5" fmla="*/ 1077644785 h 586"/>
                <a:gd name="T6" fmla="*/ 188395002 w 726"/>
                <a:gd name="T7" fmla="*/ 1016387997 h 586"/>
                <a:gd name="T8" fmla="*/ 279188379 w 726"/>
                <a:gd name="T9" fmla="*/ 902952457 h 586"/>
                <a:gd name="T10" fmla="*/ 358632543 w 726"/>
                <a:gd name="T11" fmla="*/ 891609053 h 586"/>
                <a:gd name="T12" fmla="*/ 438076800 w 726"/>
                <a:gd name="T13" fmla="*/ 891609053 h 586"/>
                <a:gd name="T14" fmla="*/ 483471959 w 726"/>
                <a:gd name="T15" fmla="*/ 825815506 h 586"/>
                <a:gd name="T16" fmla="*/ 544757155 w 726"/>
                <a:gd name="T17" fmla="*/ 825815506 h 586"/>
                <a:gd name="T18" fmla="*/ 574265289 w 726"/>
                <a:gd name="T19" fmla="*/ 766828415 h 586"/>
                <a:gd name="T20" fmla="*/ 606043858 w 726"/>
                <a:gd name="T21" fmla="*/ 766828415 h 586"/>
                <a:gd name="T22" fmla="*/ 655979889 w 726"/>
                <a:gd name="T23" fmla="*/ 746409988 h 586"/>
                <a:gd name="T24" fmla="*/ 712724213 w 726"/>
                <a:gd name="T25" fmla="*/ 669273038 h 586"/>
                <a:gd name="T26" fmla="*/ 762660243 w 726"/>
                <a:gd name="T27" fmla="*/ 655661255 h 586"/>
                <a:gd name="T28" fmla="*/ 823947135 w 726"/>
                <a:gd name="T29" fmla="*/ 639779586 h 586"/>
                <a:gd name="T30" fmla="*/ 855724198 w 726"/>
                <a:gd name="T31" fmla="*/ 610287641 h 586"/>
                <a:gd name="T32" fmla="*/ 917009394 w 726"/>
                <a:gd name="T33" fmla="*/ 592137593 h 586"/>
                <a:gd name="T34" fmla="*/ 1039579787 w 726"/>
                <a:gd name="T35" fmla="*/ 530882311 h 586"/>
                <a:gd name="T36" fmla="*/ 1057738754 w 726"/>
                <a:gd name="T37" fmla="*/ 499118974 h 586"/>
                <a:gd name="T38" fmla="*/ 1025960185 w 726"/>
                <a:gd name="T39" fmla="*/ 451476981 h 586"/>
                <a:gd name="T40" fmla="*/ 1025960185 w 726"/>
                <a:gd name="T41" fmla="*/ 406101862 h 586"/>
                <a:gd name="T42" fmla="*/ 1103135419 w 726"/>
                <a:gd name="T43" fmla="*/ 419713644 h 586"/>
                <a:gd name="T44" fmla="*/ 1164420616 w 726"/>
                <a:gd name="T45" fmla="*/ 499118974 h 586"/>
                <a:gd name="T46" fmla="*/ 1180309147 w 726"/>
                <a:gd name="T47" fmla="*/ 499118974 h 586"/>
                <a:gd name="T48" fmla="*/ 1180309147 w 726"/>
                <a:gd name="T49" fmla="*/ 546762474 h 586"/>
                <a:gd name="T50" fmla="*/ 1243863273 w 726"/>
                <a:gd name="T51" fmla="*/ 546762474 h 586"/>
                <a:gd name="T52" fmla="*/ 1275641842 w 726"/>
                <a:gd name="T53" fmla="*/ 515000643 h 586"/>
                <a:gd name="T54" fmla="*/ 1336927039 w 726"/>
                <a:gd name="T55" fmla="*/ 249559487 h 586"/>
                <a:gd name="T56" fmla="*/ 1289259938 w 726"/>
                <a:gd name="T57" fmla="*/ 106630449 h 586"/>
                <a:gd name="T58" fmla="*/ 1180309147 w 726"/>
                <a:gd name="T59" fmla="*/ 47643511 h 586"/>
                <a:gd name="T60" fmla="*/ 1198466608 w 726"/>
                <a:gd name="T61" fmla="*/ 20418433 h 586"/>
                <a:gd name="T62" fmla="*/ 1150801014 w 726"/>
                <a:gd name="T63" fmla="*/ 29493463 h 586"/>
                <a:gd name="T64" fmla="*/ 1087245381 w 726"/>
                <a:gd name="T65" fmla="*/ 47643511 h 586"/>
                <a:gd name="T66" fmla="*/ 1025960185 w 726"/>
                <a:gd name="T67" fmla="*/ 61255306 h 586"/>
                <a:gd name="T68" fmla="*/ 962406059 w 726"/>
                <a:gd name="T69" fmla="*/ 47643511 h 586"/>
                <a:gd name="T70" fmla="*/ 932897926 w 726"/>
                <a:gd name="T71" fmla="*/ 106630449 h 586"/>
                <a:gd name="T72" fmla="*/ 869342293 w 726"/>
                <a:gd name="T73" fmla="*/ 77136974 h 586"/>
                <a:gd name="T74" fmla="*/ 778550281 w 726"/>
                <a:gd name="T75" fmla="*/ 156542327 h 586"/>
                <a:gd name="T76" fmla="*/ 778550281 w 726"/>
                <a:gd name="T77" fmla="*/ 220066036 h 586"/>
                <a:gd name="T78" fmla="*/ 701375047 w 726"/>
                <a:gd name="T79" fmla="*/ 220066036 h 586"/>
                <a:gd name="T80" fmla="*/ 606043858 w 726"/>
                <a:gd name="T81" fmla="*/ 188304158 h 586"/>
                <a:gd name="T82" fmla="*/ 497091561 w 726"/>
                <a:gd name="T83" fmla="*/ 170154110 h 586"/>
                <a:gd name="T84" fmla="*/ 342744011 w 726"/>
                <a:gd name="T85" fmla="*/ 170154110 h 586"/>
                <a:gd name="T86" fmla="*/ 279188379 w 726"/>
                <a:gd name="T87" fmla="*/ 201915988 h 586"/>
                <a:gd name="T88" fmla="*/ 156617939 w 726"/>
                <a:gd name="T89" fmla="*/ 201915988 h 586"/>
                <a:gd name="T90" fmla="*/ 108950838 w 726"/>
                <a:gd name="T91" fmla="*/ 265441156 h 586"/>
                <a:gd name="T92" fmla="*/ 95332719 w 726"/>
                <a:gd name="T93" fmla="*/ 390220099 h 586"/>
                <a:gd name="T94" fmla="*/ 127109805 w 726"/>
                <a:gd name="T95" fmla="*/ 419713644 h 586"/>
                <a:gd name="T96" fmla="*/ 172506470 w 726"/>
                <a:gd name="T97" fmla="*/ 419713644 h 586"/>
                <a:gd name="T98" fmla="*/ 202014651 w 726"/>
                <a:gd name="T99" fmla="*/ 437863692 h 586"/>
                <a:gd name="T100" fmla="*/ 233791714 w 726"/>
                <a:gd name="T101" fmla="*/ 483238812 h 586"/>
                <a:gd name="T102" fmla="*/ 279188379 w 726"/>
                <a:gd name="T103" fmla="*/ 499118974 h 586"/>
                <a:gd name="T104" fmla="*/ 265568777 w 726"/>
                <a:gd name="T105" fmla="*/ 530882311 h 586"/>
                <a:gd name="T106" fmla="*/ 156617939 w 726"/>
                <a:gd name="T107" fmla="*/ 669273038 h 586"/>
                <a:gd name="T108" fmla="*/ 156617939 w 726"/>
                <a:gd name="T109" fmla="*/ 716916537 h 586"/>
                <a:gd name="T110" fmla="*/ 95332719 w 726"/>
                <a:gd name="T111" fmla="*/ 746409988 h 586"/>
                <a:gd name="T112" fmla="*/ 79444187 w 726"/>
                <a:gd name="T113" fmla="*/ 796322055 h 586"/>
                <a:gd name="T114" fmla="*/ 29508145 w 726"/>
                <a:gd name="T115" fmla="*/ 746409988 h 586"/>
                <a:gd name="T116" fmla="*/ 0 w 726"/>
                <a:gd name="T117" fmla="*/ 843965554 h 586"/>
                <a:gd name="T118" fmla="*/ 29508145 w 726"/>
                <a:gd name="T119" fmla="*/ 950595956 h 586"/>
                <a:gd name="T120" fmla="*/ 95332719 w 726"/>
                <a:gd name="T121" fmla="*/ 966476118 h 58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26"/>
                <a:gd name="T184" fmla="*/ 0 h 586"/>
                <a:gd name="T185" fmla="*/ 726 w 726"/>
                <a:gd name="T186" fmla="*/ 586 h 58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26" h="586">
                  <a:moveTo>
                    <a:pt x="51" y="526"/>
                  </a:moveTo>
                  <a:lnTo>
                    <a:pt x="68" y="535"/>
                  </a:lnTo>
                  <a:lnTo>
                    <a:pt x="68" y="552"/>
                  </a:lnTo>
                  <a:lnTo>
                    <a:pt x="76" y="552"/>
                  </a:lnTo>
                  <a:lnTo>
                    <a:pt x="76" y="560"/>
                  </a:lnTo>
                  <a:lnTo>
                    <a:pt x="85" y="586"/>
                  </a:lnTo>
                  <a:lnTo>
                    <a:pt x="93" y="586"/>
                  </a:lnTo>
                  <a:lnTo>
                    <a:pt x="102" y="552"/>
                  </a:lnTo>
                  <a:lnTo>
                    <a:pt x="127" y="501"/>
                  </a:lnTo>
                  <a:lnTo>
                    <a:pt x="152" y="492"/>
                  </a:lnTo>
                  <a:lnTo>
                    <a:pt x="186" y="492"/>
                  </a:lnTo>
                  <a:lnTo>
                    <a:pt x="194" y="484"/>
                  </a:lnTo>
                  <a:lnTo>
                    <a:pt x="211" y="475"/>
                  </a:lnTo>
                  <a:lnTo>
                    <a:pt x="237" y="484"/>
                  </a:lnTo>
                  <a:lnTo>
                    <a:pt x="253" y="475"/>
                  </a:lnTo>
                  <a:lnTo>
                    <a:pt x="262" y="450"/>
                  </a:lnTo>
                  <a:lnTo>
                    <a:pt x="270" y="450"/>
                  </a:lnTo>
                  <a:lnTo>
                    <a:pt x="296" y="450"/>
                  </a:lnTo>
                  <a:lnTo>
                    <a:pt x="304" y="441"/>
                  </a:lnTo>
                  <a:lnTo>
                    <a:pt x="312" y="416"/>
                  </a:lnTo>
                  <a:lnTo>
                    <a:pt x="321" y="416"/>
                  </a:lnTo>
                  <a:lnTo>
                    <a:pt x="329" y="416"/>
                  </a:lnTo>
                  <a:lnTo>
                    <a:pt x="346" y="399"/>
                  </a:lnTo>
                  <a:lnTo>
                    <a:pt x="355" y="407"/>
                  </a:lnTo>
                  <a:lnTo>
                    <a:pt x="380" y="390"/>
                  </a:lnTo>
                  <a:lnTo>
                    <a:pt x="388" y="365"/>
                  </a:lnTo>
                  <a:lnTo>
                    <a:pt x="397" y="365"/>
                  </a:lnTo>
                  <a:lnTo>
                    <a:pt x="414" y="356"/>
                  </a:lnTo>
                  <a:lnTo>
                    <a:pt x="422" y="348"/>
                  </a:lnTo>
                  <a:lnTo>
                    <a:pt x="447" y="348"/>
                  </a:lnTo>
                  <a:lnTo>
                    <a:pt x="464" y="348"/>
                  </a:lnTo>
                  <a:lnTo>
                    <a:pt x="464" y="331"/>
                  </a:lnTo>
                  <a:lnTo>
                    <a:pt x="481" y="323"/>
                  </a:lnTo>
                  <a:lnTo>
                    <a:pt x="498" y="323"/>
                  </a:lnTo>
                  <a:lnTo>
                    <a:pt x="549" y="289"/>
                  </a:lnTo>
                  <a:lnTo>
                    <a:pt x="565" y="289"/>
                  </a:lnTo>
                  <a:lnTo>
                    <a:pt x="582" y="272"/>
                  </a:lnTo>
                  <a:lnTo>
                    <a:pt x="574" y="272"/>
                  </a:lnTo>
                  <a:lnTo>
                    <a:pt x="565" y="255"/>
                  </a:lnTo>
                  <a:lnTo>
                    <a:pt x="557" y="246"/>
                  </a:lnTo>
                  <a:lnTo>
                    <a:pt x="549" y="246"/>
                  </a:lnTo>
                  <a:lnTo>
                    <a:pt x="557" y="221"/>
                  </a:lnTo>
                  <a:lnTo>
                    <a:pt x="582" y="238"/>
                  </a:lnTo>
                  <a:lnTo>
                    <a:pt x="599" y="229"/>
                  </a:lnTo>
                  <a:lnTo>
                    <a:pt x="625" y="246"/>
                  </a:lnTo>
                  <a:lnTo>
                    <a:pt x="633" y="272"/>
                  </a:lnTo>
                  <a:lnTo>
                    <a:pt x="633" y="263"/>
                  </a:lnTo>
                  <a:lnTo>
                    <a:pt x="641" y="272"/>
                  </a:lnTo>
                  <a:lnTo>
                    <a:pt x="633" y="289"/>
                  </a:lnTo>
                  <a:lnTo>
                    <a:pt x="641" y="297"/>
                  </a:lnTo>
                  <a:lnTo>
                    <a:pt x="675" y="306"/>
                  </a:lnTo>
                  <a:lnTo>
                    <a:pt x="675" y="297"/>
                  </a:lnTo>
                  <a:lnTo>
                    <a:pt x="692" y="289"/>
                  </a:lnTo>
                  <a:lnTo>
                    <a:pt x="692" y="280"/>
                  </a:lnTo>
                  <a:lnTo>
                    <a:pt x="717" y="212"/>
                  </a:lnTo>
                  <a:lnTo>
                    <a:pt x="726" y="136"/>
                  </a:lnTo>
                  <a:lnTo>
                    <a:pt x="709" y="110"/>
                  </a:lnTo>
                  <a:lnTo>
                    <a:pt x="700" y="59"/>
                  </a:lnTo>
                  <a:lnTo>
                    <a:pt x="650" y="42"/>
                  </a:lnTo>
                  <a:lnTo>
                    <a:pt x="641" y="25"/>
                  </a:lnTo>
                  <a:lnTo>
                    <a:pt x="641" y="17"/>
                  </a:lnTo>
                  <a:lnTo>
                    <a:pt x="650" y="9"/>
                  </a:lnTo>
                  <a:lnTo>
                    <a:pt x="650" y="0"/>
                  </a:lnTo>
                  <a:lnTo>
                    <a:pt x="625" y="17"/>
                  </a:lnTo>
                  <a:lnTo>
                    <a:pt x="608" y="9"/>
                  </a:lnTo>
                  <a:lnTo>
                    <a:pt x="591" y="25"/>
                  </a:lnTo>
                  <a:lnTo>
                    <a:pt x="582" y="25"/>
                  </a:lnTo>
                  <a:lnTo>
                    <a:pt x="557" y="34"/>
                  </a:lnTo>
                  <a:lnTo>
                    <a:pt x="532" y="34"/>
                  </a:lnTo>
                  <a:lnTo>
                    <a:pt x="523" y="25"/>
                  </a:lnTo>
                  <a:lnTo>
                    <a:pt x="498" y="42"/>
                  </a:lnTo>
                  <a:lnTo>
                    <a:pt x="506" y="59"/>
                  </a:lnTo>
                  <a:lnTo>
                    <a:pt x="498" y="68"/>
                  </a:lnTo>
                  <a:lnTo>
                    <a:pt x="473" y="42"/>
                  </a:lnTo>
                  <a:lnTo>
                    <a:pt x="431" y="68"/>
                  </a:lnTo>
                  <a:lnTo>
                    <a:pt x="422" y="85"/>
                  </a:lnTo>
                  <a:lnTo>
                    <a:pt x="431" y="110"/>
                  </a:lnTo>
                  <a:lnTo>
                    <a:pt x="422" y="119"/>
                  </a:lnTo>
                  <a:lnTo>
                    <a:pt x="405" y="127"/>
                  </a:lnTo>
                  <a:lnTo>
                    <a:pt x="380" y="119"/>
                  </a:lnTo>
                  <a:lnTo>
                    <a:pt x="346" y="110"/>
                  </a:lnTo>
                  <a:lnTo>
                    <a:pt x="329" y="102"/>
                  </a:lnTo>
                  <a:lnTo>
                    <a:pt x="304" y="110"/>
                  </a:lnTo>
                  <a:lnTo>
                    <a:pt x="270" y="93"/>
                  </a:lnTo>
                  <a:lnTo>
                    <a:pt x="237" y="93"/>
                  </a:lnTo>
                  <a:lnTo>
                    <a:pt x="186" y="93"/>
                  </a:lnTo>
                  <a:lnTo>
                    <a:pt x="169" y="93"/>
                  </a:lnTo>
                  <a:lnTo>
                    <a:pt x="152" y="110"/>
                  </a:lnTo>
                  <a:lnTo>
                    <a:pt x="110" y="102"/>
                  </a:lnTo>
                  <a:lnTo>
                    <a:pt x="85" y="110"/>
                  </a:lnTo>
                  <a:lnTo>
                    <a:pt x="68" y="119"/>
                  </a:lnTo>
                  <a:lnTo>
                    <a:pt x="60" y="144"/>
                  </a:lnTo>
                  <a:lnTo>
                    <a:pt x="68" y="178"/>
                  </a:lnTo>
                  <a:lnTo>
                    <a:pt x="51" y="212"/>
                  </a:lnTo>
                  <a:lnTo>
                    <a:pt x="60" y="212"/>
                  </a:lnTo>
                  <a:lnTo>
                    <a:pt x="68" y="229"/>
                  </a:lnTo>
                  <a:lnTo>
                    <a:pt x="68" y="238"/>
                  </a:lnTo>
                  <a:lnTo>
                    <a:pt x="93" y="229"/>
                  </a:lnTo>
                  <a:lnTo>
                    <a:pt x="93" y="238"/>
                  </a:lnTo>
                  <a:lnTo>
                    <a:pt x="110" y="238"/>
                  </a:lnTo>
                  <a:lnTo>
                    <a:pt x="127" y="246"/>
                  </a:lnTo>
                  <a:lnTo>
                    <a:pt x="127" y="263"/>
                  </a:lnTo>
                  <a:lnTo>
                    <a:pt x="144" y="263"/>
                  </a:lnTo>
                  <a:lnTo>
                    <a:pt x="152" y="272"/>
                  </a:lnTo>
                  <a:lnTo>
                    <a:pt x="161" y="289"/>
                  </a:lnTo>
                  <a:lnTo>
                    <a:pt x="144" y="289"/>
                  </a:lnTo>
                  <a:lnTo>
                    <a:pt x="110" y="331"/>
                  </a:lnTo>
                  <a:lnTo>
                    <a:pt x="85" y="365"/>
                  </a:lnTo>
                  <a:lnTo>
                    <a:pt x="93" y="373"/>
                  </a:lnTo>
                  <a:lnTo>
                    <a:pt x="85" y="390"/>
                  </a:lnTo>
                  <a:lnTo>
                    <a:pt x="60" y="399"/>
                  </a:lnTo>
                  <a:lnTo>
                    <a:pt x="51" y="407"/>
                  </a:lnTo>
                  <a:lnTo>
                    <a:pt x="43" y="424"/>
                  </a:lnTo>
                  <a:lnTo>
                    <a:pt x="43" y="433"/>
                  </a:lnTo>
                  <a:lnTo>
                    <a:pt x="34" y="433"/>
                  </a:lnTo>
                  <a:lnTo>
                    <a:pt x="17" y="407"/>
                  </a:lnTo>
                  <a:lnTo>
                    <a:pt x="0" y="424"/>
                  </a:lnTo>
                  <a:lnTo>
                    <a:pt x="0" y="458"/>
                  </a:lnTo>
                  <a:lnTo>
                    <a:pt x="0" y="492"/>
                  </a:lnTo>
                  <a:lnTo>
                    <a:pt x="17" y="518"/>
                  </a:lnTo>
                  <a:lnTo>
                    <a:pt x="43" y="526"/>
                  </a:lnTo>
                  <a:lnTo>
                    <a:pt x="51" y="52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mpd="sng" algn="ctr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79747" tIns="39873" rIns="79747" bIns="39873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de-DE" sz="1477" dirty="0"/>
            </a:p>
          </p:txBody>
        </p:sp>
        <p:sp>
          <p:nvSpPr>
            <p:cNvPr id="8" name="Saarland">
              <a:extLst>
                <a:ext uri="{FF2B5EF4-FFF2-40B4-BE49-F238E27FC236}">
                  <a16:creationId xmlns:a16="http://schemas.microsoft.com/office/drawing/2014/main" id="{DC2BBCE6-8356-4FD0-8824-677731E9513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1093" y="4895959"/>
              <a:ext cx="383700" cy="333257"/>
            </a:xfrm>
            <a:custGeom>
              <a:avLst/>
              <a:gdLst>
                <a:gd name="T0" fmla="*/ 0 w 244"/>
                <a:gd name="T1" fmla="*/ 61278606 h 196"/>
                <a:gd name="T2" fmla="*/ 95691585 w 244"/>
                <a:gd name="T3" fmla="*/ 61278606 h 196"/>
                <a:gd name="T4" fmla="*/ 173155343 w 244"/>
                <a:gd name="T5" fmla="*/ 49930107 h 196"/>
                <a:gd name="T6" fmla="*/ 250620635 w 244"/>
                <a:gd name="T7" fmla="*/ 0 h 196"/>
                <a:gd name="T8" fmla="*/ 284795545 w 244"/>
                <a:gd name="T9" fmla="*/ 0 h 196"/>
                <a:gd name="T10" fmla="*/ 359981556 w 244"/>
                <a:gd name="T11" fmla="*/ 49930107 h 196"/>
                <a:gd name="T12" fmla="*/ 407827431 w 244"/>
                <a:gd name="T13" fmla="*/ 49930107 h 196"/>
                <a:gd name="T14" fmla="*/ 421498301 w 244"/>
                <a:gd name="T15" fmla="*/ 108938410 h 196"/>
                <a:gd name="T16" fmla="*/ 394157976 w 244"/>
                <a:gd name="T17" fmla="*/ 127094804 h 196"/>
                <a:gd name="T18" fmla="*/ 421498301 w 244"/>
                <a:gd name="T19" fmla="*/ 172485789 h 196"/>
                <a:gd name="T20" fmla="*/ 439724618 w 244"/>
                <a:gd name="T21" fmla="*/ 188373386 h 196"/>
                <a:gd name="T22" fmla="*/ 455673212 w 244"/>
                <a:gd name="T23" fmla="*/ 204259525 h 196"/>
                <a:gd name="T24" fmla="*/ 455673212 w 244"/>
                <a:gd name="T25" fmla="*/ 233764418 h 196"/>
                <a:gd name="T26" fmla="*/ 407827431 w 244"/>
                <a:gd name="T27" fmla="*/ 281425705 h 196"/>
                <a:gd name="T28" fmla="*/ 439724618 w 244"/>
                <a:gd name="T29" fmla="*/ 329085486 h 196"/>
                <a:gd name="T30" fmla="*/ 407827431 w 244"/>
                <a:gd name="T31" fmla="*/ 360859175 h 196"/>
                <a:gd name="T32" fmla="*/ 330363602 w 244"/>
                <a:gd name="T33" fmla="*/ 342702781 h 196"/>
                <a:gd name="T34" fmla="*/ 298466415 w 244"/>
                <a:gd name="T35" fmla="*/ 360859175 h 196"/>
                <a:gd name="T36" fmla="*/ 298466415 w 244"/>
                <a:gd name="T37" fmla="*/ 313199394 h 196"/>
                <a:gd name="T38" fmla="*/ 266569228 w 244"/>
                <a:gd name="T39" fmla="*/ 281425705 h 196"/>
                <a:gd name="T40" fmla="*/ 202774854 w 244"/>
                <a:gd name="T41" fmla="*/ 299582099 h 196"/>
                <a:gd name="T42" fmla="*/ 218723447 w 244"/>
                <a:gd name="T43" fmla="*/ 313199394 h 196"/>
                <a:gd name="T44" fmla="*/ 202774854 w 244"/>
                <a:gd name="T45" fmla="*/ 329085486 h 196"/>
                <a:gd name="T46" fmla="*/ 173155343 w 244"/>
                <a:gd name="T47" fmla="*/ 329085486 h 196"/>
                <a:gd name="T48" fmla="*/ 141258156 w 244"/>
                <a:gd name="T49" fmla="*/ 313199394 h 196"/>
                <a:gd name="T50" fmla="*/ 154929026 w 244"/>
                <a:gd name="T51" fmla="*/ 281425705 h 196"/>
                <a:gd name="T52" fmla="*/ 141258156 w 244"/>
                <a:gd name="T53" fmla="*/ 281425705 h 196"/>
                <a:gd name="T54" fmla="*/ 95691585 w 244"/>
                <a:gd name="T55" fmla="*/ 204259525 h 196"/>
                <a:gd name="T56" fmla="*/ 95691585 w 244"/>
                <a:gd name="T57" fmla="*/ 188373386 h 196"/>
                <a:gd name="T58" fmla="*/ 77463758 w 244"/>
                <a:gd name="T59" fmla="*/ 140712099 h 196"/>
                <a:gd name="T60" fmla="*/ 47845792 w 244"/>
                <a:gd name="T61" fmla="*/ 108938410 h 196"/>
                <a:gd name="T62" fmla="*/ 0 w 244"/>
                <a:gd name="T63" fmla="*/ 108938410 h 196"/>
                <a:gd name="T64" fmla="*/ 0 w 244"/>
                <a:gd name="T65" fmla="*/ 61278606 h 19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44"/>
                <a:gd name="T100" fmla="*/ 0 h 196"/>
                <a:gd name="T101" fmla="*/ 244 w 244"/>
                <a:gd name="T102" fmla="*/ 196 h 19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44" h="196">
                  <a:moveTo>
                    <a:pt x="0" y="34"/>
                  </a:moveTo>
                  <a:lnTo>
                    <a:pt x="50" y="34"/>
                  </a:lnTo>
                  <a:lnTo>
                    <a:pt x="93" y="26"/>
                  </a:lnTo>
                  <a:lnTo>
                    <a:pt x="135" y="0"/>
                  </a:lnTo>
                  <a:lnTo>
                    <a:pt x="152" y="0"/>
                  </a:lnTo>
                  <a:lnTo>
                    <a:pt x="194" y="26"/>
                  </a:lnTo>
                  <a:lnTo>
                    <a:pt x="219" y="26"/>
                  </a:lnTo>
                  <a:lnTo>
                    <a:pt x="227" y="60"/>
                  </a:lnTo>
                  <a:lnTo>
                    <a:pt x="211" y="68"/>
                  </a:lnTo>
                  <a:lnTo>
                    <a:pt x="227" y="94"/>
                  </a:lnTo>
                  <a:lnTo>
                    <a:pt x="236" y="102"/>
                  </a:lnTo>
                  <a:lnTo>
                    <a:pt x="244" y="111"/>
                  </a:lnTo>
                  <a:lnTo>
                    <a:pt x="244" y="128"/>
                  </a:lnTo>
                  <a:lnTo>
                    <a:pt x="219" y="153"/>
                  </a:lnTo>
                  <a:lnTo>
                    <a:pt x="236" y="179"/>
                  </a:lnTo>
                  <a:lnTo>
                    <a:pt x="219" y="196"/>
                  </a:lnTo>
                  <a:lnTo>
                    <a:pt x="177" y="187"/>
                  </a:lnTo>
                  <a:lnTo>
                    <a:pt x="160" y="196"/>
                  </a:lnTo>
                  <a:lnTo>
                    <a:pt x="160" y="170"/>
                  </a:lnTo>
                  <a:lnTo>
                    <a:pt x="143" y="153"/>
                  </a:lnTo>
                  <a:lnTo>
                    <a:pt x="109" y="162"/>
                  </a:lnTo>
                  <a:lnTo>
                    <a:pt x="118" y="170"/>
                  </a:lnTo>
                  <a:lnTo>
                    <a:pt x="109" y="179"/>
                  </a:lnTo>
                  <a:lnTo>
                    <a:pt x="93" y="179"/>
                  </a:lnTo>
                  <a:lnTo>
                    <a:pt x="76" y="170"/>
                  </a:lnTo>
                  <a:lnTo>
                    <a:pt x="84" y="153"/>
                  </a:lnTo>
                  <a:lnTo>
                    <a:pt x="76" y="153"/>
                  </a:lnTo>
                  <a:lnTo>
                    <a:pt x="50" y="111"/>
                  </a:lnTo>
                  <a:lnTo>
                    <a:pt x="50" y="102"/>
                  </a:lnTo>
                  <a:lnTo>
                    <a:pt x="42" y="77"/>
                  </a:lnTo>
                  <a:lnTo>
                    <a:pt x="25" y="60"/>
                  </a:lnTo>
                  <a:lnTo>
                    <a:pt x="0" y="60"/>
                  </a:lnTo>
                  <a:lnTo>
                    <a:pt x="0" y="34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mpd="sng" algn="ctr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79747" tIns="39873" rIns="79747" bIns="39873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de-DE" sz="1477" dirty="0"/>
            </a:p>
          </p:txBody>
        </p:sp>
        <p:sp>
          <p:nvSpPr>
            <p:cNvPr id="7" name="Rhineland-Palatinate">
              <a:extLst>
                <a:ext uri="{FF2B5EF4-FFF2-40B4-BE49-F238E27FC236}">
                  <a16:creationId xmlns:a16="http://schemas.microsoft.com/office/drawing/2014/main" id="{4728C372-60CA-413F-A01E-0953621A8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4420054" y="4059234"/>
              <a:ext cx="888133" cy="1284652"/>
            </a:xfrm>
            <a:custGeom>
              <a:avLst/>
              <a:gdLst>
                <a:gd name="T0" fmla="*/ 546373205 w 565"/>
                <a:gd name="T1" fmla="*/ 1145518708 h 755"/>
                <a:gd name="T2" fmla="*/ 532713804 w 565"/>
                <a:gd name="T3" fmla="*/ 1097788149 h 755"/>
                <a:gd name="T4" fmla="*/ 487183474 w 565"/>
                <a:gd name="T5" fmla="*/ 1036421365 h 755"/>
                <a:gd name="T6" fmla="*/ 503119693 w 565"/>
                <a:gd name="T7" fmla="*/ 956871439 h 755"/>
                <a:gd name="T8" fmla="*/ 375631354 w 565"/>
                <a:gd name="T9" fmla="*/ 909140881 h 755"/>
                <a:gd name="T10" fmla="*/ 268634475 w 565"/>
                <a:gd name="T11" fmla="*/ 956871439 h 755"/>
                <a:gd name="T12" fmla="*/ 95615829 w 565"/>
                <a:gd name="T13" fmla="*/ 972781123 h 755"/>
                <a:gd name="T14" fmla="*/ 109275254 w 565"/>
                <a:gd name="T15" fmla="*/ 909140881 h 755"/>
                <a:gd name="T16" fmla="*/ 154805584 w 565"/>
                <a:gd name="T17" fmla="*/ 863683780 h 755"/>
                <a:gd name="T18" fmla="*/ 154805584 w 565"/>
                <a:gd name="T19" fmla="*/ 768223982 h 755"/>
                <a:gd name="T20" fmla="*/ 109275254 w 565"/>
                <a:gd name="T21" fmla="*/ 752314298 h 755"/>
                <a:gd name="T22" fmla="*/ 63743391 w 565"/>
                <a:gd name="T23" fmla="*/ 706857198 h 755"/>
                <a:gd name="T24" fmla="*/ 20488353 w 565"/>
                <a:gd name="T25" fmla="*/ 661400097 h 755"/>
                <a:gd name="T26" fmla="*/ 0 w 565"/>
                <a:gd name="T27" fmla="*/ 565940487 h 755"/>
                <a:gd name="T28" fmla="*/ 20488353 w 565"/>
                <a:gd name="T29" fmla="*/ 518209929 h 755"/>
                <a:gd name="T30" fmla="*/ 29595632 w 565"/>
                <a:gd name="T31" fmla="*/ 470480878 h 755"/>
                <a:gd name="T32" fmla="*/ 77402792 w 565"/>
                <a:gd name="T33" fmla="*/ 422750319 h 755"/>
                <a:gd name="T34" fmla="*/ 109275254 w 565"/>
                <a:gd name="T35" fmla="*/ 377293124 h 755"/>
                <a:gd name="T36" fmla="*/ 173018622 w 565"/>
                <a:gd name="T37" fmla="*/ 390930858 h 755"/>
                <a:gd name="T38" fmla="*/ 218548999 w 565"/>
                <a:gd name="T39" fmla="*/ 377293124 h 755"/>
                <a:gd name="T40" fmla="*/ 268634475 w 565"/>
                <a:gd name="T41" fmla="*/ 377293124 h 755"/>
                <a:gd name="T42" fmla="*/ 314164805 w 565"/>
                <a:gd name="T43" fmla="*/ 377293124 h 755"/>
                <a:gd name="T44" fmla="*/ 314164805 w 565"/>
                <a:gd name="T45" fmla="*/ 297743198 h 755"/>
                <a:gd name="T46" fmla="*/ 359696644 w 565"/>
                <a:gd name="T47" fmla="*/ 297743198 h 755"/>
                <a:gd name="T48" fmla="*/ 359696644 w 565"/>
                <a:gd name="T49" fmla="*/ 265923831 h 755"/>
                <a:gd name="T50" fmla="*/ 468970436 w 565"/>
                <a:gd name="T51" fmla="*/ 220466730 h 755"/>
                <a:gd name="T52" fmla="*/ 516779094 w 565"/>
                <a:gd name="T53" fmla="*/ 220466730 h 755"/>
                <a:gd name="T54" fmla="*/ 580522461 w 565"/>
                <a:gd name="T55" fmla="*/ 140916757 h 755"/>
                <a:gd name="T56" fmla="*/ 721668597 w 565"/>
                <a:gd name="T57" fmla="*/ 95459633 h 755"/>
                <a:gd name="T58" fmla="*/ 753541036 w 565"/>
                <a:gd name="T59" fmla="*/ 61366808 h 755"/>
                <a:gd name="T60" fmla="*/ 783135147 w 565"/>
                <a:gd name="T61" fmla="*/ 0 h 755"/>
                <a:gd name="T62" fmla="*/ 801348373 w 565"/>
                <a:gd name="T63" fmla="*/ 29547429 h 755"/>
                <a:gd name="T64" fmla="*/ 812730955 w 565"/>
                <a:gd name="T65" fmla="*/ 61366808 h 755"/>
                <a:gd name="T66" fmla="*/ 849155521 w 565"/>
                <a:gd name="T67" fmla="*/ 95459633 h 755"/>
                <a:gd name="T68" fmla="*/ 892410542 w 565"/>
                <a:gd name="T69" fmla="*/ 172736125 h 755"/>
                <a:gd name="T70" fmla="*/ 908346761 w 565"/>
                <a:gd name="T71" fmla="*/ 188647316 h 755"/>
                <a:gd name="T72" fmla="*/ 892410542 w 565"/>
                <a:gd name="T73" fmla="*/ 281833515 h 755"/>
                <a:gd name="T74" fmla="*/ 849155521 w 565"/>
                <a:gd name="T75" fmla="*/ 297743198 h 755"/>
                <a:gd name="T76" fmla="*/ 849155521 w 565"/>
                <a:gd name="T77" fmla="*/ 377293124 h 755"/>
                <a:gd name="T78" fmla="*/ 892410542 w 565"/>
                <a:gd name="T79" fmla="*/ 440933461 h 755"/>
                <a:gd name="T80" fmla="*/ 878751141 w 565"/>
                <a:gd name="T81" fmla="*/ 486390561 h 755"/>
                <a:gd name="T82" fmla="*/ 830943993 w 565"/>
                <a:gd name="T83" fmla="*/ 502300245 h 755"/>
                <a:gd name="T84" fmla="*/ 812730955 w 565"/>
                <a:gd name="T85" fmla="*/ 565940487 h 755"/>
                <a:gd name="T86" fmla="*/ 753541036 w 565"/>
                <a:gd name="T87" fmla="*/ 629580730 h 755"/>
                <a:gd name="T88" fmla="*/ 830943993 w 565"/>
                <a:gd name="T89" fmla="*/ 675037830 h 755"/>
                <a:gd name="T90" fmla="*/ 956153910 w 565"/>
                <a:gd name="T91" fmla="*/ 640945005 h 755"/>
                <a:gd name="T92" fmla="*/ 1003962567 w 565"/>
                <a:gd name="T93" fmla="*/ 752314298 h 755"/>
                <a:gd name="T94" fmla="*/ 1017620459 w 565"/>
                <a:gd name="T95" fmla="*/ 786407124 h 755"/>
                <a:gd name="T96" fmla="*/ 1003962567 w 565"/>
                <a:gd name="T97" fmla="*/ 895504655 h 755"/>
                <a:gd name="T98" fmla="*/ 1033556678 w 565"/>
                <a:gd name="T99" fmla="*/ 972781123 h 755"/>
                <a:gd name="T100" fmla="*/ 1033556678 w 565"/>
                <a:gd name="T101" fmla="*/ 1036421365 h 755"/>
                <a:gd name="T102" fmla="*/ 1049492897 w 565"/>
                <a:gd name="T103" fmla="*/ 1065968782 h 755"/>
                <a:gd name="T104" fmla="*/ 1033556678 w 565"/>
                <a:gd name="T105" fmla="*/ 1145518708 h 755"/>
                <a:gd name="T106" fmla="*/ 1003962567 w 565"/>
                <a:gd name="T107" fmla="*/ 1209157443 h 755"/>
                <a:gd name="T108" fmla="*/ 926558290 w 565"/>
                <a:gd name="T109" fmla="*/ 1395532761 h 755"/>
                <a:gd name="T110" fmla="*/ 849155521 w 565"/>
                <a:gd name="T111" fmla="*/ 1365985344 h 755"/>
                <a:gd name="T112" fmla="*/ 801348373 w 565"/>
                <a:gd name="T113" fmla="*/ 1334164469 h 755"/>
                <a:gd name="T114" fmla="*/ 753541036 w 565"/>
                <a:gd name="T115" fmla="*/ 1334164469 h 755"/>
                <a:gd name="T116" fmla="*/ 721668597 w 565"/>
                <a:gd name="T117" fmla="*/ 1334164469 h 755"/>
                <a:gd name="T118" fmla="*/ 655648411 w 565"/>
                <a:gd name="T119" fmla="*/ 1318254786 h 755"/>
                <a:gd name="T120" fmla="*/ 596458680 w 565"/>
                <a:gd name="T121" fmla="*/ 1270525735 h 755"/>
                <a:gd name="T122" fmla="*/ 546373205 w 565"/>
                <a:gd name="T123" fmla="*/ 1240978318 h 755"/>
                <a:gd name="T124" fmla="*/ 503119693 w 565"/>
                <a:gd name="T125" fmla="*/ 1193247759 h 75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65"/>
                <a:gd name="T190" fmla="*/ 0 h 755"/>
                <a:gd name="T191" fmla="*/ 565 w 565"/>
                <a:gd name="T192" fmla="*/ 755 h 755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65" h="755">
                  <a:moveTo>
                    <a:pt x="270" y="645"/>
                  </a:moveTo>
                  <a:lnTo>
                    <a:pt x="295" y="620"/>
                  </a:lnTo>
                  <a:lnTo>
                    <a:pt x="295" y="603"/>
                  </a:lnTo>
                  <a:lnTo>
                    <a:pt x="287" y="594"/>
                  </a:lnTo>
                  <a:lnTo>
                    <a:pt x="278" y="586"/>
                  </a:lnTo>
                  <a:lnTo>
                    <a:pt x="262" y="560"/>
                  </a:lnTo>
                  <a:lnTo>
                    <a:pt x="278" y="552"/>
                  </a:lnTo>
                  <a:lnTo>
                    <a:pt x="270" y="518"/>
                  </a:lnTo>
                  <a:lnTo>
                    <a:pt x="245" y="518"/>
                  </a:lnTo>
                  <a:lnTo>
                    <a:pt x="203" y="492"/>
                  </a:lnTo>
                  <a:lnTo>
                    <a:pt x="186" y="492"/>
                  </a:lnTo>
                  <a:lnTo>
                    <a:pt x="144" y="518"/>
                  </a:lnTo>
                  <a:lnTo>
                    <a:pt x="101" y="526"/>
                  </a:lnTo>
                  <a:lnTo>
                    <a:pt x="51" y="526"/>
                  </a:lnTo>
                  <a:lnTo>
                    <a:pt x="51" y="509"/>
                  </a:lnTo>
                  <a:lnTo>
                    <a:pt x="59" y="492"/>
                  </a:lnTo>
                  <a:lnTo>
                    <a:pt x="59" y="484"/>
                  </a:lnTo>
                  <a:lnTo>
                    <a:pt x="84" y="467"/>
                  </a:lnTo>
                  <a:lnTo>
                    <a:pt x="93" y="433"/>
                  </a:lnTo>
                  <a:lnTo>
                    <a:pt x="84" y="416"/>
                  </a:lnTo>
                  <a:lnTo>
                    <a:pt x="68" y="416"/>
                  </a:lnTo>
                  <a:lnTo>
                    <a:pt x="59" y="407"/>
                  </a:lnTo>
                  <a:lnTo>
                    <a:pt x="51" y="407"/>
                  </a:lnTo>
                  <a:lnTo>
                    <a:pt x="34" y="382"/>
                  </a:lnTo>
                  <a:lnTo>
                    <a:pt x="17" y="365"/>
                  </a:lnTo>
                  <a:lnTo>
                    <a:pt x="9" y="357"/>
                  </a:lnTo>
                  <a:lnTo>
                    <a:pt x="0" y="323"/>
                  </a:lnTo>
                  <a:lnTo>
                    <a:pt x="0" y="306"/>
                  </a:lnTo>
                  <a:lnTo>
                    <a:pt x="0" y="289"/>
                  </a:lnTo>
                  <a:lnTo>
                    <a:pt x="9" y="280"/>
                  </a:lnTo>
                  <a:lnTo>
                    <a:pt x="17" y="272"/>
                  </a:lnTo>
                  <a:lnTo>
                    <a:pt x="17" y="255"/>
                  </a:lnTo>
                  <a:lnTo>
                    <a:pt x="42" y="238"/>
                  </a:lnTo>
                  <a:lnTo>
                    <a:pt x="42" y="229"/>
                  </a:lnTo>
                  <a:lnTo>
                    <a:pt x="68" y="221"/>
                  </a:lnTo>
                  <a:lnTo>
                    <a:pt x="59" y="204"/>
                  </a:lnTo>
                  <a:lnTo>
                    <a:pt x="76" y="204"/>
                  </a:lnTo>
                  <a:lnTo>
                    <a:pt x="93" y="212"/>
                  </a:lnTo>
                  <a:lnTo>
                    <a:pt x="101" y="204"/>
                  </a:lnTo>
                  <a:lnTo>
                    <a:pt x="118" y="204"/>
                  </a:lnTo>
                  <a:lnTo>
                    <a:pt x="127" y="212"/>
                  </a:lnTo>
                  <a:lnTo>
                    <a:pt x="144" y="204"/>
                  </a:lnTo>
                  <a:lnTo>
                    <a:pt x="152" y="221"/>
                  </a:lnTo>
                  <a:lnTo>
                    <a:pt x="169" y="204"/>
                  </a:lnTo>
                  <a:lnTo>
                    <a:pt x="152" y="178"/>
                  </a:lnTo>
                  <a:lnTo>
                    <a:pt x="169" y="161"/>
                  </a:lnTo>
                  <a:lnTo>
                    <a:pt x="186" y="170"/>
                  </a:lnTo>
                  <a:lnTo>
                    <a:pt x="194" y="161"/>
                  </a:lnTo>
                  <a:lnTo>
                    <a:pt x="194" y="153"/>
                  </a:lnTo>
                  <a:lnTo>
                    <a:pt x="194" y="144"/>
                  </a:lnTo>
                  <a:lnTo>
                    <a:pt x="236" y="119"/>
                  </a:lnTo>
                  <a:lnTo>
                    <a:pt x="253" y="119"/>
                  </a:lnTo>
                  <a:lnTo>
                    <a:pt x="270" y="110"/>
                  </a:lnTo>
                  <a:lnTo>
                    <a:pt x="278" y="119"/>
                  </a:lnTo>
                  <a:lnTo>
                    <a:pt x="304" y="110"/>
                  </a:lnTo>
                  <a:lnTo>
                    <a:pt x="312" y="76"/>
                  </a:lnTo>
                  <a:lnTo>
                    <a:pt x="337" y="76"/>
                  </a:lnTo>
                  <a:lnTo>
                    <a:pt x="388" y="51"/>
                  </a:lnTo>
                  <a:lnTo>
                    <a:pt x="388" y="43"/>
                  </a:lnTo>
                  <a:lnTo>
                    <a:pt x="405" y="34"/>
                  </a:lnTo>
                  <a:lnTo>
                    <a:pt x="405" y="9"/>
                  </a:lnTo>
                  <a:lnTo>
                    <a:pt x="422" y="0"/>
                  </a:lnTo>
                  <a:lnTo>
                    <a:pt x="430" y="9"/>
                  </a:lnTo>
                  <a:lnTo>
                    <a:pt x="430" y="17"/>
                  </a:lnTo>
                  <a:lnTo>
                    <a:pt x="430" y="26"/>
                  </a:lnTo>
                  <a:lnTo>
                    <a:pt x="439" y="34"/>
                  </a:lnTo>
                  <a:lnTo>
                    <a:pt x="456" y="43"/>
                  </a:lnTo>
                  <a:lnTo>
                    <a:pt x="456" y="51"/>
                  </a:lnTo>
                  <a:lnTo>
                    <a:pt x="472" y="93"/>
                  </a:lnTo>
                  <a:lnTo>
                    <a:pt x="481" y="93"/>
                  </a:lnTo>
                  <a:lnTo>
                    <a:pt x="498" y="102"/>
                  </a:lnTo>
                  <a:lnTo>
                    <a:pt x="489" y="102"/>
                  </a:lnTo>
                  <a:lnTo>
                    <a:pt x="498" y="144"/>
                  </a:lnTo>
                  <a:lnTo>
                    <a:pt x="481" y="153"/>
                  </a:lnTo>
                  <a:lnTo>
                    <a:pt x="472" y="153"/>
                  </a:lnTo>
                  <a:lnTo>
                    <a:pt x="456" y="161"/>
                  </a:lnTo>
                  <a:lnTo>
                    <a:pt x="456" y="187"/>
                  </a:lnTo>
                  <a:lnTo>
                    <a:pt x="456" y="204"/>
                  </a:lnTo>
                  <a:lnTo>
                    <a:pt x="472" y="229"/>
                  </a:lnTo>
                  <a:lnTo>
                    <a:pt x="481" y="238"/>
                  </a:lnTo>
                  <a:lnTo>
                    <a:pt x="481" y="263"/>
                  </a:lnTo>
                  <a:lnTo>
                    <a:pt x="472" y="263"/>
                  </a:lnTo>
                  <a:lnTo>
                    <a:pt x="464" y="272"/>
                  </a:lnTo>
                  <a:lnTo>
                    <a:pt x="447" y="272"/>
                  </a:lnTo>
                  <a:lnTo>
                    <a:pt x="430" y="297"/>
                  </a:lnTo>
                  <a:lnTo>
                    <a:pt x="439" y="306"/>
                  </a:lnTo>
                  <a:lnTo>
                    <a:pt x="430" y="314"/>
                  </a:lnTo>
                  <a:lnTo>
                    <a:pt x="405" y="340"/>
                  </a:lnTo>
                  <a:lnTo>
                    <a:pt x="430" y="365"/>
                  </a:lnTo>
                  <a:lnTo>
                    <a:pt x="447" y="365"/>
                  </a:lnTo>
                  <a:lnTo>
                    <a:pt x="481" y="357"/>
                  </a:lnTo>
                  <a:lnTo>
                    <a:pt x="515" y="348"/>
                  </a:lnTo>
                  <a:lnTo>
                    <a:pt x="540" y="382"/>
                  </a:lnTo>
                  <a:lnTo>
                    <a:pt x="540" y="407"/>
                  </a:lnTo>
                  <a:lnTo>
                    <a:pt x="540" y="416"/>
                  </a:lnTo>
                  <a:lnTo>
                    <a:pt x="548" y="424"/>
                  </a:lnTo>
                  <a:lnTo>
                    <a:pt x="565" y="450"/>
                  </a:lnTo>
                  <a:lnTo>
                    <a:pt x="540" y="484"/>
                  </a:lnTo>
                  <a:lnTo>
                    <a:pt x="557" y="518"/>
                  </a:lnTo>
                  <a:lnTo>
                    <a:pt x="557" y="526"/>
                  </a:lnTo>
                  <a:lnTo>
                    <a:pt x="557" y="535"/>
                  </a:lnTo>
                  <a:lnTo>
                    <a:pt x="557" y="560"/>
                  </a:lnTo>
                  <a:lnTo>
                    <a:pt x="557" y="569"/>
                  </a:lnTo>
                  <a:lnTo>
                    <a:pt x="565" y="577"/>
                  </a:lnTo>
                  <a:lnTo>
                    <a:pt x="565" y="603"/>
                  </a:lnTo>
                  <a:lnTo>
                    <a:pt x="557" y="620"/>
                  </a:lnTo>
                  <a:lnTo>
                    <a:pt x="565" y="628"/>
                  </a:lnTo>
                  <a:lnTo>
                    <a:pt x="540" y="654"/>
                  </a:lnTo>
                  <a:lnTo>
                    <a:pt x="523" y="722"/>
                  </a:lnTo>
                  <a:lnTo>
                    <a:pt x="498" y="755"/>
                  </a:lnTo>
                  <a:lnTo>
                    <a:pt x="472" y="747"/>
                  </a:lnTo>
                  <a:lnTo>
                    <a:pt x="456" y="739"/>
                  </a:lnTo>
                  <a:lnTo>
                    <a:pt x="439" y="722"/>
                  </a:lnTo>
                  <a:lnTo>
                    <a:pt x="430" y="722"/>
                  </a:lnTo>
                  <a:lnTo>
                    <a:pt x="422" y="722"/>
                  </a:lnTo>
                  <a:lnTo>
                    <a:pt x="405" y="722"/>
                  </a:lnTo>
                  <a:lnTo>
                    <a:pt x="397" y="713"/>
                  </a:lnTo>
                  <a:lnTo>
                    <a:pt x="388" y="722"/>
                  </a:lnTo>
                  <a:lnTo>
                    <a:pt x="363" y="722"/>
                  </a:lnTo>
                  <a:lnTo>
                    <a:pt x="354" y="713"/>
                  </a:lnTo>
                  <a:lnTo>
                    <a:pt x="337" y="713"/>
                  </a:lnTo>
                  <a:lnTo>
                    <a:pt x="321" y="688"/>
                  </a:lnTo>
                  <a:lnTo>
                    <a:pt x="321" y="679"/>
                  </a:lnTo>
                  <a:lnTo>
                    <a:pt x="295" y="671"/>
                  </a:lnTo>
                  <a:lnTo>
                    <a:pt x="287" y="671"/>
                  </a:lnTo>
                  <a:lnTo>
                    <a:pt x="270" y="645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mpd="sng" algn="ctr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79747" tIns="39873" rIns="79747" bIns="39873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de-DE" sz="1477" dirty="0"/>
            </a:p>
          </p:txBody>
        </p:sp>
        <p:sp>
          <p:nvSpPr>
            <p:cNvPr id="9" name="North Rhine-Westphalia">
              <a:extLst>
                <a:ext uri="{FF2B5EF4-FFF2-40B4-BE49-F238E27FC236}">
                  <a16:creationId xmlns:a16="http://schemas.microsoft.com/office/drawing/2014/main" id="{CB4095C7-E076-4ADB-9962-9764A332207C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3898" y="3032585"/>
              <a:ext cx="1339644" cy="1402904"/>
            </a:xfrm>
            <a:custGeom>
              <a:avLst/>
              <a:gdLst>
                <a:gd name="T0" fmla="*/ 95667889 w 852"/>
                <a:gd name="T1" fmla="*/ 1103667371 h 824"/>
                <a:gd name="T2" fmla="*/ 0 w 852"/>
                <a:gd name="T3" fmla="*/ 1010367506 h 824"/>
                <a:gd name="T4" fmla="*/ 109335613 w 852"/>
                <a:gd name="T5" fmla="*/ 946651041 h 824"/>
                <a:gd name="T6" fmla="*/ 109335613 w 852"/>
                <a:gd name="T7" fmla="*/ 930721170 h 824"/>
                <a:gd name="T8" fmla="*/ 154892098 w 852"/>
                <a:gd name="T9" fmla="*/ 760051123 h 824"/>
                <a:gd name="T10" fmla="*/ 125279251 w 852"/>
                <a:gd name="T11" fmla="*/ 584830089 h 824"/>
                <a:gd name="T12" fmla="*/ 63779103 w 852"/>
                <a:gd name="T13" fmla="*/ 502908919 h 824"/>
                <a:gd name="T14" fmla="*/ 154892098 w 852"/>
                <a:gd name="T15" fmla="*/ 457395650 h 824"/>
                <a:gd name="T16" fmla="*/ 173113183 w 852"/>
                <a:gd name="T17" fmla="*/ 411883889 h 824"/>
                <a:gd name="T18" fmla="*/ 284726243 w 852"/>
                <a:gd name="T19" fmla="*/ 457395650 h 824"/>
                <a:gd name="T20" fmla="*/ 439618388 w 852"/>
                <a:gd name="T21" fmla="*/ 364097200 h 824"/>
                <a:gd name="T22" fmla="*/ 457840983 w 852"/>
                <a:gd name="T23" fmla="*/ 268520993 h 824"/>
                <a:gd name="T24" fmla="*/ 548953954 w 852"/>
                <a:gd name="T25" fmla="*/ 175221081 h 824"/>
                <a:gd name="T26" fmla="*/ 769901023 w 852"/>
                <a:gd name="T27" fmla="*/ 50062961 h 824"/>
                <a:gd name="T28" fmla="*/ 908848115 w 852"/>
                <a:gd name="T29" fmla="*/ 79646360 h 824"/>
                <a:gd name="T30" fmla="*/ 956682048 w 852"/>
                <a:gd name="T31" fmla="*/ 252592631 h 824"/>
                <a:gd name="T32" fmla="*/ 927070709 w 852"/>
                <a:gd name="T33" fmla="*/ 332237458 h 824"/>
                <a:gd name="T34" fmla="*/ 1081961251 w 852"/>
                <a:gd name="T35" fmla="*/ 268520993 h 824"/>
                <a:gd name="T36" fmla="*/ 1161685478 w 852"/>
                <a:gd name="T37" fmla="*/ 175221081 h 824"/>
                <a:gd name="T38" fmla="*/ 1161685478 w 852"/>
                <a:gd name="T39" fmla="*/ 50062961 h 824"/>
                <a:gd name="T40" fmla="*/ 1271021044 w 852"/>
                <a:gd name="T41" fmla="*/ 50062961 h 824"/>
                <a:gd name="T42" fmla="*/ 1380355100 w 852"/>
                <a:gd name="T43" fmla="*/ 79646360 h 824"/>
                <a:gd name="T44" fmla="*/ 1444134180 w 852"/>
                <a:gd name="T45" fmla="*/ 95574722 h 824"/>
                <a:gd name="T46" fmla="*/ 1412245395 w 852"/>
                <a:gd name="T47" fmla="*/ 204804527 h 824"/>
                <a:gd name="T48" fmla="*/ 1444134180 w 852"/>
                <a:gd name="T49" fmla="*/ 282174521 h 824"/>
                <a:gd name="T50" fmla="*/ 1489690666 w 852"/>
                <a:gd name="T51" fmla="*/ 364097200 h 824"/>
                <a:gd name="T52" fmla="*/ 1523858407 w 852"/>
                <a:gd name="T53" fmla="*/ 411883889 h 824"/>
                <a:gd name="T54" fmla="*/ 1585358908 w 852"/>
                <a:gd name="T55" fmla="*/ 473325520 h 824"/>
                <a:gd name="T56" fmla="*/ 1523858407 w 852"/>
                <a:gd name="T57" fmla="*/ 646271721 h 824"/>
                <a:gd name="T58" fmla="*/ 1412245395 w 852"/>
                <a:gd name="T59" fmla="*/ 739571585 h 824"/>
                <a:gd name="T60" fmla="*/ 1366688909 w 852"/>
                <a:gd name="T61" fmla="*/ 789634522 h 824"/>
                <a:gd name="T62" fmla="*/ 1239130749 w 852"/>
                <a:gd name="T63" fmla="*/ 819216601 h 824"/>
                <a:gd name="T64" fmla="*/ 1289243638 w 852"/>
                <a:gd name="T65" fmla="*/ 930721170 h 824"/>
                <a:gd name="T66" fmla="*/ 1239130749 w 852"/>
                <a:gd name="T67" fmla="*/ 1024021035 h 824"/>
                <a:gd name="T68" fmla="*/ 1161685478 w 852"/>
                <a:gd name="T69" fmla="*/ 1103667371 h 824"/>
                <a:gd name="T70" fmla="*/ 1052349913 w 852"/>
                <a:gd name="T71" fmla="*/ 1167383836 h 824"/>
                <a:gd name="T72" fmla="*/ 972627195 w 852"/>
                <a:gd name="T73" fmla="*/ 1290267099 h 824"/>
                <a:gd name="T74" fmla="*/ 895180415 w 852"/>
                <a:gd name="T75" fmla="*/ 1181038873 h 824"/>
                <a:gd name="T76" fmla="*/ 861014183 w 852"/>
                <a:gd name="T77" fmla="*/ 1117320899 h 824"/>
                <a:gd name="T78" fmla="*/ 801791506 w 852"/>
                <a:gd name="T79" fmla="*/ 1212897106 h 824"/>
                <a:gd name="T80" fmla="*/ 594508930 w 852"/>
                <a:gd name="T81" fmla="*/ 1340330037 h 824"/>
                <a:gd name="T82" fmla="*/ 439618388 w 852"/>
                <a:gd name="T83" fmla="*/ 1385841798 h 824"/>
                <a:gd name="T84" fmla="*/ 394061808 w 852"/>
                <a:gd name="T85" fmla="*/ 1417701539 h 824"/>
                <a:gd name="T86" fmla="*/ 346227876 w 852"/>
                <a:gd name="T87" fmla="*/ 1499622709 h 824"/>
                <a:gd name="T88" fmla="*/ 250560011 w 852"/>
                <a:gd name="T89" fmla="*/ 1508725061 h 824"/>
                <a:gd name="T90" fmla="*/ 205003525 w 852"/>
                <a:gd name="T91" fmla="*/ 1449559772 h 824"/>
                <a:gd name="T92" fmla="*/ 125279251 w 852"/>
                <a:gd name="T93" fmla="*/ 1353983565 h 824"/>
                <a:gd name="T94" fmla="*/ 95667889 w 852"/>
                <a:gd name="T95" fmla="*/ 1244755338 h 82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52"/>
                <a:gd name="T145" fmla="*/ 0 h 824"/>
                <a:gd name="T146" fmla="*/ 852 w 852"/>
                <a:gd name="T147" fmla="*/ 824 h 82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52" h="824">
                  <a:moveTo>
                    <a:pt x="25" y="637"/>
                  </a:moveTo>
                  <a:lnTo>
                    <a:pt x="34" y="620"/>
                  </a:lnTo>
                  <a:lnTo>
                    <a:pt x="42" y="612"/>
                  </a:lnTo>
                  <a:lnTo>
                    <a:pt x="51" y="595"/>
                  </a:lnTo>
                  <a:lnTo>
                    <a:pt x="34" y="586"/>
                  </a:lnTo>
                  <a:lnTo>
                    <a:pt x="34" y="569"/>
                  </a:lnTo>
                  <a:lnTo>
                    <a:pt x="0" y="569"/>
                  </a:lnTo>
                  <a:lnTo>
                    <a:pt x="0" y="544"/>
                  </a:lnTo>
                  <a:lnTo>
                    <a:pt x="8" y="535"/>
                  </a:lnTo>
                  <a:lnTo>
                    <a:pt x="17" y="544"/>
                  </a:lnTo>
                  <a:lnTo>
                    <a:pt x="17" y="552"/>
                  </a:lnTo>
                  <a:lnTo>
                    <a:pt x="59" y="510"/>
                  </a:lnTo>
                  <a:lnTo>
                    <a:pt x="67" y="501"/>
                  </a:lnTo>
                  <a:lnTo>
                    <a:pt x="76" y="501"/>
                  </a:lnTo>
                  <a:lnTo>
                    <a:pt x="67" y="493"/>
                  </a:lnTo>
                  <a:lnTo>
                    <a:pt x="59" y="501"/>
                  </a:lnTo>
                  <a:lnTo>
                    <a:pt x="51" y="484"/>
                  </a:lnTo>
                  <a:lnTo>
                    <a:pt x="59" y="459"/>
                  </a:lnTo>
                  <a:lnTo>
                    <a:pt x="84" y="416"/>
                  </a:lnTo>
                  <a:lnTo>
                    <a:pt x="84" y="408"/>
                  </a:lnTo>
                  <a:lnTo>
                    <a:pt x="93" y="391"/>
                  </a:lnTo>
                  <a:lnTo>
                    <a:pt x="93" y="382"/>
                  </a:lnTo>
                  <a:lnTo>
                    <a:pt x="59" y="331"/>
                  </a:lnTo>
                  <a:lnTo>
                    <a:pt x="67" y="315"/>
                  </a:lnTo>
                  <a:lnTo>
                    <a:pt x="51" y="306"/>
                  </a:lnTo>
                  <a:lnTo>
                    <a:pt x="51" y="298"/>
                  </a:lnTo>
                  <a:lnTo>
                    <a:pt x="51" y="289"/>
                  </a:lnTo>
                  <a:lnTo>
                    <a:pt x="34" y="272"/>
                  </a:lnTo>
                  <a:lnTo>
                    <a:pt x="42" y="264"/>
                  </a:lnTo>
                  <a:lnTo>
                    <a:pt x="34" y="247"/>
                  </a:lnTo>
                  <a:lnTo>
                    <a:pt x="59" y="238"/>
                  </a:lnTo>
                  <a:lnTo>
                    <a:pt x="84" y="247"/>
                  </a:lnTo>
                  <a:lnTo>
                    <a:pt x="84" y="230"/>
                  </a:lnTo>
                  <a:lnTo>
                    <a:pt x="76" y="221"/>
                  </a:lnTo>
                  <a:lnTo>
                    <a:pt x="84" y="221"/>
                  </a:lnTo>
                  <a:lnTo>
                    <a:pt x="93" y="221"/>
                  </a:lnTo>
                  <a:lnTo>
                    <a:pt x="118" y="238"/>
                  </a:lnTo>
                  <a:lnTo>
                    <a:pt x="126" y="247"/>
                  </a:lnTo>
                  <a:lnTo>
                    <a:pt x="143" y="238"/>
                  </a:lnTo>
                  <a:lnTo>
                    <a:pt x="152" y="247"/>
                  </a:lnTo>
                  <a:lnTo>
                    <a:pt x="202" y="221"/>
                  </a:lnTo>
                  <a:lnTo>
                    <a:pt x="211" y="221"/>
                  </a:lnTo>
                  <a:lnTo>
                    <a:pt x="236" y="213"/>
                  </a:lnTo>
                  <a:lnTo>
                    <a:pt x="236" y="196"/>
                  </a:lnTo>
                  <a:lnTo>
                    <a:pt x="211" y="170"/>
                  </a:lnTo>
                  <a:lnTo>
                    <a:pt x="211" y="162"/>
                  </a:lnTo>
                  <a:lnTo>
                    <a:pt x="228" y="145"/>
                  </a:lnTo>
                  <a:lnTo>
                    <a:pt x="245" y="145"/>
                  </a:lnTo>
                  <a:lnTo>
                    <a:pt x="261" y="119"/>
                  </a:lnTo>
                  <a:lnTo>
                    <a:pt x="270" y="119"/>
                  </a:lnTo>
                  <a:lnTo>
                    <a:pt x="278" y="102"/>
                  </a:lnTo>
                  <a:lnTo>
                    <a:pt x="295" y="94"/>
                  </a:lnTo>
                  <a:lnTo>
                    <a:pt x="346" y="85"/>
                  </a:lnTo>
                  <a:lnTo>
                    <a:pt x="405" y="60"/>
                  </a:lnTo>
                  <a:lnTo>
                    <a:pt x="422" y="43"/>
                  </a:lnTo>
                  <a:lnTo>
                    <a:pt x="413" y="26"/>
                  </a:lnTo>
                  <a:lnTo>
                    <a:pt x="430" y="17"/>
                  </a:lnTo>
                  <a:lnTo>
                    <a:pt x="439" y="26"/>
                  </a:lnTo>
                  <a:lnTo>
                    <a:pt x="455" y="43"/>
                  </a:lnTo>
                  <a:lnTo>
                    <a:pt x="489" y="43"/>
                  </a:lnTo>
                  <a:lnTo>
                    <a:pt x="514" y="77"/>
                  </a:lnTo>
                  <a:lnTo>
                    <a:pt x="498" y="85"/>
                  </a:lnTo>
                  <a:lnTo>
                    <a:pt x="498" y="119"/>
                  </a:lnTo>
                  <a:lnTo>
                    <a:pt x="514" y="136"/>
                  </a:lnTo>
                  <a:lnTo>
                    <a:pt x="514" y="145"/>
                  </a:lnTo>
                  <a:lnTo>
                    <a:pt x="498" y="153"/>
                  </a:lnTo>
                  <a:lnTo>
                    <a:pt x="489" y="162"/>
                  </a:lnTo>
                  <a:lnTo>
                    <a:pt x="498" y="179"/>
                  </a:lnTo>
                  <a:lnTo>
                    <a:pt x="514" y="179"/>
                  </a:lnTo>
                  <a:lnTo>
                    <a:pt x="523" y="170"/>
                  </a:lnTo>
                  <a:lnTo>
                    <a:pt x="557" y="170"/>
                  </a:lnTo>
                  <a:lnTo>
                    <a:pt x="582" y="145"/>
                  </a:lnTo>
                  <a:lnTo>
                    <a:pt x="599" y="153"/>
                  </a:lnTo>
                  <a:lnTo>
                    <a:pt x="632" y="128"/>
                  </a:lnTo>
                  <a:lnTo>
                    <a:pt x="624" y="111"/>
                  </a:lnTo>
                  <a:lnTo>
                    <a:pt x="624" y="94"/>
                  </a:lnTo>
                  <a:lnTo>
                    <a:pt x="616" y="68"/>
                  </a:lnTo>
                  <a:lnTo>
                    <a:pt x="590" y="43"/>
                  </a:lnTo>
                  <a:lnTo>
                    <a:pt x="590" y="26"/>
                  </a:lnTo>
                  <a:lnTo>
                    <a:pt x="624" y="26"/>
                  </a:lnTo>
                  <a:lnTo>
                    <a:pt x="632" y="9"/>
                  </a:lnTo>
                  <a:lnTo>
                    <a:pt x="658" y="0"/>
                  </a:lnTo>
                  <a:lnTo>
                    <a:pt x="675" y="0"/>
                  </a:lnTo>
                  <a:lnTo>
                    <a:pt x="683" y="26"/>
                  </a:lnTo>
                  <a:lnTo>
                    <a:pt x="683" y="43"/>
                  </a:lnTo>
                  <a:lnTo>
                    <a:pt x="692" y="43"/>
                  </a:lnTo>
                  <a:lnTo>
                    <a:pt x="734" y="43"/>
                  </a:lnTo>
                  <a:lnTo>
                    <a:pt x="742" y="43"/>
                  </a:lnTo>
                  <a:lnTo>
                    <a:pt x="751" y="26"/>
                  </a:lnTo>
                  <a:lnTo>
                    <a:pt x="776" y="9"/>
                  </a:lnTo>
                  <a:lnTo>
                    <a:pt x="776" y="17"/>
                  </a:lnTo>
                  <a:lnTo>
                    <a:pt x="776" y="51"/>
                  </a:lnTo>
                  <a:lnTo>
                    <a:pt x="751" y="68"/>
                  </a:lnTo>
                  <a:lnTo>
                    <a:pt x="742" y="85"/>
                  </a:lnTo>
                  <a:lnTo>
                    <a:pt x="742" y="94"/>
                  </a:lnTo>
                  <a:lnTo>
                    <a:pt x="759" y="111"/>
                  </a:lnTo>
                  <a:lnTo>
                    <a:pt x="751" y="119"/>
                  </a:lnTo>
                  <a:lnTo>
                    <a:pt x="742" y="128"/>
                  </a:lnTo>
                  <a:lnTo>
                    <a:pt x="751" y="145"/>
                  </a:lnTo>
                  <a:lnTo>
                    <a:pt x="776" y="153"/>
                  </a:lnTo>
                  <a:lnTo>
                    <a:pt x="793" y="170"/>
                  </a:lnTo>
                  <a:lnTo>
                    <a:pt x="793" y="179"/>
                  </a:lnTo>
                  <a:lnTo>
                    <a:pt x="793" y="196"/>
                  </a:lnTo>
                  <a:lnTo>
                    <a:pt x="801" y="196"/>
                  </a:lnTo>
                  <a:lnTo>
                    <a:pt x="793" y="204"/>
                  </a:lnTo>
                  <a:lnTo>
                    <a:pt x="801" y="213"/>
                  </a:lnTo>
                  <a:lnTo>
                    <a:pt x="810" y="213"/>
                  </a:lnTo>
                  <a:lnTo>
                    <a:pt x="818" y="221"/>
                  </a:lnTo>
                  <a:lnTo>
                    <a:pt x="810" y="230"/>
                  </a:lnTo>
                  <a:lnTo>
                    <a:pt x="818" y="247"/>
                  </a:lnTo>
                  <a:lnTo>
                    <a:pt x="843" y="255"/>
                  </a:lnTo>
                  <a:lnTo>
                    <a:pt x="852" y="255"/>
                  </a:lnTo>
                  <a:lnTo>
                    <a:pt x="852" y="289"/>
                  </a:lnTo>
                  <a:lnTo>
                    <a:pt x="835" y="306"/>
                  </a:lnTo>
                  <a:lnTo>
                    <a:pt x="835" y="340"/>
                  </a:lnTo>
                  <a:lnTo>
                    <a:pt x="818" y="348"/>
                  </a:lnTo>
                  <a:lnTo>
                    <a:pt x="826" y="374"/>
                  </a:lnTo>
                  <a:lnTo>
                    <a:pt x="776" y="416"/>
                  </a:lnTo>
                  <a:lnTo>
                    <a:pt x="767" y="416"/>
                  </a:lnTo>
                  <a:lnTo>
                    <a:pt x="759" y="399"/>
                  </a:lnTo>
                  <a:lnTo>
                    <a:pt x="742" y="391"/>
                  </a:lnTo>
                  <a:lnTo>
                    <a:pt x="725" y="399"/>
                  </a:lnTo>
                  <a:lnTo>
                    <a:pt x="725" y="416"/>
                  </a:lnTo>
                  <a:lnTo>
                    <a:pt x="734" y="425"/>
                  </a:lnTo>
                  <a:lnTo>
                    <a:pt x="734" y="433"/>
                  </a:lnTo>
                  <a:lnTo>
                    <a:pt x="708" y="433"/>
                  </a:lnTo>
                  <a:lnTo>
                    <a:pt x="683" y="442"/>
                  </a:lnTo>
                  <a:lnTo>
                    <a:pt x="666" y="442"/>
                  </a:lnTo>
                  <a:lnTo>
                    <a:pt x="649" y="476"/>
                  </a:lnTo>
                  <a:lnTo>
                    <a:pt x="649" y="484"/>
                  </a:lnTo>
                  <a:lnTo>
                    <a:pt x="675" y="484"/>
                  </a:lnTo>
                  <a:lnTo>
                    <a:pt x="692" y="501"/>
                  </a:lnTo>
                  <a:lnTo>
                    <a:pt x="683" y="518"/>
                  </a:lnTo>
                  <a:lnTo>
                    <a:pt x="675" y="527"/>
                  </a:lnTo>
                  <a:lnTo>
                    <a:pt x="666" y="544"/>
                  </a:lnTo>
                  <a:lnTo>
                    <a:pt x="666" y="552"/>
                  </a:lnTo>
                  <a:lnTo>
                    <a:pt x="632" y="552"/>
                  </a:lnTo>
                  <a:lnTo>
                    <a:pt x="632" y="561"/>
                  </a:lnTo>
                  <a:lnTo>
                    <a:pt x="632" y="578"/>
                  </a:lnTo>
                  <a:lnTo>
                    <a:pt x="624" y="595"/>
                  </a:lnTo>
                  <a:lnTo>
                    <a:pt x="607" y="620"/>
                  </a:lnTo>
                  <a:lnTo>
                    <a:pt x="590" y="637"/>
                  </a:lnTo>
                  <a:lnTo>
                    <a:pt x="573" y="629"/>
                  </a:lnTo>
                  <a:lnTo>
                    <a:pt x="565" y="629"/>
                  </a:lnTo>
                  <a:lnTo>
                    <a:pt x="540" y="662"/>
                  </a:lnTo>
                  <a:lnTo>
                    <a:pt x="548" y="679"/>
                  </a:lnTo>
                  <a:lnTo>
                    <a:pt x="540" y="705"/>
                  </a:lnTo>
                  <a:lnTo>
                    <a:pt x="523" y="696"/>
                  </a:lnTo>
                  <a:lnTo>
                    <a:pt x="514" y="696"/>
                  </a:lnTo>
                  <a:lnTo>
                    <a:pt x="498" y="654"/>
                  </a:lnTo>
                  <a:lnTo>
                    <a:pt x="498" y="646"/>
                  </a:lnTo>
                  <a:lnTo>
                    <a:pt x="481" y="637"/>
                  </a:lnTo>
                  <a:lnTo>
                    <a:pt x="472" y="629"/>
                  </a:lnTo>
                  <a:lnTo>
                    <a:pt x="472" y="620"/>
                  </a:lnTo>
                  <a:lnTo>
                    <a:pt x="472" y="612"/>
                  </a:lnTo>
                  <a:lnTo>
                    <a:pt x="464" y="603"/>
                  </a:lnTo>
                  <a:lnTo>
                    <a:pt x="447" y="612"/>
                  </a:lnTo>
                  <a:lnTo>
                    <a:pt x="447" y="637"/>
                  </a:lnTo>
                  <a:lnTo>
                    <a:pt x="430" y="646"/>
                  </a:lnTo>
                  <a:lnTo>
                    <a:pt x="430" y="654"/>
                  </a:lnTo>
                  <a:lnTo>
                    <a:pt x="379" y="679"/>
                  </a:lnTo>
                  <a:lnTo>
                    <a:pt x="354" y="679"/>
                  </a:lnTo>
                  <a:lnTo>
                    <a:pt x="346" y="713"/>
                  </a:lnTo>
                  <a:lnTo>
                    <a:pt x="320" y="722"/>
                  </a:lnTo>
                  <a:lnTo>
                    <a:pt x="312" y="713"/>
                  </a:lnTo>
                  <a:lnTo>
                    <a:pt x="295" y="722"/>
                  </a:lnTo>
                  <a:lnTo>
                    <a:pt x="278" y="722"/>
                  </a:lnTo>
                  <a:lnTo>
                    <a:pt x="236" y="747"/>
                  </a:lnTo>
                  <a:lnTo>
                    <a:pt x="236" y="756"/>
                  </a:lnTo>
                  <a:lnTo>
                    <a:pt x="236" y="764"/>
                  </a:lnTo>
                  <a:lnTo>
                    <a:pt x="228" y="773"/>
                  </a:lnTo>
                  <a:lnTo>
                    <a:pt x="211" y="764"/>
                  </a:lnTo>
                  <a:lnTo>
                    <a:pt x="194" y="781"/>
                  </a:lnTo>
                  <a:lnTo>
                    <a:pt x="211" y="807"/>
                  </a:lnTo>
                  <a:lnTo>
                    <a:pt x="194" y="824"/>
                  </a:lnTo>
                  <a:lnTo>
                    <a:pt x="186" y="807"/>
                  </a:lnTo>
                  <a:lnTo>
                    <a:pt x="169" y="815"/>
                  </a:lnTo>
                  <a:lnTo>
                    <a:pt x="160" y="807"/>
                  </a:lnTo>
                  <a:lnTo>
                    <a:pt x="143" y="807"/>
                  </a:lnTo>
                  <a:lnTo>
                    <a:pt x="135" y="815"/>
                  </a:lnTo>
                  <a:lnTo>
                    <a:pt x="118" y="807"/>
                  </a:lnTo>
                  <a:lnTo>
                    <a:pt x="101" y="807"/>
                  </a:lnTo>
                  <a:lnTo>
                    <a:pt x="101" y="798"/>
                  </a:lnTo>
                  <a:lnTo>
                    <a:pt x="110" y="781"/>
                  </a:lnTo>
                  <a:lnTo>
                    <a:pt x="101" y="764"/>
                  </a:lnTo>
                  <a:lnTo>
                    <a:pt x="84" y="756"/>
                  </a:lnTo>
                  <a:lnTo>
                    <a:pt x="59" y="739"/>
                  </a:lnTo>
                  <a:lnTo>
                    <a:pt x="67" y="730"/>
                  </a:lnTo>
                  <a:lnTo>
                    <a:pt x="84" y="713"/>
                  </a:lnTo>
                  <a:lnTo>
                    <a:pt x="59" y="705"/>
                  </a:lnTo>
                  <a:lnTo>
                    <a:pt x="59" y="688"/>
                  </a:lnTo>
                  <a:lnTo>
                    <a:pt x="51" y="671"/>
                  </a:lnTo>
                  <a:lnTo>
                    <a:pt x="34" y="671"/>
                  </a:lnTo>
                  <a:lnTo>
                    <a:pt x="25" y="654"/>
                  </a:lnTo>
                  <a:lnTo>
                    <a:pt x="25" y="637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mpd="sng" algn="ctr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79747" tIns="39873" rIns="79747" bIns="39873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de-DE" sz="1477" dirty="0"/>
            </a:p>
          </p:txBody>
        </p:sp>
        <p:sp>
          <p:nvSpPr>
            <p:cNvPr id="17" name="Mecklenburg-Vorpommern">
              <a:extLst>
                <a:ext uri="{FF2B5EF4-FFF2-40B4-BE49-F238E27FC236}">
                  <a16:creationId xmlns:a16="http://schemas.microsoft.com/office/drawing/2014/main" id="{76009A55-889F-4F57-A4F5-DA545386975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16935" y="1735391"/>
              <a:ext cx="1362798" cy="922727"/>
            </a:xfrm>
            <a:custGeom>
              <a:avLst/>
              <a:gdLst>
                <a:gd name="T0" fmla="*/ 1521659330 w 868"/>
                <a:gd name="T1" fmla="*/ 822903515 h 543"/>
                <a:gd name="T2" fmla="*/ 1521659330 w 868"/>
                <a:gd name="T3" fmla="*/ 729958651 h 543"/>
                <a:gd name="T4" fmla="*/ 1430812715 w 868"/>
                <a:gd name="T5" fmla="*/ 716356697 h 543"/>
                <a:gd name="T6" fmla="*/ 1292274716 w 868"/>
                <a:gd name="T7" fmla="*/ 698221261 h 543"/>
                <a:gd name="T8" fmla="*/ 1212785058 w 868"/>
                <a:gd name="T9" fmla="*/ 809301561 h 543"/>
                <a:gd name="T10" fmla="*/ 1087872092 w 868"/>
                <a:gd name="T11" fmla="*/ 841038951 h 543"/>
                <a:gd name="T12" fmla="*/ 1087872092 w 868"/>
                <a:gd name="T13" fmla="*/ 918115684 h 543"/>
                <a:gd name="T14" fmla="*/ 933434956 w 868"/>
                <a:gd name="T15" fmla="*/ 918115684 h 543"/>
                <a:gd name="T16" fmla="*/ 778997632 w 868"/>
                <a:gd name="T17" fmla="*/ 854640905 h 543"/>
                <a:gd name="T18" fmla="*/ 701780571 w 868"/>
                <a:gd name="T19" fmla="*/ 822903515 h 543"/>
                <a:gd name="T20" fmla="*/ 635917453 w 868"/>
                <a:gd name="T21" fmla="*/ 809301561 h 543"/>
                <a:gd name="T22" fmla="*/ 574596515 w 868"/>
                <a:gd name="T23" fmla="*/ 809301561 h 543"/>
                <a:gd name="T24" fmla="*/ 545072345 w 868"/>
                <a:gd name="T25" fmla="*/ 854640905 h 543"/>
                <a:gd name="T26" fmla="*/ 481480317 w 868"/>
                <a:gd name="T27" fmla="*/ 918115684 h 543"/>
                <a:gd name="T28" fmla="*/ 372466394 w 868"/>
                <a:gd name="T29" fmla="*/ 933983627 h 543"/>
                <a:gd name="T30" fmla="*/ 308874366 w 868"/>
                <a:gd name="T31" fmla="*/ 979322970 h 543"/>
                <a:gd name="T32" fmla="*/ 249824519 w 868"/>
                <a:gd name="T33" fmla="*/ 965721016 h 543"/>
                <a:gd name="T34" fmla="*/ 186232444 w 868"/>
                <a:gd name="T35" fmla="*/ 947585580 h 543"/>
                <a:gd name="T36" fmla="*/ 27253092 w 868"/>
                <a:gd name="T37" fmla="*/ 809301561 h 543"/>
                <a:gd name="T38" fmla="*/ 0 w 868"/>
                <a:gd name="T39" fmla="*/ 763962029 h 543"/>
                <a:gd name="T40" fmla="*/ 47694409 w 868"/>
                <a:gd name="T41" fmla="*/ 716356697 h 543"/>
                <a:gd name="T42" fmla="*/ 77218592 w 868"/>
                <a:gd name="T43" fmla="*/ 668751365 h 543"/>
                <a:gd name="T44" fmla="*/ 124913013 w 868"/>
                <a:gd name="T45" fmla="*/ 575805184 h 543"/>
                <a:gd name="T46" fmla="*/ 47694409 w 868"/>
                <a:gd name="T47" fmla="*/ 435255176 h 543"/>
                <a:gd name="T48" fmla="*/ 93116222 w 868"/>
                <a:gd name="T49" fmla="*/ 403517786 h 543"/>
                <a:gd name="T50" fmla="*/ 106742786 w 868"/>
                <a:gd name="T51" fmla="*/ 389915739 h 543"/>
                <a:gd name="T52" fmla="*/ 186232444 w 868"/>
                <a:gd name="T53" fmla="*/ 355910854 h 543"/>
                <a:gd name="T54" fmla="*/ 249824519 w 868"/>
                <a:gd name="T55" fmla="*/ 374046291 h 543"/>
                <a:gd name="T56" fmla="*/ 249824519 w 868"/>
                <a:gd name="T57" fmla="*/ 403517786 h 543"/>
                <a:gd name="T58" fmla="*/ 324771997 w 868"/>
                <a:gd name="T59" fmla="*/ 403517786 h 543"/>
                <a:gd name="T60" fmla="*/ 342940717 w 868"/>
                <a:gd name="T61" fmla="*/ 340042912 h 543"/>
                <a:gd name="T62" fmla="*/ 386092934 w 868"/>
                <a:gd name="T63" fmla="*/ 296971063 h 543"/>
                <a:gd name="T64" fmla="*/ 404261749 w 868"/>
                <a:gd name="T65" fmla="*/ 247098237 h 543"/>
                <a:gd name="T66" fmla="*/ 529173207 w 868"/>
                <a:gd name="T67" fmla="*/ 231228789 h 543"/>
                <a:gd name="T68" fmla="*/ 590494145 w 868"/>
                <a:gd name="T69" fmla="*/ 231228789 h 543"/>
                <a:gd name="T70" fmla="*/ 683610343 w 868"/>
                <a:gd name="T71" fmla="*/ 124682113 h 543"/>
                <a:gd name="T72" fmla="*/ 790354777 w 868"/>
                <a:gd name="T73" fmla="*/ 18135442 h 543"/>
                <a:gd name="T74" fmla="*/ 915266236 w 868"/>
                <a:gd name="T75" fmla="*/ 29469908 h 543"/>
                <a:gd name="T76" fmla="*/ 826692218 w 868"/>
                <a:gd name="T77" fmla="*/ 47605344 h 543"/>
                <a:gd name="T78" fmla="*/ 790354777 w 868"/>
                <a:gd name="T79" fmla="*/ 47605344 h 543"/>
                <a:gd name="T80" fmla="*/ 731304741 w 868"/>
                <a:gd name="T81" fmla="*/ 61207309 h 543"/>
                <a:gd name="T82" fmla="*/ 713136021 w 868"/>
                <a:gd name="T83" fmla="*/ 154152008 h 543"/>
                <a:gd name="T84" fmla="*/ 778997632 w 868"/>
                <a:gd name="T85" fmla="*/ 77076757 h 543"/>
                <a:gd name="T86" fmla="*/ 826692218 w 868"/>
                <a:gd name="T87" fmla="*/ 61207309 h 543"/>
                <a:gd name="T88" fmla="*/ 885742066 w 868"/>
                <a:gd name="T89" fmla="*/ 77076757 h 543"/>
                <a:gd name="T90" fmla="*/ 949334093 w 868"/>
                <a:gd name="T91" fmla="*/ 29469908 h 543"/>
                <a:gd name="T92" fmla="*/ 1010653524 w 868"/>
                <a:gd name="T93" fmla="*/ 124682113 h 543"/>
                <a:gd name="T94" fmla="*/ 1103769722 w 868"/>
                <a:gd name="T95" fmla="*/ 201758893 h 543"/>
                <a:gd name="T96" fmla="*/ 1167361750 w 868"/>
                <a:gd name="T97" fmla="*/ 265233673 h 543"/>
                <a:gd name="T98" fmla="*/ 1244580318 w 868"/>
                <a:gd name="T99" fmla="*/ 201758893 h 543"/>
                <a:gd name="T100" fmla="*/ 1292274716 w 868"/>
                <a:gd name="T101" fmla="*/ 310573017 h 543"/>
                <a:gd name="T102" fmla="*/ 1321798886 w 868"/>
                <a:gd name="T103" fmla="*/ 419385728 h 543"/>
                <a:gd name="T104" fmla="*/ 1367222194 w 868"/>
                <a:gd name="T105" fmla="*/ 466992566 h 543"/>
                <a:gd name="T106" fmla="*/ 1444440762 w 868"/>
                <a:gd name="T107" fmla="*/ 480593014 h 543"/>
                <a:gd name="T108" fmla="*/ 1510302373 w 868"/>
                <a:gd name="T109" fmla="*/ 480593014 h 543"/>
                <a:gd name="T110" fmla="*/ 1521659330 w 868"/>
                <a:gd name="T111" fmla="*/ 639279964 h 543"/>
                <a:gd name="T112" fmla="*/ 1569352221 w 868"/>
                <a:gd name="T113" fmla="*/ 716356697 h 543"/>
                <a:gd name="T114" fmla="*/ 1587521318 w 868"/>
                <a:gd name="T115" fmla="*/ 809301561 h 543"/>
                <a:gd name="T116" fmla="*/ 1569352221 w 868"/>
                <a:gd name="T117" fmla="*/ 886378294 h 54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868"/>
                <a:gd name="T178" fmla="*/ 0 h 543"/>
                <a:gd name="T179" fmla="*/ 868 w 868"/>
                <a:gd name="T180" fmla="*/ 543 h 543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868" h="543">
                  <a:moveTo>
                    <a:pt x="826" y="475"/>
                  </a:moveTo>
                  <a:lnTo>
                    <a:pt x="826" y="449"/>
                  </a:lnTo>
                  <a:lnTo>
                    <a:pt x="843" y="424"/>
                  </a:lnTo>
                  <a:lnTo>
                    <a:pt x="826" y="398"/>
                  </a:lnTo>
                  <a:lnTo>
                    <a:pt x="792" y="382"/>
                  </a:lnTo>
                  <a:lnTo>
                    <a:pt x="775" y="390"/>
                  </a:lnTo>
                  <a:lnTo>
                    <a:pt x="733" y="373"/>
                  </a:lnTo>
                  <a:lnTo>
                    <a:pt x="700" y="382"/>
                  </a:lnTo>
                  <a:lnTo>
                    <a:pt x="674" y="398"/>
                  </a:lnTo>
                  <a:lnTo>
                    <a:pt x="657" y="441"/>
                  </a:lnTo>
                  <a:lnTo>
                    <a:pt x="624" y="458"/>
                  </a:lnTo>
                  <a:lnTo>
                    <a:pt x="590" y="458"/>
                  </a:lnTo>
                  <a:lnTo>
                    <a:pt x="556" y="475"/>
                  </a:lnTo>
                  <a:lnTo>
                    <a:pt x="590" y="500"/>
                  </a:lnTo>
                  <a:lnTo>
                    <a:pt x="581" y="517"/>
                  </a:lnTo>
                  <a:lnTo>
                    <a:pt x="506" y="500"/>
                  </a:lnTo>
                  <a:lnTo>
                    <a:pt x="480" y="483"/>
                  </a:lnTo>
                  <a:lnTo>
                    <a:pt x="421" y="466"/>
                  </a:lnTo>
                  <a:lnTo>
                    <a:pt x="413" y="466"/>
                  </a:lnTo>
                  <a:lnTo>
                    <a:pt x="379" y="449"/>
                  </a:lnTo>
                  <a:lnTo>
                    <a:pt x="362" y="441"/>
                  </a:lnTo>
                  <a:lnTo>
                    <a:pt x="345" y="441"/>
                  </a:lnTo>
                  <a:lnTo>
                    <a:pt x="328" y="432"/>
                  </a:lnTo>
                  <a:lnTo>
                    <a:pt x="312" y="441"/>
                  </a:lnTo>
                  <a:lnTo>
                    <a:pt x="303" y="458"/>
                  </a:lnTo>
                  <a:lnTo>
                    <a:pt x="295" y="466"/>
                  </a:lnTo>
                  <a:lnTo>
                    <a:pt x="278" y="483"/>
                  </a:lnTo>
                  <a:lnTo>
                    <a:pt x="261" y="500"/>
                  </a:lnTo>
                  <a:lnTo>
                    <a:pt x="244" y="492"/>
                  </a:lnTo>
                  <a:lnTo>
                    <a:pt x="202" y="509"/>
                  </a:lnTo>
                  <a:lnTo>
                    <a:pt x="177" y="534"/>
                  </a:lnTo>
                  <a:lnTo>
                    <a:pt x="168" y="534"/>
                  </a:lnTo>
                  <a:lnTo>
                    <a:pt x="151" y="543"/>
                  </a:lnTo>
                  <a:lnTo>
                    <a:pt x="135" y="526"/>
                  </a:lnTo>
                  <a:lnTo>
                    <a:pt x="109" y="509"/>
                  </a:lnTo>
                  <a:lnTo>
                    <a:pt x="101" y="517"/>
                  </a:lnTo>
                  <a:lnTo>
                    <a:pt x="42" y="475"/>
                  </a:lnTo>
                  <a:lnTo>
                    <a:pt x="16" y="441"/>
                  </a:lnTo>
                  <a:lnTo>
                    <a:pt x="0" y="441"/>
                  </a:lnTo>
                  <a:lnTo>
                    <a:pt x="0" y="415"/>
                  </a:lnTo>
                  <a:lnTo>
                    <a:pt x="0" y="407"/>
                  </a:lnTo>
                  <a:lnTo>
                    <a:pt x="25" y="390"/>
                  </a:lnTo>
                  <a:lnTo>
                    <a:pt x="33" y="382"/>
                  </a:lnTo>
                  <a:lnTo>
                    <a:pt x="42" y="365"/>
                  </a:lnTo>
                  <a:lnTo>
                    <a:pt x="67" y="348"/>
                  </a:lnTo>
                  <a:lnTo>
                    <a:pt x="67" y="314"/>
                  </a:lnTo>
                  <a:lnTo>
                    <a:pt x="25" y="288"/>
                  </a:lnTo>
                  <a:lnTo>
                    <a:pt x="25" y="237"/>
                  </a:lnTo>
                  <a:lnTo>
                    <a:pt x="42" y="237"/>
                  </a:lnTo>
                  <a:lnTo>
                    <a:pt x="50" y="220"/>
                  </a:lnTo>
                  <a:lnTo>
                    <a:pt x="50" y="212"/>
                  </a:lnTo>
                  <a:lnTo>
                    <a:pt x="59" y="212"/>
                  </a:lnTo>
                  <a:lnTo>
                    <a:pt x="75" y="195"/>
                  </a:lnTo>
                  <a:lnTo>
                    <a:pt x="101" y="195"/>
                  </a:lnTo>
                  <a:lnTo>
                    <a:pt x="118" y="195"/>
                  </a:lnTo>
                  <a:lnTo>
                    <a:pt x="135" y="203"/>
                  </a:lnTo>
                  <a:lnTo>
                    <a:pt x="135" y="212"/>
                  </a:lnTo>
                  <a:lnTo>
                    <a:pt x="135" y="220"/>
                  </a:lnTo>
                  <a:lnTo>
                    <a:pt x="151" y="212"/>
                  </a:lnTo>
                  <a:lnTo>
                    <a:pt x="177" y="220"/>
                  </a:lnTo>
                  <a:lnTo>
                    <a:pt x="185" y="220"/>
                  </a:lnTo>
                  <a:lnTo>
                    <a:pt x="185" y="186"/>
                  </a:lnTo>
                  <a:lnTo>
                    <a:pt x="210" y="169"/>
                  </a:lnTo>
                  <a:lnTo>
                    <a:pt x="210" y="161"/>
                  </a:lnTo>
                  <a:lnTo>
                    <a:pt x="219" y="144"/>
                  </a:lnTo>
                  <a:lnTo>
                    <a:pt x="219" y="135"/>
                  </a:lnTo>
                  <a:lnTo>
                    <a:pt x="236" y="127"/>
                  </a:lnTo>
                  <a:lnTo>
                    <a:pt x="286" y="127"/>
                  </a:lnTo>
                  <a:lnTo>
                    <a:pt x="312" y="118"/>
                  </a:lnTo>
                  <a:lnTo>
                    <a:pt x="320" y="127"/>
                  </a:lnTo>
                  <a:lnTo>
                    <a:pt x="328" y="110"/>
                  </a:lnTo>
                  <a:lnTo>
                    <a:pt x="371" y="67"/>
                  </a:lnTo>
                  <a:lnTo>
                    <a:pt x="404" y="0"/>
                  </a:lnTo>
                  <a:lnTo>
                    <a:pt x="430" y="8"/>
                  </a:lnTo>
                  <a:lnTo>
                    <a:pt x="480" y="17"/>
                  </a:lnTo>
                  <a:lnTo>
                    <a:pt x="497" y="17"/>
                  </a:lnTo>
                  <a:lnTo>
                    <a:pt x="480" y="25"/>
                  </a:lnTo>
                  <a:lnTo>
                    <a:pt x="447" y="25"/>
                  </a:lnTo>
                  <a:lnTo>
                    <a:pt x="438" y="25"/>
                  </a:lnTo>
                  <a:lnTo>
                    <a:pt x="430" y="25"/>
                  </a:lnTo>
                  <a:lnTo>
                    <a:pt x="413" y="42"/>
                  </a:lnTo>
                  <a:lnTo>
                    <a:pt x="396" y="34"/>
                  </a:lnTo>
                  <a:lnTo>
                    <a:pt x="371" y="76"/>
                  </a:lnTo>
                  <a:lnTo>
                    <a:pt x="388" y="84"/>
                  </a:lnTo>
                  <a:lnTo>
                    <a:pt x="396" y="67"/>
                  </a:lnTo>
                  <a:lnTo>
                    <a:pt x="421" y="42"/>
                  </a:lnTo>
                  <a:lnTo>
                    <a:pt x="438" y="42"/>
                  </a:lnTo>
                  <a:lnTo>
                    <a:pt x="447" y="34"/>
                  </a:lnTo>
                  <a:lnTo>
                    <a:pt x="472" y="42"/>
                  </a:lnTo>
                  <a:lnTo>
                    <a:pt x="480" y="42"/>
                  </a:lnTo>
                  <a:lnTo>
                    <a:pt x="506" y="17"/>
                  </a:lnTo>
                  <a:lnTo>
                    <a:pt x="514" y="17"/>
                  </a:lnTo>
                  <a:lnTo>
                    <a:pt x="531" y="42"/>
                  </a:lnTo>
                  <a:lnTo>
                    <a:pt x="548" y="67"/>
                  </a:lnTo>
                  <a:lnTo>
                    <a:pt x="581" y="84"/>
                  </a:lnTo>
                  <a:lnTo>
                    <a:pt x="598" y="110"/>
                  </a:lnTo>
                  <a:lnTo>
                    <a:pt x="607" y="110"/>
                  </a:lnTo>
                  <a:lnTo>
                    <a:pt x="632" y="144"/>
                  </a:lnTo>
                  <a:lnTo>
                    <a:pt x="640" y="127"/>
                  </a:lnTo>
                  <a:lnTo>
                    <a:pt x="674" y="110"/>
                  </a:lnTo>
                  <a:lnTo>
                    <a:pt x="691" y="127"/>
                  </a:lnTo>
                  <a:lnTo>
                    <a:pt x="700" y="169"/>
                  </a:lnTo>
                  <a:lnTo>
                    <a:pt x="725" y="195"/>
                  </a:lnTo>
                  <a:lnTo>
                    <a:pt x="716" y="229"/>
                  </a:lnTo>
                  <a:lnTo>
                    <a:pt x="716" y="237"/>
                  </a:lnTo>
                  <a:lnTo>
                    <a:pt x="742" y="254"/>
                  </a:lnTo>
                  <a:lnTo>
                    <a:pt x="759" y="263"/>
                  </a:lnTo>
                  <a:lnTo>
                    <a:pt x="784" y="263"/>
                  </a:lnTo>
                  <a:lnTo>
                    <a:pt x="809" y="263"/>
                  </a:lnTo>
                  <a:lnTo>
                    <a:pt x="818" y="263"/>
                  </a:lnTo>
                  <a:lnTo>
                    <a:pt x="826" y="331"/>
                  </a:lnTo>
                  <a:lnTo>
                    <a:pt x="826" y="348"/>
                  </a:lnTo>
                  <a:lnTo>
                    <a:pt x="851" y="373"/>
                  </a:lnTo>
                  <a:lnTo>
                    <a:pt x="851" y="390"/>
                  </a:lnTo>
                  <a:lnTo>
                    <a:pt x="860" y="415"/>
                  </a:lnTo>
                  <a:lnTo>
                    <a:pt x="860" y="441"/>
                  </a:lnTo>
                  <a:lnTo>
                    <a:pt x="868" y="441"/>
                  </a:lnTo>
                  <a:lnTo>
                    <a:pt x="851" y="483"/>
                  </a:lnTo>
                  <a:lnTo>
                    <a:pt x="826" y="475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mpd="sng" algn="ctr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79747" tIns="39873" rIns="79747" bIns="39873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de-DE" sz="1477" dirty="0"/>
            </a:p>
          </p:txBody>
        </p:sp>
        <p:sp>
          <p:nvSpPr>
            <p:cNvPr id="12" name="Lower Saxony">
              <a:extLst>
                <a:ext uri="{FF2B5EF4-FFF2-40B4-BE49-F238E27FC236}">
                  <a16:creationId xmlns:a16="http://schemas.microsoft.com/office/drawing/2014/main" id="{6A23F963-FB2E-49A6-863F-831140770B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7905" y="2138525"/>
              <a:ext cx="1763037" cy="1703911"/>
            </a:xfrm>
            <a:custGeom>
              <a:avLst/>
              <a:gdLst>
                <a:gd name="T0" fmla="*/ 673360944 w 1122"/>
                <a:gd name="T1" fmla="*/ 204312895 h 1002"/>
                <a:gd name="T2" fmla="*/ 673360944 w 1122"/>
                <a:gd name="T3" fmla="*/ 326900877 h 1002"/>
                <a:gd name="T4" fmla="*/ 627864106 w 1122"/>
                <a:gd name="T5" fmla="*/ 249715740 h 1002"/>
                <a:gd name="T6" fmla="*/ 486821643 w 1122"/>
                <a:gd name="T7" fmla="*/ 127127711 h 1002"/>
                <a:gd name="T8" fmla="*/ 186539349 w 1122"/>
                <a:gd name="T9" fmla="*/ 204312895 h 1002"/>
                <a:gd name="T10" fmla="*/ 172889543 w 1122"/>
                <a:gd name="T11" fmla="*/ 376843403 h 1002"/>
                <a:gd name="T12" fmla="*/ 218387937 w 1122"/>
                <a:gd name="T13" fmla="*/ 451758040 h 1002"/>
                <a:gd name="T14" fmla="*/ 218387937 w 1122"/>
                <a:gd name="T15" fmla="*/ 578885704 h 1002"/>
                <a:gd name="T16" fmla="*/ 141042510 w 1122"/>
                <a:gd name="T17" fmla="*/ 876274977 h 1002"/>
                <a:gd name="T18" fmla="*/ 29572580 w 1122"/>
                <a:gd name="T19" fmla="*/ 860383830 h 1002"/>
                <a:gd name="T20" fmla="*/ 0 w 1122"/>
                <a:gd name="T21" fmla="*/ 969349754 h 1002"/>
                <a:gd name="T22" fmla="*/ 109193969 w 1122"/>
                <a:gd name="T23" fmla="*/ 998861452 h 1002"/>
                <a:gd name="T24" fmla="*/ 141042510 w 1122"/>
                <a:gd name="T25" fmla="*/ 1141880262 h 1002"/>
                <a:gd name="T26" fmla="*/ 359428892 w 1122"/>
                <a:gd name="T27" fmla="*/ 1017023192 h 1002"/>
                <a:gd name="T28" fmla="*/ 500471449 w 1122"/>
                <a:gd name="T29" fmla="*/ 1048805485 h 1002"/>
                <a:gd name="T30" fmla="*/ 545968287 w 1122"/>
                <a:gd name="T31" fmla="*/ 1219065399 h 1002"/>
                <a:gd name="T32" fmla="*/ 516394211 w 1122"/>
                <a:gd name="T33" fmla="*/ 1298521131 h 1002"/>
                <a:gd name="T34" fmla="*/ 673360944 w 1122"/>
                <a:gd name="T35" fmla="*/ 1237227140 h 1002"/>
                <a:gd name="T36" fmla="*/ 752980789 w 1122"/>
                <a:gd name="T37" fmla="*/ 1141880262 h 1002"/>
                <a:gd name="T38" fmla="*/ 752980789 w 1122"/>
                <a:gd name="T39" fmla="*/ 1017023192 h 1002"/>
                <a:gd name="T40" fmla="*/ 859900435 w 1122"/>
                <a:gd name="T41" fmla="*/ 1017023192 h 1002"/>
                <a:gd name="T42" fmla="*/ 969094356 w 1122"/>
                <a:gd name="T43" fmla="*/ 1048805485 h 1002"/>
                <a:gd name="T44" fmla="*/ 1032789930 w 1122"/>
                <a:gd name="T45" fmla="*/ 1064696631 h 1002"/>
                <a:gd name="T46" fmla="*/ 1000941389 w 1122"/>
                <a:gd name="T47" fmla="*/ 1173662554 h 1002"/>
                <a:gd name="T48" fmla="*/ 1032789930 w 1122"/>
                <a:gd name="T49" fmla="*/ 1248577097 h 1002"/>
                <a:gd name="T50" fmla="*/ 1078286769 w 1122"/>
                <a:gd name="T51" fmla="*/ 1330301916 h 1002"/>
                <a:gd name="T52" fmla="*/ 1110135310 w 1122"/>
                <a:gd name="T53" fmla="*/ 1375704761 h 1002"/>
                <a:gd name="T54" fmla="*/ 1173832393 w 1122"/>
                <a:gd name="T55" fmla="*/ 1436998752 h 1002"/>
                <a:gd name="T56" fmla="*/ 1173832393 w 1122"/>
                <a:gd name="T57" fmla="*/ 1580017939 h 1002"/>
                <a:gd name="T58" fmla="*/ 1235253503 w 1122"/>
                <a:gd name="T59" fmla="*/ 1659473670 h 1002"/>
                <a:gd name="T60" fmla="*/ 1219329232 w 1122"/>
                <a:gd name="T61" fmla="*/ 1784330739 h 1002"/>
                <a:gd name="T62" fmla="*/ 1267100536 w 1122"/>
                <a:gd name="T63" fmla="*/ 1813842438 h 1002"/>
                <a:gd name="T64" fmla="*/ 1296674612 w 1122"/>
                <a:gd name="T65" fmla="*/ 1797951291 h 1002"/>
                <a:gd name="T66" fmla="*/ 1467289643 w 1122"/>
                <a:gd name="T67" fmla="*/ 1734388213 h 1002"/>
                <a:gd name="T68" fmla="*/ 1592408212 w 1122"/>
                <a:gd name="T69" fmla="*/ 1611800231 h 1002"/>
                <a:gd name="T70" fmla="*/ 1703876598 w 1122"/>
                <a:gd name="T71" fmla="*/ 1611800231 h 1002"/>
                <a:gd name="T72" fmla="*/ 1658378251 w 1122"/>
                <a:gd name="T73" fmla="*/ 1457431087 h 1002"/>
                <a:gd name="T74" fmla="*/ 1658378251 w 1122"/>
                <a:gd name="T75" fmla="*/ 1346193063 h 1002"/>
                <a:gd name="T76" fmla="*/ 1797146249 w 1122"/>
                <a:gd name="T77" fmla="*/ 1298521131 h 1002"/>
                <a:gd name="T78" fmla="*/ 1842643088 w 1122"/>
                <a:gd name="T79" fmla="*/ 1187283106 h 1002"/>
                <a:gd name="T80" fmla="*/ 1874491629 w 1122"/>
                <a:gd name="T81" fmla="*/ 1080587778 h 1002"/>
                <a:gd name="T82" fmla="*/ 1831269255 w 1122"/>
                <a:gd name="T83" fmla="*/ 892166123 h 1002"/>
                <a:gd name="T84" fmla="*/ 1751647902 w 1122"/>
                <a:gd name="T85" fmla="*/ 817250073 h 1002"/>
                <a:gd name="T86" fmla="*/ 1842643088 w 1122"/>
                <a:gd name="T87" fmla="*/ 690122221 h 1002"/>
                <a:gd name="T88" fmla="*/ 2049655590 w 1122"/>
                <a:gd name="T89" fmla="*/ 626559143 h 1002"/>
                <a:gd name="T90" fmla="*/ 2033731319 w 1122"/>
                <a:gd name="T91" fmla="*/ 578885704 h 1002"/>
                <a:gd name="T92" fmla="*/ 1924537398 w 1122"/>
                <a:gd name="T93" fmla="*/ 531212265 h 1002"/>
                <a:gd name="T94" fmla="*/ 1703876598 w 1122"/>
                <a:gd name="T95" fmla="*/ 376843403 h 1002"/>
                <a:gd name="T96" fmla="*/ 1515060947 w 1122"/>
                <a:gd name="T97" fmla="*/ 326900877 h 1002"/>
                <a:gd name="T98" fmla="*/ 1392218728 w 1122"/>
                <a:gd name="T99" fmla="*/ 326900877 h 1002"/>
                <a:gd name="T100" fmla="*/ 1328523153 w 1122"/>
                <a:gd name="T101" fmla="*/ 281498032 h 1002"/>
                <a:gd name="T102" fmla="*/ 1189755155 w 1122"/>
                <a:gd name="T103" fmla="*/ 172530555 h 1002"/>
                <a:gd name="T104" fmla="*/ 1000941389 w 1122"/>
                <a:gd name="T105" fmla="*/ 29511710 h 1002"/>
                <a:gd name="T106" fmla="*/ 812127623 w 1122"/>
                <a:gd name="T107" fmla="*/ 20430834 h 1002"/>
                <a:gd name="T108" fmla="*/ 830326358 w 1122"/>
                <a:gd name="T109" fmla="*/ 267875973 h 1002"/>
                <a:gd name="T110" fmla="*/ 752980789 w 1122"/>
                <a:gd name="T111" fmla="*/ 233824593 h 100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122"/>
                <a:gd name="T169" fmla="*/ 0 h 1002"/>
                <a:gd name="T170" fmla="*/ 1122 w 1122"/>
                <a:gd name="T171" fmla="*/ 1002 h 100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122" h="1002">
                  <a:moveTo>
                    <a:pt x="405" y="128"/>
                  </a:moveTo>
                  <a:lnTo>
                    <a:pt x="380" y="111"/>
                  </a:lnTo>
                  <a:lnTo>
                    <a:pt x="371" y="111"/>
                  </a:lnTo>
                  <a:lnTo>
                    <a:pt x="363" y="111"/>
                  </a:lnTo>
                  <a:lnTo>
                    <a:pt x="363" y="136"/>
                  </a:lnTo>
                  <a:lnTo>
                    <a:pt x="380" y="145"/>
                  </a:lnTo>
                  <a:lnTo>
                    <a:pt x="380" y="153"/>
                  </a:lnTo>
                  <a:lnTo>
                    <a:pt x="363" y="178"/>
                  </a:lnTo>
                  <a:lnTo>
                    <a:pt x="338" y="178"/>
                  </a:lnTo>
                  <a:lnTo>
                    <a:pt x="329" y="170"/>
                  </a:lnTo>
                  <a:lnTo>
                    <a:pt x="321" y="153"/>
                  </a:lnTo>
                  <a:lnTo>
                    <a:pt x="338" y="136"/>
                  </a:lnTo>
                  <a:lnTo>
                    <a:pt x="321" y="111"/>
                  </a:lnTo>
                  <a:lnTo>
                    <a:pt x="312" y="68"/>
                  </a:lnTo>
                  <a:lnTo>
                    <a:pt x="295" y="68"/>
                  </a:lnTo>
                  <a:lnTo>
                    <a:pt x="262" y="68"/>
                  </a:lnTo>
                  <a:lnTo>
                    <a:pt x="211" y="68"/>
                  </a:lnTo>
                  <a:lnTo>
                    <a:pt x="160" y="77"/>
                  </a:lnTo>
                  <a:lnTo>
                    <a:pt x="144" y="77"/>
                  </a:lnTo>
                  <a:lnTo>
                    <a:pt x="101" y="111"/>
                  </a:lnTo>
                  <a:lnTo>
                    <a:pt x="110" y="128"/>
                  </a:lnTo>
                  <a:lnTo>
                    <a:pt x="93" y="136"/>
                  </a:lnTo>
                  <a:lnTo>
                    <a:pt x="76" y="187"/>
                  </a:lnTo>
                  <a:lnTo>
                    <a:pt x="93" y="204"/>
                  </a:lnTo>
                  <a:lnTo>
                    <a:pt x="118" y="204"/>
                  </a:lnTo>
                  <a:lnTo>
                    <a:pt x="127" y="212"/>
                  </a:lnTo>
                  <a:lnTo>
                    <a:pt x="127" y="221"/>
                  </a:lnTo>
                  <a:lnTo>
                    <a:pt x="118" y="246"/>
                  </a:lnTo>
                  <a:lnTo>
                    <a:pt x="127" y="246"/>
                  </a:lnTo>
                  <a:lnTo>
                    <a:pt x="118" y="280"/>
                  </a:lnTo>
                  <a:lnTo>
                    <a:pt x="118" y="289"/>
                  </a:lnTo>
                  <a:lnTo>
                    <a:pt x="118" y="314"/>
                  </a:lnTo>
                  <a:lnTo>
                    <a:pt x="118" y="340"/>
                  </a:lnTo>
                  <a:lnTo>
                    <a:pt x="93" y="391"/>
                  </a:lnTo>
                  <a:lnTo>
                    <a:pt x="85" y="442"/>
                  </a:lnTo>
                  <a:lnTo>
                    <a:pt x="76" y="476"/>
                  </a:lnTo>
                  <a:lnTo>
                    <a:pt x="68" y="476"/>
                  </a:lnTo>
                  <a:lnTo>
                    <a:pt x="51" y="467"/>
                  </a:lnTo>
                  <a:lnTo>
                    <a:pt x="42" y="467"/>
                  </a:lnTo>
                  <a:lnTo>
                    <a:pt x="17" y="467"/>
                  </a:lnTo>
                  <a:lnTo>
                    <a:pt x="9" y="484"/>
                  </a:lnTo>
                  <a:lnTo>
                    <a:pt x="17" y="501"/>
                  </a:lnTo>
                  <a:lnTo>
                    <a:pt x="0" y="509"/>
                  </a:lnTo>
                  <a:lnTo>
                    <a:pt x="0" y="526"/>
                  </a:lnTo>
                  <a:lnTo>
                    <a:pt x="9" y="535"/>
                  </a:lnTo>
                  <a:lnTo>
                    <a:pt x="17" y="535"/>
                  </a:lnTo>
                  <a:lnTo>
                    <a:pt x="51" y="552"/>
                  </a:lnTo>
                  <a:lnTo>
                    <a:pt x="59" y="543"/>
                  </a:lnTo>
                  <a:lnTo>
                    <a:pt x="76" y="560"/>
                  </a:lnTo>
                  <a:lnTo>
                    <a:pt x="76" y="577"/>
                  </a:lnTo>
                  <a:lnTo>
                    <a:pt x="76" y="603"/>
                  </a:lnTo>
                  <a:lnTo>
                    <a:pt x="76" y="620"/>
                  </a:lnTo>
                  <a:lnTo>
                    <a:pt x="127" y="611"/>
                  </a:lnTo>
                  <a:lnTo>
                    <a:pt x="186" y="586"/>
                  </a:lnTo>
                  <a:lnTo>
                    <a:pt x="203" y="569"/>
                  </a:lnTo>
                  <a:lnTo>
                    <a:pt x="194" y="552"/>
                  </a:lnTo>
                  <a:lnTo>
                    <a:pt x="211" y="543"/>
                  </a:lnTo>
                  <a:lnTo>
                    <a:pt x="220" y="552"/>
                  </a:lnTo>
                  <a:lnTo>
                    <a:pt x="236" y="569"/>
                  </a:lnTo>
                  <a:lnTo>
                    <a:pt x="270" y="569"/>
                  </a:lnTo>
                  <a:lnTo>
                    <a:pt x="295" y="603"/>
                  </a:lnTo>
                  <a:lnTo>
                    <a:pt x="279" y="611"/>
                  </a:lnTo>
                  <a:lnTo>
                    <a:pt x="279" y="645"/>
                  </a:lnTo>
                  <a:lnTo>
                    <a:pt x="295" y="662"/>
                  </a:lnTo>
                  <a:lnTo>
                    <a:pt x="295" y="671"/>
                  </a:lnTo>
                  <a:lnTo>
                    <a:pt x="279" y="679"/>
                  </a:lnTo>
                  <a:lnTo>
                    <a:pt x="270" y="688"/>
                  </a:lnTo>
                  <a:lnTo>
                    <a:pt x="279" y="705"/>
                  </a:lnTo>
                  <a:lnTo>
                    <a:pt x="295" y="705"/>
                  </a:lnTo>
                  <a:lnTo>
                    <a:pt x="304" y="696"/>
                  </a:lnTo>
                  <a:lnTo>
                    <a:pt x="338" y="696"/>
                  </a:lnTo>
                  <a:lnTo>
                    <a:pt x="363" y="671"/>
                  </a:lnTo>
                  <a:lnTo>
                    <a:pt x="380" y="679"/>
                  </a:lnTo>
                  <a:lnTo>
                    <a:pt x="413" y="654"/>
                  </a:lnTo>
                  <a:lnTo>
                    <a:pt x="405" y="637"/>
                  </a:lnTo>
                  <a:lnTo>
                    <a:pt x="405" y="620"/>
                  </a:lnTo>
                  <a:lnTo>
                    <a:pt x="397" y="594"/>
                  </a:lnTo>
                  <a:lnTo>
                    <a:pt x="371" y="569"/>
                  </a:lnTo>
                  <a:lnTo>
                    <a:pt x="371" y="552"/>
                  </a:lnTo>
                  <a:lnTo>
                    <a:pt x="405" y="552"/>
                  </a:lnTo>
                  <a:lnTo>
                    <a:pt x="413" y="535"/>
                  </a:lnTo>
                  <a:lnTo>
                    <a:pt x="439" y="526"/>
                  </a:lnTo>
                  <a:lnTo>
                    <a:pt x="456" y="526"/>
                  </a:lnTo>
                  <a:lnTo>
                    <a:pt x="464" y="552"/>
                  </a:lnTo>
                  <a:lnTo>
                    <a:pt x="464" y="569"/>
                  </a:lnTo>
                  <a:lnTo>
                    <a:pt x="473" y="569"/>
                  </a:lnTo>
                  <a:lnTo>
                    <a:pt x="515" y="569"/>
                  </a:lnTo>
                  <a:lnTo>
                    <a:pt x="523" y="569"/>
                  </a:lnTo>
                  <a:lnTo>
                    <a:pt x="532" y="552"/>
                  </a:lnTo>
                  <a:lnTo>
                    <a:pt x="557" y="535"/>
                  </a:lnTo>
                  <a:lnTo>
                    <a:pt x="557" y="543"/>
                  </a:lnTo>
                  <a:lnTo>
                    <a:pt x="557" y="577"/>
                  </a:lnTo>
                  <a:lnTo>
                    <a:pt x="532" y="594"/>
                  </a:lnTo>
                  <a:lnTo>
                    <a:pt x="523" y="611"/>
                  </a:lnTo>
                  <a:lnTo>
                    <a:pt x="523" y="620"/>
                  </a:lnTo>
                  <a:lnTo>
                    <a:pt x="540" y="637"/>
                  </a:lnTo>
                  <a:lnTo>
                    <a:pt x="532" y="645"/>
                  </a:lnTo>
                  <a:lnTo>
                    <a:pt x="523" y="654"/>
                  </a:lnTo>
                  <a:lnTo>
                    <a:pt x="532" y="671"/>
                  </a:lnTo>
                  <a:lnTo>
                    <a:pt x="557" y="679"/>
                  </a:lnTo>
                  <a:lnTo>
                    <a:pt x="574" y="696"/>
                  </a:lnTo>
                  <a:lnTo>
                    <a:pt x="574" y="705"/>
                  </a:lnTo>
                  <a:lnTo>
                    <a:pt x="574" y="722"/>
                  </a:lnTo>
                  <a:lnTo>
                    <a:pt x="582" y="722"/>
                  </a:lnTo>
                  <a:lnTo>
                    <a:pt x="574" y="730"/>
                  </a:lnTo>
                  <a:lnTo>
                    <a:pt x="582" y="739"/>
                  </a:lnTo>
                  <a:lnTo>
                    <a:pt x="591" y="739"/>
                  </a:lnTo>
                  <a:lnTo>
                    <a:pt x="599" y="747"/>
                  </a:lnTo>
                  <a:lnTo>
                    <a:pt x="591" y="756"/>
                  </a:lnTo>
                  <a:lnTo>
                    <a:pt x="599" y="773"/>
                  </a:lnTo>
                  <a:lnTo>
                    <a:pt x="624" y="781"/>
                  </a:lnTo>
                  <a:lnTo>
                    <a:pt x="633" y="781"/>
                  </a:lnTo>
                  <a:lnTo>
                    <a:pt x="633" y="815"/>
                  </a:lnTo>
                  <a:lnTo>
                    <a:pt x="616" y="832"/>
                  </a:lnTo>
                  <a:lnTo>
                    <a:pt x="616" y="866"/>
                  </a:lnTo>
                  <a:lnTo>
                    <a:pt x="633" y="857"/>
                  </a:lnTo>
                  <a:lnTo>
                    <a:pt x="650" y="866"/>
                  </a:lnTo>
                  <a:lnTo>
                    <a:pt x="666" y="866"/>
                  </a:lnTo>
                  <a:lnTo>
                    <a:pt x="683" y="883"/>
                  </a:lnTo>
                  <a:lnTo>
                    <a:pt x="666" y="900"/>
                  </a:lnTo>
                  <a:lnTo>
                    <a:pt x="666" y="917"/>
                  </a:lnTo>
                  <a:lnTo>
                    <a:pt x="675" y="942"/>
                  </a:lnTo>
                  <a:lnTo>
                    <a:pt x="675" y="951"/>
                  </a:lnTo>
                  <a:lnTo>
                    <a:pt x="658" y="968"/>
                  </a:lnTo>
                  <a:lnTo>
                    <a:pt x="658" y="976"/>
                  </a:lnTo>
                  <a:lnTo>
                    <a:pt x="666" y="976"/>
                  </a:lnTo>
                  <a:lnTo>
                    <a:pt x="675" y="985"/>
                  </a:lnTo>
                  <a:lnTo>
                    <a:pt x="683" y="985"/>
                  </a:lnTo>
                  <a:lnTo>
                    <a:pt x="692" y="1002"/>
                  </a:lnTo>
                  <a:lnTo>
                    <a:pt x="709" y="993"/>
                  </a:lnTo>
                  <a:lnTo>
                    <a:pt x="709" y="985"/>
                  </a:lnTo>
                  <a:lnTo>
                    <a:pt x="700" y="976"/>
                  </a:lnTo>
                  <a:lnTo>
                    <a:pt x="709" y="959"/>
                  </a:lnTo>
                  <a:lnTo>
                    <a:pt x="734" y="968"/>
                  </a:lnTo>
                  <a:lnTo>
                    <a:pt x="768" y="951"/>
                  </a:lnTo>
                  <a:lnTo>
                    <a:pt x="793" y="942"/>
                  </a:lnTo>
                  <a:lnTo>
                    <a:pt x="835" y="917"/>
                  </a:lnTo>
                  <a:lnTo>
                    <a:pt x="844" y="908"/>
                  </a:lnTo>
                  <a:lnTo>
                    <a:pt x="852" y="891"/>
                  </a:lnTo>
                  <a:lnTo>
                    <a:pt x="860" y="874"/>
                  </a:lnTo>
                  <a:lnTo>
                    <a:pt x="886" y="891"/>
                  </a:lnTo>
                  <a:lnTo>
                    <a:pt x="903" y="883"/>
                  </a:lnTo>
                  <a:lnTo>
                    <a:pt x="919" y="883"/>
                  </a:lnTo>
                  <a:lnTo>
                    <a:pt x="919" y="874"/>
                  </a:lnTo>
                  <a:lnTo>
                    <a:pt x="928" y="857"/>
                  </a:lnTo>
                  <a:lnTo>
                    <a:pt x="919" y="841"/>
                  </a:lnTo>
                  <a:lnTo>
                    <a:pt x="903" y="824"/>
                  </a:lnTo>
                  <a:lnTo>
                    <a:pt x="894" y="790"/>
                  </a:lnTo>
                  <a:lnTo>
                    <a:pt x="911" y="764"/>
                  </a:lnTo>
                  <a:lnTo>
                    <a:pt x="903" y="747"/>
                  </a:lnTo>
                  <a:lnTo>
                    <a:pt x="903" y="739"/>
                  </a:lnTo>
                  <a:lnTo>
                    <a:pt x="894" y="730"/>
                  </a:lnTo>
                  <a:lnTo>
                    <a:pt x="894" y="722"/>
                  </a:lnTo>
                  <a:lnTo>
                    <a:pt x="911" y="713"/>
                  </a:lnTo>
                  <a:lnTo>
                    <a:pt x="919" y="705"/>
                  </a:lnTo>
                  <a:lnTo>
                    <a:pt x="970" y="705"/>
                  </a:lnTo>
                  <a:lnTo>
                    <a:pt x="987" y="696"/>
                  </a:lnTo>
                  <a:lnTo>
                    <a:pt x="987" y="688"/>
                  </a:lnTo>
                  <a:lnTo>
                    <a:pt x="1004" y="671"/>
                  </a:lnTo>
                  <a:lnTo>
                    <a:pt x="995" y="645"/>
                  </a:lnTo>
                  <a:lnTo>
                    <a:pt x="1012" y="637"/>
                  </a:lnTo>
                  <a:lnTo>
                    <a:pt x="995" y="611"/>
                  </a:lnTo>
                  <a:lnTo>
                    <a:pt x="995" y="594"/>
                  </a:lnTo>
                  <a:lnTo>
                    <a:pt x="1012" y="586"/>
                  </a:lnTo>
                  <a:lnTo>
                    <a:pt x="978" y="552"/>
                  </a:lnTo>
                  <a:lnTo>
                    <a:pt x="995" y="535"/>
                  </a:lnTo>
                  <a:lnTo>
                    <a:pt x="978" y="509"/>
                  </a:lnTo>
                  <a:lnTo>
                    <a:pt x="987" y="484"/>
                  </a:lnTo>
                  <a:lnTo>
                    <a:pt x="978" y="484"/>
                  </a:lnTo>
                  <a:lnTo>
                    <a:pt x="970" y="484"/>
                  </a:lnTo>
                  <a:lnTo>
                    <a:pt x="970" y="476"/>
                  </a:lnTo>
                  <a:lnTo>
                    <a:pt x="945" y="442"/>
                  </a:lnTo>
                  <a:lnTo>
                    <a:pt x="936" y="416"/>
                  </a:lnTo>
                  <a:lnTo>
                    <a:pt x="945" y="399"/>
                  </a:lnTo>
                  <a:lnTo>
                    <a:pt x="970" y="399"/>
                  </a:lnTo>
                  <a:lnTo>
                    <a:pt x="995" y="374"/>
                  </a:lnTo>
                  <a:lnTo>
                    <a:pt x="1021" y="374"/>
                  </a:lnTo>
                  <a:lnTo>
                    <a:pt x="1046" y="382"/>
                  </a:lnTo>
                  <a:lnTo>
                    <a:pt x="1097" y="365"/>
                  </a:lnTo>
                  <a:lnTo>
                    <a:pt x="1105" y="340"/>
                  </a:lnTo>
                  <a:lnTo>
                    <a:pt x="1122" y="331"/>
                  </a:lnTo>
                  <a:lnTo>
                    <a:pt x="1122" y="323"/>
                  </a:lnTo>
                  <a:lnTo>
                    <a:pt x="1113" y="323"/>
                  </a:lnTo>
                  <a:lnTo>
                    <a:pt x="1097" y="314"/>
                  </a:lnTo>
                  <a:lnTo>
                    <a:pt x="1088" y="306"/>
                  </a:lnTo>
                  <a:lnTo>
                    <a:pt x="1063" y="314"/>
                  </a:lnTo>
                  <a:lnTo>
                    <a:pt x="1054" y="306"/>
                  </a:lnTo>
                  <a:lnTo>
                    <a:pt x="1038" y="289"/>
                  </a:lnTo>
                  <a:lnTo>
                    <a:pt x="1012" y="272"/>
                  </a:lnTo>
                  <a:lnTo>
                    <a:pt x="1004" y="280"/>
                  </a:lnTo>
                  <a:lnTo>
                    <a:pt x="945" y="238"/>
                  </a:lnTo>
                  <a:lnTo>
                    <a:pt x="919" y="204"/>
                  </a:lnTo>
                  <a:lnTo>
                    <a:pt x="903" y="204"/>
                  </a:lnTo>
                  <a:lnTo>
                    <a:pt x="860" y="195"/>
                  </a:lnTo>
                  <a:lnTo>
                    <a:pt x="827" y="178"/>
                  </a:lnTo>
                  <a:lnTo>
                    <a:pt x="818" y="178"/>
                  </a:lnTo>
                  <a:lnTo>
                    <a:pt x="801" y="187"/>
                  </a:lnTo>
                  <a:lnTo>
                    <a:pt x="793" y="187"/>
                  </a:lnTo>
                  <a:lnTo>
                    <a:pt x="776" y="170"/>
                  </a:lnTo>
                  <a:lnTo>
                    <a:pt x="751" y="178"/>
                  </a:lnTo>
                  <a:lnTo>
                    <a:pt x="742" y="178"/>
                  </a:lnTo>
                  <a:lnTo>
                    <a:pt x="734" y="178"/>
                  </a:lnTo>
                  <a:lnTo>
                    <a:pt x="725" y="178"/>
                  </a:lnTo>
                  <a:lnTo>
                    <a:pt x="717" y="153"/>
                  </a:lnTo>
                  <a:lnTo>
                    <a:pt x="700" y="136"/>
                  </a:lnTo>
                  <a:lnTo>
                    <a:pt x="700" y="128"/>
                  </a:lnTo>
                  <a:lnTo>
                    <a:pt x="666" y="119"/>
                  </a:lnTo>
                  <a:lnTo>
                    <a:pt x="641" y="94"/>
                  </a:lnTo>
                  <a:lnTo>
                    <a:pt x="607" y="26"/>
                  </a:lnTo>
                  <a:lnTo>
                    <a:pt x="582" y="9"/>
                  </a:lnTo>
                  <a:lnTo>
                    <a:pt x="565" y="9"/>
                  </a:lnTo>
                  <a:lnTo>
                    <a:pt x="540" y="17"/>
                  </a:lnTo>
                  <a:lnTo>
                    <a:pt x="489" y="26"/>
                  </a:lnTo>
                  <a:lnTo>
                    <a:pt x="464" y="0"/>
                  </a:lnTo>
                  <a:lnTo>
                    <a:pt x="447" y="0"/>
                  </a:lnTo>
                  <a:lnTo>
                    <a:pt x="439" y="9"/>
                  </a:lnTo>
                  <a:lnTo>
                    <a:pt x="413" y="85"/>
                  </a:lnTo>
                  <a:lnTo>
                    <a:pt x="430" y="111"/>
                  </a:lnTo>
                  <a:lnTo>
                    <a:pt x="447" y="111"/>
                  </a:lnTo>
                  <a:lnTo>
                    <a:pt x="447" y="145"/>
                  </a:lnTo>
                  <a:lnTo>
                    <a:pt x="439" y="153"/>
                  </a:lnTo>
                  <a:lnTo>
                    <a:pt x="430" y="145"/>
                  </a:lnTo>
                  <a:lnTo>
                    <a:pt x="430" y="128"/>
                  </a:lnTo>
                  <a:lnTo>
                    <a:pt x="405" y="128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mpd="sng" algn="ctr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79747" tIns="39873" rIns="79747" bIns="39873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de-DE" sz="1477" dirty="0"/>
            </a:p>
          </p:txBody>
        </p:sp>
        <p:sp>
          <p:nvSpPr>
            <p:cNvPr id="10" name="Hesse">
              <a:extLst>
                <a:ext uri="{FF2B5EF4-FFF2-40B4-BE49-F238E27FC236}">
                  <a16:creationId xmlns:a16="http://schemas.microsoft.com/office/drawing/2014/main" id="{6FC51ECF-2394-470E-85F1-F733D7F9449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6797" y="3595180"/>
              <a:ext cx="926173" cy="1460239"/>
            </a:xfrm>
            <a:custGeom>
              <a:avLst/>
              <a:gdLst>
                <a:gd name="T0" fmla="*/ 574406959 w 590"/>
                <a:gd name="T1" fmla="*/ 1414354727 h 858"/>
                <a:gd name="T2" fmla="*/ 574406959 w 590"/>
                <a:gd name="T3" fmla="*/ 1289292204 h 858"/>
                <a:gd name="T4" fmla="*/ 560785677 w 590"/>
                <a:gd name="T5" fmla="*/ 1164228174 h 858"/>
                <a:gd name="T6" fmla="*/ 574406959 w 590"/>
                <a:gd name="T7" fmla="*/ 1084642110 h 858"/>
                <a:gd name="T8" fmla="*/ 622085968 w 590"/>
                <a:gd name="T9" fmla="*/ 1084642110 h 858"/>
                <a:gd name="T10" fmla="*/ 760578550 w 590"/>
                <a:gd name="T11" fmla="*/ 1084642110 h 858"/>
                <a:gd name="T12" fmla="*/ 760578550 w 590"/>
                <a:gd name="T13" fmla="*/ 1007330019 h 858"/>
                <a:gd name="T14" fmla="*/ 869558039 w 590"/>
                <a:gd name="T15" fmla="*/ 975495895 h 858"/>
                <a:gd name="T16" fmla="*/ 933127540 w 590"/>
                <a:gd name="T17" fmla="*/ 895909831 h 858"/>
                <a:gd name="T18" fmla="*/ 1010321337 w 590"/>
                <a:gd name="T19" fmla="*/ 768573146 h 858"/>
                <a:gd name="T20" fmla="*/ 978535833 w 590"/>
                <a:gd name="T21" fmla="*/ 709451337 h 858"/>
                <a:gd name="T22" fmla="*/ 946750329 w 590"/>
                <a:gd name="T23" fmla="*/ 675343239 h 858"/>
                <a:gd name="T24" fmla="*/ 1010321337 w 590"/>
                <a:gd name="T25" fmla="*/ 552553183 h 858"/>
                <a:gd name="T26" fmla="*/ 1010321337 w 590"/>
                <a:gd name="T27" fmla="*/ 457050810 h 858"/>
                <a:gd name="T28" fmla="*/ 1039836124 w 590"/>
                <a:gd name="T29" fmla="*/ 409298870 h 858"/>
                <a:gd name="T30" fmla="*/ 1087513627 w 590"/>
                <a:gd name="T31" fmla="*/ 363820809 h 858"/>
                <a:gd name="T32" fmla="*/ 1010321337 w 590"/>
                <a:gd name="T33" fmla="*/ 300152561 h 858"/>
                <a:gd name="T34" fmla="*/ 933127540 w 590"/>
                <a:gd name="T35" fmla="*/ 204650189 h 858"/>
                <a:gd name="T36" fmla="*/ 887720753 w 590"/>
                <a:gd name="T37" fmla="*/ 236484313 h 858"/>
                <a:gd name="T38" fmla="*/ 837772535 w 590"/>
                <a:gd name="T39" fmla="*/ 236484313 h 858"/>
                <a:gd name="T40" fmla="*/ 790093526 w 590"/>
                <a:gd name="T41" fmla="*/ 220566497 h 858"/>
                <a:gd name="T42" fmla="*/ 824149746 w 590"/>
                <a:gd name="T43" fmla="*/ 156898202 h 858"/>
                <a:gd name="T44" fmla="*/ 837772535 w 590"/>
                <a:gd name="T45" fmla="*/ 50025937 h 858"/>
                <a:gd name="T46" fmla="*/ 742415835 w 590"/>
                <a:gd name="T47" fmla="*/ 0 h 858"/>
                <a:gd name="T48" fmla="*/ 699278258 w 590"/>
                <a:gd name="T49" fmla="*/ 79586088 h 858"/>
                <a:gd name="T50" fmla="*/ 574406959 w 590"/>
                <a:gd name="T51" fmla="*/ 127338051 h 858"/>
                <a:gd name="T52" fmla="*/ 513106668 w 590"/>
                <a:gd name="T53" fmla="*/ 156898202 h 858"/>
                <a:gd name="T54" fmla="*/ 481321164 w 590"/>
                <a:gd name="T55" fmla="*/ 188732326 h 858"/>
                <a:gd name="T56" fmla="*/ 372343276 w 590"/>
                <a:gd name="T57" fmla="*/ 268318437 h 858"/>
                <a:gd name="T58" fmla="*/ 451806376 w 590"/>
                <a:gd name="T59" fmla="*/ 313796404 h 858"/>
                <a:gd name="T60" fmla="*/ 401858158 w 590"/>
                <a:gd name="T61" fmla="*/ 393382468 h 858"/>
                <a:gd name="T62" fmla="*/ 342828488 w 590"/>
                <a:gd name="T63" fmla="*/ 425216686 h 858"/>
                <a:gd name="T64" fmla="*/ 295149479 w 590"/>
                <a:gd name="T65" fmla="*/ 536636874 h 858"/>
                <a:gd name="T66" fmla="*/ 217957189 w 590"/>
                <a:gd name="T67" fmla="*/ 552553183 h 858"/>
                <a:gd name="T68" fmla="*/ 172548849 w 590"/>
                <a:gd name="T69" fmla="*/ 661699397 h 858"/>
                <a:gd name="T70" fmla="*/ 140763345 w 590"/>
                <a:gd name="T71" fmla="*/ 789037401 h 858"/>
                <a:gd name="T72" fmla="*/ 95356535 w 590"/>
                <a:gd name="T73" fmla="*/ 848157891 h 858"/>
                <a:gd name="T74" fmla="*/ 140763345 w 590"/>
                <a:gd name="T75" fmla="*/ 943661771 h 858"/>
                <a:gd name="T76" fmla="*/ 106708632 w 590"/>
                <a:gd name="T77" fmla="*/ 1007330019 h 858"/>
                <a:gd name="T78" fmla="*/ 61300315 w 590"/>
                <a:gd name="T79" fmla="*/ 1068725801 h 858"/>
                <a:gd name="T80" fmla="*/ 47677514 w 590"/>
                <a:gd name="T81" fmla="*/ 1180145990 h 858"/>
                <a:gd name="T82" fmla="*/ 202063683 w 590"/>
                <a:gd name="T83" fmla="*/ 1146036384 h 858"/>
                <a:gd name="T84" fmla="*/ 247471977 w 590"/>
                <a:gd name="T85" fmla="*/ 1273374388 h 858"/>
                <a:gd name="T86" fmla="*/ 247471977 w 590"/>
                <a:gd name="T87" fmla="*/ 1400712393 h 858"/>
                <a:gd name="T88" fmla="*/ 342828488 w 590"/>
                <a:gd name="T89" fmla="*/ 1493940791 h 858"/>
                <a:gd name="T90" fmla="*/ 388235274 w 590"/>
                <a:gd name="T91" fmla="*/ 1446188851 h 858"/>
                <a:gd name="T92" fmla="*/ 451806376 w 590"/>
                <a:gd name="T93" fmla="*/ 1507584633 h 858"/>
                <a:gd name="T94" fmla="*/ 465429165 w 590"/>
                <a:gd name="T95" fmla="*/ 1587171075 h 858"/>
                <a:gd name="T96" fmla="*/ 513106668 w 590"/>
                <a:gd name="T97" fmla="*/ 1537144784 h 858"/>
                <a:gd name="T98" fmla="*/ 560785677 w 590"/>
                <a:gd name="T99" fmla="*/ 1459832693 h 85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90"/>
                <a:gd name="T151" fmla="*/ 0 h 858"/>
                <a:gd name="T152" fmla="*/ 590 w 590"/>
                <a:gd name="T153" fmla="*/ 858 h 85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90" h="858">
                  <a:moveTo>
                    <a:pt x="304" y="790"/>
                  </a:moveTo>
                  <a:lnTo>
                    <a:pt x="312" y="773"/>
                  </a:lnTo>
                  <a:lnTo>
                    <a:pt x="312" y="764"/>
                  </a:lnTo>
                  <a:lnTo>
                    <a:pt x="329" y="747"/>
                  </a:lnTo>
                  <a:lnTo>
                    <a:pt x="329" y="722"/>
                  </a:lnTo>
                  <a:lnTo>
                    <a:pt x="312" y="696"/>
                  </a:lnTo>
                  <a:lnTo>
                    <a:pt x="304" y="696"/>
                  </a:lnTo>
                  <a:lnTo>
                    <a:pt x="295" y="663"/>
                  </a:lnTo>
                  <a:lnTo>
                    <a:pt x="304" y="629"/>
                  </a:lnTo>
                  <a:lnTo>
                    <a:pt x="287" y="612"/>
                  </a:lnTo>
                  <a:lnTo>
                    <a:pt x="304" y="595"/>
                  </a:lnTo>
                  <a:lnTo>
                    <a:pt x="312" y="586"/>
                  </a:lnTo>
                  <a:lnTo>
                    <a:pt x="320" y="586"/>
                  </a:lnTo>
                  <a:lnTo>
                    <a:pt x="329" y="586"/>
                  </a:lnTo>
                  <a:lnTo>
                    <a:pt x="337" y="586"/>
                  </a:lnTo>
                  <a:lnTo>
                    <a:pt x="371" y="578"/>
                  </a:lnTo>
                  <a:lnTo>
                    <a:pt x="396" y="603"/>
                  </a:lnTo>
                  <a:lnTo>
                    <a:pt x="413" y="586"/>
                  </a:lnTo>
                  <a:lnTo>
                    <a:pt x="422" y="578"/>
                  </a:lnTo>
                  <a:lnTo>
                    <a:pt x="413" y="561"/>
                  </a:lnTo>
                  <a:lnTo>
                    <a:pt x="413" y="544"/>
                  </a:lnTo>
                  <a:lnTo>
                    <a:pt x="447" y="544"/>
                  </a:lnTo>
                  <a:lnTo>
                    <a:pt x="455" y="527"/>
                  </a:lnTo>
                  <a:lnTo>
                    <a:pt x="472" y="527"/>
                  </a:lnTo>
                  <a:lnTo>
                    <a:pt x="481" y="493"/>
                  </a:lnTo>
                  <a:lnTo>
                    <a:pt x="481" y="476"/>
                  </a:lnTo>
                  <a:lnTo>
                    <a:pt x="506" y="484"/>
                  </a:lnTo>
                  <a:lnTo>
                    <a:pt x="523" y="476"/>
                  </a:lnTo>
                  <a:lnTo>
                    <a:pt x="548" y="433"/>
                  </a:lnTo>
                  <a:lnTo>
                    <a:pt x="548" y="416"/>
                  </a:lnTo>
                  <a:lnTo>
                    <a:pt x="548" y="391"/>
                  </a:lnTo>
                  <a:lnTo>
                    <a:pt x="548" y="382"/>
                  </a:lnTo>
                  <a:lnTo>
                    <a:pt x="531" y="382"/>
                  </a:lnTo>
                  <a:lnTo>
                    <a:pt x="514" y="391"/>
                  </a:lnTo>
                  <a:lnTo>
                    <a:pt x="506" y="391"/>
                  </a:lnTo>
                  <a:lnTo>
                    <a:pt x="514" y="365"/>
                  </a:lnTo>
                  <a:lnTo>
                    <a:pt x="523" y="323"/>
                  </a:lnTo>
                  <a:lnTo>
                    <a:pt x="548" y="306"/>
                  </a:lnTo>
                  <a:lnTo>
                    <a:pt x="548" y="298"/>
                  </a:lnTo>
                  <a:lnTo>
                    <a:pt x="523" y="281"/>
                  </a:lnTo>
                  <a:lnTo>
                    <a:pt x="548" y="264"/>
                  </a:lnTo>
                  <a:lnTo>
                    <a:pt x="548" y="247"/>
                  </a:lnTo>
                  <a:lnTo>
                    <a:pt x="573" y="247"/>
                  </a:lnTo>
                  <a:lnTo>
                    <a:pt x="582" y="238"/>
                  </a:lnTo>
                  <a:lnTo>
                    <a:pt x="565" y="221"/>
                  </a:lnTo>
                  <a:lnTo>
                    <a:pt x="573" y="204"/>
                  </a:lnTo>
                  <a:lnTo>
                    <a:pt x="582" y="204"/>
                  </a:lnTo>
                  <a:lnTo>
                    <a:pt x="590" y="196"/>
                  </a:lnTo>
                  <a:lnTo>
                    <a:pt x="582" y="170"/>
                  </a:lnTo>
                  <a:lnTo>
                    <a:pt x="565" y="170"/>
                  </a:lnTo>
                  <a:lnTo>
                    <a:pt x="548" y="162"/>
                  </a:lnTo>
                  <a:lnTo>
                    <a:pt x="548" y="153"/>
                  </a:lnTo>
                  <a:lnTo>
                    <a:pt x="523" y="136"/>
                  </a:lnTo>
                  <a:lnTo>
                    <a:pt x="506" y="111"/>
                  </a:lnTo>
                  <a:lnTo>
                    <a:pt x="481" y="102"/>
                  </a:lnTo>
                  <a:lnTo>
                    <a:pt x="472" y="119"/>
                  </a:lnTo>
                  <a:lnTo>
                    <a:pt x="481" y="128"/>
                  </a:lnTo>
                  <a:lnTo>
                    <a:pt x="481" y="136"/>
                  </a:lnTo>
                  <a:lnTo>
                    <a:pt x="464" y="145"/>
                  </a:lnTo>
                  <a:lnTo>
                    <a:pt x="455" y="128"/>
                  </a:lnTo>
                  <a:lnTo>
                    <a:pt x="447" y="128"/>
                  </a:lnTo>
                  <a:lnTo>
                    <a:pt x="438" y="119"/>
                  </a:lnTo>
                  <a:lnTo>
                    <a:pt x="430" y="119"/>
                  </a:lnTo>
                  <a:lnTo>
                    <a:pt x="430" y="111"/>
                  </a:lnTo>
                  <a:lnTo>
                    <a:pt x="447" y="94"/>
                  </a:lnTo>
                  <a:lnTo>
                    <a:pt x="447" y="85"/>
                  </a:lnTo>
                  <a:lnTo>
                    <a:pt x="438" y="60"/>
                  </a:lnTo>
                  <a:lnTo>
                    <a:pt x="438" y="43"/>
                  </a:lnTo>
                  <a:lnTo>
                    <a:pt x="455" y="26"/>
                  </a:lnTo>
                  <a:lnTo>
                    <a:pt x="438" y="9"/>
                  </a:lnTo>
                  <a:lnTo>
                    <a:pt x="422" y="9"/>
                  </a:lnTo>
                  <a:lnTo>
                    <a:pt x="405" y="0"/>
                  </a:lnTo>
                  <a:lnTo>
                    <a:pt x="388" y="9"/>
                  </a:lnTo>
                  <a:lnTo>
                    <a:pt x="371" y="17"/>
                  </a:lnTo>
                  <a:lnTo>
                    <a:pt x="379" y="43"/>
                  </a:lnTo>
                  <a:lnTo>
                    <a:pt x="329" y="85"/>
                  </a:lnTo>
                  <a:lnTo>
                    <a:pt x="320" y="85"/>
                  </a:lnTo>
                  <a:lnTo>
                    <a:pt x="312" y="68"/>
                  </a:lnTo>
                  <a:lnTo>
                    <a:pt x="295" y="60"/>
                  </a:lnTo>
                  <a:lnTo>
                    <a:pt x="278" y="68"/>
                  </a:lnTo>
                  <a:lnTo>
                    <a:pt x="278" y="85"/>
                  </a:lnTo>
                  <a:lnTo>
                    <a:pt x="287" y="94"/>
                  </a:lnTo>
                  <a:lnTo>
                    <a:pt x="287" y="102"/>
                  </a:lnTo>
                  <a:lnTo>
                    <a:pt x="261" y="102"/>
                  </a:lnTo>
                  <a:lnTo>
                    <a:pt x="236" y="111"/>
                  </a:lnTo>
                  <a:lnTo>
                    <a:pt x="219" y="111"/>
                  </a:lnTo>
                  <a:lnTo>
                    <a:pt x="202" y="145"/>
                  </a:lnTo>
                  <a:lnTo>
                    <a:pt x="202" y="153"/>
                  </a:lnTo>
                  <a:lnTo>
                    <a:pt x="228" y="153"/>
                  </a:lnTo>
                  <a:lnTo>
                    <a:pt x="245" y="170"/>
                  </a:lnTo>
                  <a:lnTo>
                    <a:pt x="236" y="187"/>
                  </a:lnTo>
                  <a:lnTo>
                    <a:pt x="228" y="196"/>
                  </a:lnTo>
                  <a:lnTo>
                    <a:pt x="219" y="213"/>
                  </a:lnTo>
                  <a:lnTo>
                    <a:pt x="219" y="221"/>
                  </a:lnTo>
                  <a:lnTo>
                    <a:pt x="185" y="221"/>
                  </a:lnTo>
                  <a:lnTo>
                    <a:pt x="185" y="230"/>
                  </a:lnTo>
                  <a:lnTo>
                    <a:pt x="185" y="247"/>
                  </a:lnTo>
                  <a:lnTo>
                    <a:pt x="177" y="264"/>
                  </a:lnTo>
                  <a:lnTo>
                    <a:pt x="160" y="289"/>
                  </a:lnTo>
                  <a:lnTo>
                    <a:pt x="143" y="306"/>
                  </a:lnTo>
                  <a:lnTo>
                    <a:pt x="126" y="298"/>
                  </a:lnTo>
                  <a:lnTo>
                    <a:pt x="118" y="298"/>
                  </a:lnTo>
                  <a:lnTo>
                    <a:pt x="93" y="331"/>
                  </a:lnTo>
                  <a:lnTo>
                    <a:pt x="101" y="348"/>
                  </a:lnTo>
                  <a:lnTo>
                    <a:pt x="93" y="357"/>
                  </a:lnTo>
                  <a:lnTo>
                    <a:pt x="84" y="374"/>
                  </a:lnTo>
                  <a:lnTo>
                    <a:pt x="93" y="416"/>
                  </a:lnTo>
                  <a:lnTo>
                    <a:pt x="76" y="425"/>
                  </a:lnTo>
                  <a:lnTo>
                    <a:pt x="67" y="425"/>
                  </a:lnTo>
                  <a:lnTo>
                    <a:pt x="51" y="433"/>
                  </a:lnTo>
                  <a:lnTo>
                    <a:pt x="51" y="459"/>
                  </a:lnTo>
                  <a:lnTo>
                    <a:pt x="51" y="476"/>
                  </a:lnTo>
                  <a:lnTo>
                    <a:pt x="67" y="501"/>
                  </a:lnTo>
                  <a:lnTo>
                    <a:pt x="76" y="510"/>
                  </a:lnTo>
                  <a:lnTo>
                    <a:pt x="76" y="535"/>
                  </a:lnTo>
                  <a:lnTo>
                    <a:pt x="67" y="535"/>
                  </a:lnTo>
                  <a:lnTo>
                    <a:pt x="59" y="544"/>
                  </a:lnTo>
                  <a:lnTo>
                    <a:pt x="42" y="544"/>
                  </a:lnTo>
                  <a:lnTo>
                    <a:pt x="25" y="569"/>
                  </a:lnTo>
                  <a:lnTo>
                    <a:pt x="34" y="578"/>
                  </a:lnTo>
                  <a:lnTo>
                    <a:pt x="25" y="586"/>
                  </a:lnTo>
                  <a:lnTo>
                    <a:pt x="0" y="612"/>
                  </a:lnTo>
                  <a:lnTo>
                    <a:pt x="25" y="637"/>
                  </a:lnTo>
                  <a:lnTo>
                    <a:pt x="42" y="637"/>
                  </a:lnTo>
                  <a:lnTo>
                    <a:pt x="76" y="629"/>
                  </a:lnTo>
                  <a:lnTo>
                    <a:pt x="110" y="620"/>
                  </a:lnTo>
                  <a:lnTo>
                    <a:pt x="135" y="654"/>
                  </a:lnTo>
                  <a:lnTo>
                    <a:pt x="135" y="679"/>
                  </a:lnTo>
                  <a:lnTo>
                    <a:pt x="135" y="688"/>
                  </a:lnTo>
                  <a:lnTo>
                    <a:pt x="143" y="696"/>
                  </a:lnTo>
                  <a:lnTo>
                    <a:pt x="160" y="722"/>
                  </a:lnTo>
                  <a:lnTo>
                    <a:pt x="135" y="756"/>
                  </a:lnTo>
                  <a:lnTo>
                    <a:pt x="152" y="790"/>
                  </a:lnTo>
                  <a:lnTo>
                    <a:pt x="160" y="790"/>
                  </a:lnTo>
                  <a:lnTo>
                    <a:pt x="185" y="807"/>
                  </a:lnTo>
                  <a:lnTo>
                    <a:pt x="194" y="807"/>
                  </a:lnTo>
                  <a:lnTo>
                    <a:pt x="194" y="790"/>
                  </a:lnTo>
                  <a:lnTo>
                    <a:pt x="211" y="781"/>
                  </a:lnTo>
                  <a:lnTo>
                    <a:pt x="219" y="798"/>
                  </a:lnTo>
                  <a:lnTo>
                    <a:pt x="236" y="815"/>
                  </a:lnTo>
                  <a:lnTo>
                    <a:pt x="245" y="815"/>
                  </a:lnTo>
                  <a:lnTo>
                    <a:pt x="261" y="832"/>
                  </a:lnTo>
                  <a:lnTo>
                    <a:pt x="245" y="849"/>
                  </a:lnTo>
                  <a:lnTo>
                    <a:pt x="253" y="858"/>
                  </a:lnTo>
                  <a:lnTo>
                    <a:pt x="261" y="849"/>
                  </a:lnTo>
                  <a:lnTo>
                    <a:pt x="278" y="841"/>
                  </a:lnTo>
                  <a:lnTo>
                    <a:pt x="278" y="832"/>
                  </a:lnTo>
                  <a:lnTo>
                    <a:pt x="320" y="824"/>
                  </a:lnTo>
                  <a:lnTo>
                    <a:pt x="320" y="798"/>
                  </a:lnTo>
                  <a:lnTo>
                    <a:pt x="304" y="79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mpd="sng" algn="ctr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79747" tIns="39873" rIns="79747" bIns="39873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de-DE" sz="1477" dirty="0"/>
            </a:p>
          </p:txBody>
        </p:sp>
        <p:sp>
          <p:nvSpPr>
            <p:cNvPr id="11" name="Hamburg">
              <a:extLst>
                <a:ext uri="{FF2B5EF4-FFF2-40B4-BE49-F238E27FC236}">
                  <a16:creationId xmlns:a16="http://schemas.microsoft.com/office/drawing/2014/main" id="{46642C9E-A6FB-4B29-87FC-F65A4495F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7737" y="2253195"/>
              <a:ext cx="200119" cy="202462"/>
            </a:xfrm>
            <a:custGeom>
              <a:avLst/>
              <a:gdLst>
                <a:gd name="T0" fmla="*/ 221902519 w 127"/>
                <a:gd name="T1" fmla="*/ 202244564 h 119"/>
                <a:gd name="T2" fmla="*/ 189875208 w 127"/>
                <a:gd name="T3" fmla="*/ 220424452 h 119"/>
                <a:gd name="T4" fmla="*/ 176149238 w 127"/>
                <a:gd name="T5" fmla="*/ 220424452 h 119"/>
                <a:gd name="T6" fmla="*/ 144121975 w 127"/>
                <a:gd name="T7" fmla="*/ 188611108 h 119"/>
                <a:gd name="T8" fmla="*/ 98368719 w 127"/>
                <a:gd name="T9" fmla="*/ 202244564 h 119"/>
                <a:gd name="T10" fmla="*/ 77780520 w 127"/>
                <a:gd name="T11" fmla="*/ 202244564 h 119"/>
                <a:gd name="T12" fmla="*/ 64054550 w 127"/>
                <a:gd name="T13" fmla="*/ 202244564 h 119"/>
                <a:gd name="T14" fmla="*/ 48040150 w 127"/>
                <a:gd name="T15" fmla="*/ 202244564 h 119"/>
                <a:gd name="T16" fmla="*/ 29738857 w 127"/>
                <a:gd name="T17" fmla="*/ 156796305 h 119"/>
                <a:gd name="T18" fmla="*/ 0 w 127"/>
                <a:gd name="T19" fmla="*/ 127254740 h 119"/>
                <a:gd name="T20" fmla="*/ 0 w 127"/>
                <a:gd name="T21" fmla="*/ 109076360 h 119"/>
                <a:gd name="T22" fmla="*/ 20588205 w 127"/>
                <a:gd name="T23" fmla="*/ 61354884 h 119"/>
                <a:gd name="T24" fmla="*/ 29738857 w 127"/>
                <a:gd name="T25" fmla="*/ 79534772 h 119"/>
                <a:gd name="T26" fmla="*/ 77780520 w 127"/>
                <a:gd name="T27" fmla="*/ 49993208 h 119"/>
                <a:gd name="T28" fmla="*/ 98368719 w 127"/>
                <a:gd name="T29" fmla="*/ 49993208 h 119"/>
                <a:gd name="T30" fmla="*/ 128109100 w 127"/>
                <a:gd name="T31" fmla="*/ 29541576 h 119"/>
                <a:gd name="T32" fmla="*/ 160136363 w 127"/>
                <a:gd name="T33" fmla="*/ 0 h 119"/>
                <a:gd name="T34" fmla="*/ 176149238 w 127"/>
                <a:gd name="T35" fmla="*/ 0 h 119"/>
                <a:gd name="T36" fmla="*/ 176149238 w 127"/>
                <a:gd name="T37" fmla="*/ 29541576 h 119"/>
                <a:gd name="T38" fmla="*/ 208176549 w 127"/>
                <a:gd name="T39" fmla="*/ 61354884 h 119"/>
                <a:gd name="T40" fmla="*/ 176149238 w 127"/>
                <a:gd name="T41" fmla="*/ 127254740 h 119"/>
                <a:gd name="T42" fmla="*/ 208176549 w 127"/>
                <a:gd name="T43" fmla="*/ 143162896 h 119"/>
                <a:gd name="T44" fmla="*/ 240203812 w 127"/>
                <a:gd name="T45" fmla="*/ 188611108 h 119"/>
                <a:gd name="T46" fmla="*/ 240203812 w 127"/>
                <a:gd name="T47" fmla="*/ 202244564 h 119"/>
                <a:gd name="T48" fmla="*/ 221902519 w 127"/>
                <a:gd name="T49" fmla="*/ 202244564 h 11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27"/>
                <a:gd name="T76" fmla="*/ 0 h 119"/>
                <a:gd name="T77" fmla="*/ 127 w 127"/>
                <a:gd name="T78" fmla="*/ 119 h 119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27" h="119">
                  <a:moveTo>
                    <a:pt x="118" y="110"/>
                  </a:moveTo>
                  <a:lnTo>
                    <a:pt x="101" y="119"/>
                  </a:lnTo>
                  <a:lnTo>
                    <a:pt x="93" y="119"/>
                  </a:lnTo>
                  <a:lnTo>
                    <a:pt x="76" y="102"/>
                  </a:lnTo>
                  <a:lnTo>
                    <a:pt x="51" y="110"/>
                  </a:lnTo>
                  <a:lnTo>
                    <a:pt x="42" y="110"/>
                  </a:lnTo>
                  <a:lnTo>
                    <a:pt x="34" y="110"/>
                  </a:lnTo>
                  <a:lnTo>
                    <a:pt x="25" y="110"/>
                  </a:lnTo>
                  <a:lnTo>
                    <a:pt x="17" y="85"/>
                  </a:lnTo>
                  <a:lnTo>
                    <a:pt x="0" y="68"/>
                  </a:lnTo>
                  <a:lnTo>
                    <a:pt x="0" y="60"/>
                  </a:lnTo>
                  <a:lnTo>
                    <a:pt x="9" y="34"/>
                  </a:lnTo>
                  <a:lnTo>
                    <a:pt x="17" y="43"/>
                  </a:lnTo>
                  <a:lnTo>
                    <a:pt x="42" y="26"/>
                  </a:lnTo>
                  <a:lnTo>
                    <a:pt x="51" y="26"/>
                  </a:lnTo>
                  <a:lnTo>
                    <a:pt x="68" y="17"/>
                  </a:lnTo>
                  <a:lnTo>
                    <a:pt x="85" y="0"/>
                  </a:lnTo>
                  <a:lnTo>
                    <a:pt x="93" y="0"/>
                  </a:lnTo>
                  <a:lnTo>
                    <a:pt x="93" y="17"/>
                  </a:lnTo>
                  <a:lnTo>
                    <a:pt x="110" y="34"/>
                  </a:lnTo>
                  <a:lnTo>
                    <a:pt x="93" y="68"/>
                  </a:lnTo>
                  <a:lnTo>
                    <a:pt x="110" y="77"/>
                  </a:lnTo>
                  <a:lnTo>
                    <a:pt x="127" y="102"/>
                  </a:lnTo>
                  <a:lnTo>
                    <a:pt x="127" y="110"/>
                  </a:lnTo>
                  <a:lnTo>
                    <a:pt x="118" y="11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mpd="sng" algn="ctr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79747" tIns="39873" rIns="79747" bIns="39873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de-DE" sz="1477" dirty="0"/>
            </a:p>
          </p:txBody>
        </p:sp>
        <p:sp>
          <p:nvSpPr>
            <p:cNvPr id="20" name="Bremen">
              <a:extLst>
                <a:ext uri="{FF2B5EF4-FFF2-40B4-BE49-F238E27FC236}">
                  <a16:creationId xmlns:a16="http://schemas.microsoft.com/office/drawing/2014/main" id="{1405E5DB-FE11-4EF0-89E1-CF1E49F5BC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1111" y="2572117"/>
              <a:ext cx="158773" cy="129003"/>
            </a:xfrm>
            <a:custGeom>
              <a:avLst/>
              <a:gdLst>
                <a:gd name="T0" fmla="*/ 154823311 w 101"/>
                <a:gd name="T1" fmla="*/ 61070790 h 76"/>
                <a:gd name="T2" fmla="*/ 173037369 w 101"/>
                <a:gd name="T3" fmla="*/ 47499162 h 76"/>
                <a:gd name="T4" fmla="*/ 186699044 w 101"/>
                <a:gd name="T5" fmla="*/ 61070790 h 76"/>
                <a:gd name="T6" fmla="*/ 173037369 w 101"/>
                <a:gd name="T7" fmla="*/ 137973627 h 76"/>
                <a:gd name="T8" fmla="*/ 154823311 w 101"/>
                <a:gd name="T9" fmla="*/ 137973627 h 76"/>
                <a:gd name="T10" fmla="*/ 141161636 w 101"/>
                <a:gd name="T11" fmla="*/ 137973627 h 76"/>
                <a:gd name="T12" fmla="*/ 109287412 w 101"/>
                <a:gd name="T13" fmla="*/ 124402012 h 76"/>
                <a:gd name="T14" fmla="*/ 95625713 w 101"/>
                <a:gd name="T15" fmla="*/ 124402012 h 76"/>
                <a:gd name="T16" fmla="*/ 77411656 w 101"/>
                <a:gd name="T17" fmla="*/ 124402012 h 76"/>
                <a:gd name="T18" fmla="*/ 63751489 w 101"/>
                <a:gd name="T19" fmla="*/ 76902837 h 76"/>
                <a:gd name="T20" fmla="*/ 47812857 w 101"/>
                <a:gd name="T21" fmla="*/ 47499162 h 76"/>
                <a:gd name="T22" fmla="*/ 0 w 101"/>
                <a:gd name="T23" fmla="*/ 18095493 h 76"/>
                <a:gd name="T24" fmla="*/ 0 w 101"/>
                <a:gd name="T25" fmla="*/ 0 h 76"/>
                <a:gd name="T26" fmla="*/ 63751489 w 101"/>
                <a:gd name="T27" fmla="*/ 18095493 h 76"/>
                <a:gd name="T28" fmla="*/ 95625713 w 101"/>
                <a:gd name="T29" fmla="*/ 18095493 h 76"/>
                <a:gd name="T30" fmla="*/ 154823311 w 101"/>
                <a:gd name="T31" fmla="*/ 61070790 h 7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01"/>
                <a:gd name="T49" fmla="*/ 0 h 76"/>
                <a:gd name="T50" fmla="*/ 101 w 101"/>
                <a:gd name="T51" fmla="*/ 76 h 7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01" h="76">
                  <a:moveTo>
                    <a:pt x="84" y="34"/>
                  </a:moveTo>
                  <a:lnTo>
                    <a:pt x="93" y="25"/>
                  </a:lnTo>
                  <a:lnTo>
                    <a:pt x="101" y="34"/>
                  </a:lnTo>
                  <a:lnTo>
                    <a:pt x="93" y="76"/>
                  </a:lnTo>
                  <a:lnTo>
                    <a:pt x="84" y="76"/>
                  </a:lnTo>
                  <a:lnTo>
                    <a:pt x="76" y="76"/>
                  </a:lnTo>
                  <a:lnTo>
                    <a:pt x="59" y="68"/>
                  </a:lnTo>
                  <a:lnTo>
                    <a:pt x="51" y="68"/>
                  </a:lnTo>
                  <a:lnTo>
                    <a:pt x="42" y="68"/>
                  </a:lnTo>
                  <a:lnTo>
                    <a:pt x="34" y="42"/>
                  </a:lnTo>
                  <a:lnTo>
                    <a:pt x="25" y="25"/>
                  </a:lnTo>
                  <a:lnTo>
                    <a:pt x="0" y="8"/>
                  </a:lnTo>
                  <a:lnTo>
                    <a:pt x="0" y="0"/>
                  </a:lnTo>
                  <a:lnTo>
                    <a:pt x="34" y="8"/>
                  </a:lnTo>
                  <a:lnTo>
                    <a:pt x="51" y="8"/>
                  </a:lnTo>
                  <a:lnTo>
                    <a:pt x="84" y="34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mpd="sng" algn="ctr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79747" tIns="39873" rIns="79747" bIns="39873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de-DE" sz="1477" dirty="0"/>
            </a:p>
          </p:txBody>
        </p:sp>
        <p:sp>
          <p:nvSpPr>
            <p:cNvPr id="13" name="Brandenburg">
              <a:extLst>
                <a:ext uri="{FF2B5EF4-FFF2-40B4-BE49-F238E27FC236}">
                  <a16:creationId xmlns:a16="http://schemas.microsoft.com/office/drawing/2014/main" id="{F16D8F6A-38B1-473D-9B56-E8332E2A1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3440" y="2369657"/>
              <a:ext cx="1299950" cy="1298985"/>
            </a:xfrm>
            <a:custGeom>
              <a:avLst/>
              <a:gdLst>
                <a:gd name="T0" fmla="*/ 1267992881 w 827"/>
                <a:gd name="T1" fmla="*/ 297296022 h 764"/>
                <a:gd name="T2" fmla="*/ 1222463440 w 827"/>
                <a:gd name="T3" fmla="*/ 358569893 h 764"/>
                <a:gd name="T4" fmla="*/ 1222463440 w 827"/>
                <a:gd name="T5" fmla="*/ 437999748 h 764"/>
                <a:gd name="T6" fmla="*/ 1254333747 w 827"/>
                <a:gd name="T7" fmla="*/ 451616666 h 764"/>
                <a:gd name="T8" fmla="*/ 1377262934 w 827"/>
                <a:gd name="T9" fmla="*/ 562819236 h 764"/>
                <a:gd name="T10" fmla="*/ 1427345922 w 827"/>
                <a:gd name="T11" fmla="*/ 610476189 h 764"/>
                <a:gd name="T12" fmla="*/ 1441003548 w 827"/>
                <a:gd name="T13" fmla="*/ 669481326 h 764"/>
                <a:gd name="T14" fmla="*/ 1409133241 w 827"/>
                <a:gd name="T15" fmla="*/ 717139786 h 764"/>
                <a:gd name="T16" fmla="*/ 1427345922 w 827"/>
                <a:gd name="T17" fmla="*/ 812455386 h 764"/>
                <a:gd name="T18" fmla="*/ 1488809762 w 827"/>
                <a:gd name="T19" fmla="*/ 860113845 h 764"/>
                <a:gd name="T20" fmla="*/ 1472875363 w 827"/>
                <a:gd name="T21" fmla="*/ 921389223 h 764"/>
                <a:gd name="T22" fmla="*/ 1504745670 w 827"/>
                <a:gd name="T23" fmla="*/ 1046207204 h 764"/>
                <a:gd name="T24" fmla="*/ 1459216229 w 827"/>
                <a:gd name="T25" fmla="*/ 1141522616 h 764"/>
                <a:gd name="T26" fmla="*/ 1504745670 w 827"/>
                <a:gd name="T27" fmla="*/ 1218683644 h 764"/>
                <a:gd name="T28" fmla="*/ 1536615976 w 827"/>
                <a:gd name="T29" fmla="*/ 1279959021 h 764"/>
                <a:gd name="T30" fmla="*/ 1459216229 w 827"/>
                <a:gd name="T31" fmla="*/ 1298113405 h 764"/>
                <a:gd name="T32" fmla="*/ 1409133241 w 827"/>
                <a:gd name="T33" fmla="*/ 1327615974 h 764"/>
                <a:gd name="T34" fmla="*/ 1318074360 w 827"/>
                <a:gd name="T35" fmla="*/ 1343503132 h 764"/>
                <a:gd name="T36" fmla="*/ 1254333747 w 827"/>
                <a:gd name="T37" fmla="*/ 1357118543 h 764"/>
                <a:gd name="T38" fmla="*/ 1254333747 w 827"/>
                <a:gd name="T39" fmla="*/ 1407045735 h 764"/>
                <a:gd name="T40" fmla="*/ 1129127785 w 827"/>
                <a:gd name="T41" fmla="*/ 1407045735 h 764"/>
                <a:gd name="T42" fmla="*/ 1113193387 w 827"/>
                <a:gd name="T43" fmla="*/ 1357118543 h 764"/>
                <a:gd name="T44" fmla="*/ 1033516866 w 827"/>
                <a:gd name="T45" fmla="*/ 1357118543 h 764"/>
                <a:gd name="T46" fmla="*/ 937904437 w 827"/>
                <a:gd name="T47" fmla="*/ 1298113405 h 764"/>
                <a:gd name="T48" fmla="*/ 972051518 w 827"/>
                <a:gd name="T49" fmla="*/ 1171025185 h 764"/>
                <a:gd name="T50" fmla="*/ 860504690 w 827"/>
                <a:gd name="T51" fmla="*/ 1123368232 h 764"/>
                <a:gd name="T52" fmla="*/ 721640915 w 827"/>
                <a:gd name="T53" fmla="*/ 1046207204 h 764"/>
                <a:gd name="T54" fmla="*/ 564564647 w 827"/>
                <a:gd name="T55" fmla="*/ 1062092855 h 764"/>
                <a:gd name="T56" fmla="*/ 439358686 w 827"/>
                <a:gd name="T57" fmla="*/ 984933333 h 764"/>
                <a:gd name="T58" fmla="*/ 500822525 w 827"/>
                <a:gd name="T59" fmla="*/ 953160525 h 764"/>
                <a:gd name="T60" fmla="*/ 519035207 w 827"/>
                <a:gd name="T61" fmla="*/ 873730763 h 764"/>
                <a:gd name="T62" fmla="*/ 519035207 w 827"/>
                <a:gd name="T63" fmla="*/ 844228194 h 764"/>
                <a:gd name="T64" fmla="*/ 468952219 w 827"/>
                <a:gd name="T65" fmla="*/ 780683896 h 764"/>
                <a:gd name="T66" fmla="*/ 487164900 w 827"/>
                <a:gd name="T67" fmla="*/ 717139786 h 764"/>
                <a:gd name="T68" fmla="*/ 455293085 w 827"/>
                <a:gd name="T69" fmla="*/ 626363346 h 764"/>
                <a:gd name="T70" fmla="*/ 393829151 w 827"/>
                <a:gd name="T71" fmla="*/ 515160776 h 764"/>
                <a:gd name="T72" fmla="*/ 314152630 w 827"/>
                <a:gd name="T73" fmla="*/ 469772557 h 764"/>
                <a:gd name="T74" fmla="*/ 236752883 w 827"/>
                <a:gd name="T75" fmla="*/ 406228446 h 764"/>
                <a:gd name="T76" fmla="*/ 157076315 w 827"/>
                <a:gd name="T77" fmla="*/ 358569893 h 764"/>
                <a:gd name="T78" fmla="*/ 127482782 w 827"/>
                <a:gd name="T79" fmla="*/ 342684242 h 764"/>
                <a:gd name="T80" fmla="*/ 79676544 w 827"/>
                <a:gd name="T81" fmla="*/ 326798591 h 764"/>
                <a:gd name="T82" fmla="*/ 20487952 w 827"/>
                <a:gd name="T83" fmla="*/ 326798591 h 764"/>
                <a:gd name="T84" fmla="*/ 50083012 w 827"/>
                <a:gd name="T85" fmla="*/ 297296022 h 764"/>
                <a:gd name="T86" fmla="*/ 173012223 w 827"/>
                <a:gd name="T87" fmla="*/ 220134994 h 764"/>
                <a:gd name="T88" fmla="*/ 236752883 w 827"/>
                <a:gd name="T89" fmla="*/ 201979103 h 764"/>
                <a:gd name="T90" fmla="*/ 282282324 w 827"/>
                <a:gd name="T91" fmla="*/ 156590836 h 764"/>
                <a:gd name="T92" fmla="*/ 327811764 w 827"/>
                <a:gd name="T93" fmla="*/ 106663644 h 764"/>
                <a:gd name="T94" fmla="*/ 393829151 w 827"/>
                <a:gd name="T95" fmla="*/ 127088268 h 764"/>
                <a:gd name="T96" fmla="*/ 487164900 w 827"/>
                <a:gd name="T97" fmla="*/ 172476487 h 764"/>
                <a:gd name="T98" fmla="*/ 610094088 w 827"/>
                <a:gd name="T99" fmla="*/ 201979103 h 764"/>
                <a:gd name="T100" fmla="*/ 801316116 w 827"/>
                <a:gd name="T101" fmla="*/ 265523214 h 764"/>
                <a:gd name="T102" fmla="*/ 753511222 w 827"/>
                <a:gd name="T103" fmla="*/ 188362138 h 764"/>
                <a:gd name="T104" fmla="*/ 880992637 w 827"/>
                <a:gd name="T105" fmla="*/ 156590836 h 764"/>
                <a:gd name="T106" fmla="*/ 972051518 w 827"/>
                <a:gd name="T107" fmla="*/ 47658471 h 764"/>
                <a:gd name="T108" fmla="*/ 1081323080 w 827"/>
                <a:gd name="T109" fmla="*/ 0 h 764"/>
                <a:gd name="T110" fmla="*/ 1190593134 w 827"/>
                <a:gd name="T111" fmla="*/ 20424629 h 764"/>
                <a:gd name="T112" fmla="*/ 1286204053 w 827"/>
                <a:gd name="T113" fmla="*/ 95315436 h 764"/>
                <a:gd name="T114" fmla="*/ 1254333747 w 827"/>
                <a:gd name="T115" fmla="*/ 188362138 h 764"/>
                <a:gd name="T116" fmla="*/ 1299863187 w 827"/>
                <a:gd name="T117" fmla="*/ 281408865 h 7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827"/>
                <a:gd name="T178" fmla="*/ 0 h 764"/>
                <a:gd name="T179" fmla="*/ 827 w 827"/>
                <a:gd name="T180" fmla="*/ 764 h 7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827" h="764">
                  <a:moveTo>
                    <a:pt x="700" y="153"/>
                  </a:moveTo>
                  <a:lnTo>
                    <a:pt x="683" y="161"/>
                  </a:lnTo>
                  <a:lnTo>
                    <a:pt x="658" y="187"/>
                  </a:lnTo>
                  <a:lnTo>
                    <a:pt x="658" y="195"/>
                  </a:lnTo>
                  <a:lnTo>
                    <a:pt x="658" y="221"/>
                  </a:lnTo>
                  <a:lnTo>
                    <a:pt x="658" y="238"/>
                  </a:lnTo>
                  <a:lnTo>
                    <a:pt x="658" y="246"/>
                  </a:lnTo>
                  <a:lnTo>
                    <a:pt x="675" y="246"/>
                  </a:lnTo>
                  <a:lnTo>
                    <a:pt x="709" y="280"/>
                  </a:lnTo>
                  <a:lnTo>
                    <a:pt x="742" y="306"/>
                  </a:lnTo>
                  <a:lnTo>
                    <a:pt x="759" y="323"/>
                  </a:lnTo>
                  <a:lnTo>
                    <a:pt x="768" y="331"/>
                  </a:lnTo>
                  <a:lnTo>
                    <a:pt x="768" y="357"/>
                  </a:lnTo>
                  <a:lnTo>
                    <a:pt x="776" y="365"/>
                  </a:lnTo>
                  <a:lnTo>
                    <a:pt x="768" y="373"/>
                  </a:lnTo>
                  <a:lnTo>
                    <a:pt x="759" y="390"/>
                  </a:lnTo>
                  <a:lnTo>
                    <a:pt x="759" y="399"/>
                  </a:lnTo>
                  <a:lnTo>
                    <a:pt x="768" y="441"/>
                  </a:lnTo>
                  <a:lnTo>
                    <a:pt x="802" y="458"/>
                  </a:lnTo>
                  <a:lnTo>
                    <a:pt x="802" y="467"/>
                  </a:lnTo>
                  <a:lnTo>
                    <a:pt x="802" y="492"/>
                  </a:lnTo>
                  <a:lnTo>
                    <a:pt x="793" y="501"/>
                  </a:lnTo>
                  <a:lnTo>
                    <a:pt x="818" y="526"/>
                  </a:lnTo>
                  <a:lnTo>
                    <a:pt x="810" y="569"/>
                  </a:lnTo>
                  <a:lnTo>
                    <a:pt x="810" y="577"/>
                  </a:lnTo>
                  <a:lnTo>
                    <a:pt x="785" y="620"/>
                  </a:lnTo>
                  <a:lnTo>
                    <a:pt x="802" y="645"/>
                  </a:lnTo>
                  <a:lnTo>
                    <a:pt x="810" y="662"/>
                  </a:lnTo>
                  <a:lnTo>
                    <a:pt x="827" y="679"/>
                  </a:lnTo>
                  <a:lnTo>
                    <a:pt x="827" y="696"/>
                  </a:lnTo>
                  <a:lnTo>
                    <a:pt x="802" y="713"/>
                  </a:lnTo>
                  <a:lnTo>
                    <a:pt x="785" y="705"/>
                  </a:lnTo>
                  <a:lnTo>
                    <a:pt x="768" y="721"/>
                  </a:lnTo>
                  <a:lnTo>
                    <a:pt x="759" y="721"/>
                  </a:lnTo>
                  <a:lnTo>
                    <a:pt x="734" y="730"/>
                  </a:lnTo>
                  <a:lnTo>
                    <a:pt x="709" y="730"/>
                  </a:lnTo>
                  <a:lnTo>
                    <a:pt x="700" y="721"/>
                  </a:lnTo>
                  <a:lnTo>
                    <a:pt x="675" y="738"/>
                  </a:lnTo>
                  <a:lnTo>
                    <a:pt x="683" y="755"/>
                  </a:lnTo>
                  <a:lnTo>
                    <a:pt x="675" y="764"/>
                  </a:lnTo>
                  <a:lnTo>
                    <a:pt x="650" y="738"/>
                  </a:lnTo>
                  <a:lnTo>
                    <a:pt x="608" y="764"/>
                  </a:lnTo>
                  <a:lnTo>
                    <a:pt x="608" y="755"/>
                  </a:lnTo>
                  <a:lnTo>
                    <a:pt x="599" y="738"/>
                  </a:lnTo>
                  <a:lnTo>
                    <a:pt x="591" y="738"/>
                  </a:lnTo>
                  <a:lnTo>
                    <a:pt x="557" y="738"/>
                  </a:lnTo>
                  <a:lnTo>
                    <a:pt x="532" y="738"/>
                  </a:lnTo>
                  <a:lnTo>
                    <a:pt x="506" y="705"/>
                  </a:lnTo>
                  <a:lnTo>
                    <a:pt x="540" y="671"/>
                  </a:lnTo>
                  <a:lnTo>
                    <a:pt x="523" y="637"/>
                  </a:lnTo>
                  <a:lnTo>
                    <a:pt x="473" y="628"/>
                  </a:lnTo>
                  <a:lnTo>
                    <a:pt x="464" y="611"/>
                  </a:lnTo>
                  <a:lnTo>
                    <a:pt x="439" y="611"/>
                  </a:lnTo>
                  <a:lnTo>
                    <a:pt x="388" y="569"/>
                  </a:lnTo>
                  <a:lnTo>
                    <a:pt x="371" y="569"/>
                  </a:lnTo>
                  <a:lnTo>
                    <a:pt x="304" y="577"/>
                  </a:lnTo>
                  <a:lnTo>
                    <a:pt x="262" y="569"/>
                  </a:lnTo>
                  <a:lnTo>
                    <a:pt x="237" y="535"/>
                  </a:lnTo>
                  <a:lnTo>
                    <a:pt x="245" y="526"/>
                  </a:lnTo>
                  <a:lnTo>
                    <a:pt x="270" y="518"/>
                  </a:lnTo>
                  <a:lnTo>
                    <a:pt x="287" y="501"/>
                  </a:lnTo>
                  <a:lnTo>
                    <a:pt x="279" y="475"/>
                  </a:lnTo>
                  <a:lnTo>
                    <a:pt x="287" y="458"/>
                  </a:lnTo>
                  <a:lnTo>
                    <a:pt x="279" y="458"/>
                  </a:lnTo>
                  <a:lnTo>
                    <a:pt x="262" y="441"/>
                  </a:lnTo>
                  <a:lnTo>
                    <a:pt x="253" y="424"/>
                  </a:lnTo>
                  <a:lnTo>
                    <a:pt x="262" y="407"/>
                  </a:lnTo>
                  <a:lnTo>
                    <a:pt x="262" y="390"/>
                  </a:lnTo>
                  <a:lnTo>
                    <a:pt x="237" y="373"/>
                  </a:lnTo>
                  <a:lnTo>
                    <a:pt x="245" y="340"/>
                  </a:lnTo>
                  <a:lnTo>
                    <a:pt x="211" y="306"/>
                  </a:lnTo>
                  <a:lnTo>
                    <a:pt x="211" y="280"/>
                  </a:lnTo>
                  <a:lnTo>
                    <a:pt x="177" y="272"/>
                  </a:lnTo>
                  <a:lnTo>
                    <a:pt x="169" y="255"/>
                  </a:lnTo>
                  <a:lnTo>
                    <a:pt x="135" y="238"/>
                  </a:lnTo>
                  <a:lnTo>
                    <a:pt x="127" y="221"/>
                  </a:lnTo>
                  <a:lnTo>
                    <a:pt x="102" y="212"/>
                  </a:lnTo>
                  <a:lnTo>
                    <a:pt x="85" y="195"/>
                  </a:lnTo>
                  <a:lnTo>
                    <a:pt x="68" y="195"/>
                  </a:lnTo>
                  <a:lnTo>
                    <a:pt x="68" y="187"/>
                  </a:lnTo>
                  <a:lnTo>
                    <a:pt x="59" y="187"/>
                  </a:lnTo>
                  <a:lnTo>
                    <a:pt x="43" y="178"/>
                  </a:lnTo>
                  <a:lnTo>
                    <a:pt x="34" y="170"/>
                  </a:lnTo>
                  <a:lnTo>
                    <a:pt x="9" y="178"/>
                  </a:lnTo>
                  <a:lnTo>
                    <a:pt x="0" y="170"/>
                  </a:lnTo>
                  <a:lnTo>
                    <a:pt x="26" y="161"/>
                  </a:lnTo>
                  <a:lnTo>
                    <a:pt x="51" y="136"/>
                  </a:lnTo>
                  <a:lnTo>
                    <a:pt x="93" y="119"/>
                  </a:lnTo>
                  <a:lnTo>
                    <a:pt x="110" y="127"/>
                  </a:lnTo>
                  <a:lnTo>
                    <a:pt x="127" y="110"/>
                  </a:lnTo>
                  <a:lnTo>
                    <a:pt x="144" y="93"/>
                  </a:lnTo>
                  <a:lnTo>
                    <a:pt x="152" y="85"/>
                  </a:lnTo>
                  <a:lnTo>
                    <a:pt x="161" y="68"/>
                  </a:lnTo>
                  <a:lnTo>
                    <a:pt x="177" y="59"/>
                  </a:lnTo>
                  <a:lnTo>
                    <a:pt x="194" y="68"/>
                  </a:lnTo>
                  <a:lnTo>
                    <a:pt x="211" y="68"/>
                  </a:lnTo>
                  <a:lnTo>
                    <a:pt x="228" y="76"/>
                  </a:lnTo>
                  <a:lnTo>
                    <a:pt x="262" y="93"/>
                  </a:lnTo>
                  <a:lnTo>
                    <a:pt x="270" y="93"/>
                  </a:lnTo>
                  <a:lnTo>
                    <a:pt x="329" y="110"/>
                  </a:lnTo>
                  <a:lnTo>
                    <a:pt x="355" y="127"/>
                  </a:lnTo>
                  <a:lnTo>
                    <a:pt x="430" y="144"/>
                  </a:lnTo>
                  <a:lnTo>
                    <a:pt x="439" y="127"/>
                  </a:lnTo>
                  <a:lnTo>
                    <a:pt x="405" y="102"/>
                  </a:lnTo>
                  <a:lnTo>
                    <a:pt x="439" y="85"/>
                  </a:lnTo>
                  <a:lnTo>
                    <a:pt x="473" y="85"/>
                  </a:lnTo>
                  <a:lnTo>
                    <a:pt x="506" y="68"/>
                  </a:lnTo>
                  <a:lnTo>
                    <a:pt x="523" y="25"/>
                  </a:lnTo>
                  <a:lnTo>
                    <a:pt x="549" y="9"/>
                  </a:lnTo>
                  <a:lnTo>
                    <a:pt x="582" y="0"/>
                  </a:lnTo>
                  <a:lnTo>
                    <a:pt x="624" y="17"/>
                  </a:lnTo>
                  <a:lnTo>
                    <a:pt x="641" y="9"/>
                  </a:lnTo>
                  <a:lnTo>
                    <a:pt x="675" y="25"/>
                  </a:lnTo>
                  <a:lnTo>
                    <a:pt x="692" y="51"/>
                  </a:lnTo>
                  <a:lnTo>
                    <a:pt x="675" y="76"/>
                  </a:lnTo>
                  <a:lnTo>
                    <a:pt x="675" y="102"/>
                  </a:lnTo>
                  <a:lnTo>
                    <a:pt x="700" y="110"/>
                  </a:lnTo>
                  <a:lnTo>
                    <a:pt x="700" y="153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mpd="sng" algn="ctr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79747" tIns="39873" rIns="79747" bIns="39873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de-DE" sz="1477" dirty="0"/>
            </a:p>
          </p:txBody>
        </p:sp>
        <p:sp>
          <p:nvSpPr>
            <p:cNvPr id="14" name="Berlin">
              <a:extLst>
                <a:ext uri="{FF2B5EF4-FFF2-40B4-BE49-F238E27FC236}">
                  <a16:creationId xmlns:a16="http://schemas.microsoft.com/office/drawing/2014/main" id="{AC8907E8-AFD4-4CF7-A0EA-850F6AAC0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6645" y="2889251"/>
              <a:ext cx="239811" cy="216796"/>
            </a:xfrm>
            <a:custGeom>
              <a:avLst/>
              <a:gdLst>
                <a:gd name="T0" fmla="*/ 160535728 w 152"/>
                <a:gd name="T1" fmla="*/ 0 h 127"/>
                <a:gd name="T2" fmla="*/ 176589751 w 152"/>
                <a:gd name="T3" fmla="*/ 29738857 h 127"/>
                <a:gd name="T4" fmla="*/ 176589751 w 152"/>
                <a:gd name="T5" fmla="*/ 77780520 h 127"/>
                <a:gd name="T6" fmla="*/ 192643773 w 152"/>
                <a:gd name="T7" fmla="*/ 77780520 h 127"/>
                <a:gd name="T8" fmla="*/ 224750351 w 152"/>
                <a:gd name="T9" fmla="*/ 77780520 h 127"/>
                <a:gd name="T10" fmla="*/ 240804373 w 152"/>
                <a:gd name="T11" fmla="*/ 109807807 h 127"/>
                <a:gd name="T12" fmla="*/ 240804373 w 152"/>
                <a:gd name="T13" fmla="*/ 125820682 h 127"/>
                <a:gd name="T14" fmla="*/ 270618121 w 152"/>
                <a:gd name="T15" fmla="*/ 144121975 h 127"/>
                <a:gd name="T16" fmla="*/ 288964926 w 152"/>
                <a:gd name="T17" fmla="*/ 157847945 h 127"/>
                <a:gd name="T18" fmla="*/ 256856881 w 152"/>
                <a:gd name="T19" fmla="*/ 240203812 h 127"/>
                <a:gd name="T20" fmla="*/ 256856881 w 152"/>
                <a:gd name="T21" fmla="*/ 221902519 h 127"/>
                <a:gd name="T22" fmla="*/ 240804373 w 152"/>
                <a:gd name="T23" fmla="*/ 208176549 h 127"/>
                <a:gd name="T24" fmla="*/ 224750351 w 152"/>
                <a:gd name="T25" fmla="*/ 208176549 h 127"/>
                <a:gd name="T26" fmla="*/ 192643773 w 152"/>
                <a:gd name="T27" fmla="*/ 208176549 h 127"/>
                <a:gd name="T28" fmla="*/ 160535728 w 152"/>
                <a:gd name="T29" fmla="*/ 208176549 h 127"/>
                <a:gd name="T30" fmla="*/ 146776003 w 152"/>
                <a:gd name="T31" fmla="*/ 221902519 h 127"/>
                <a:gd name="T32" fmla="*/ 112375175 w 152"/>
                <a:gd name="T33" fmla="*/ 221902519 h 127"/>
                <a:gd name="T34" fmla="*/ 66507382 w 152"/>
                <a:gd name="T35" fmla="*/ 208176549 h 127"/>
                <a:gd name="T36" fmla="*/ 29813760 w 152"/>
                <a:gd name="T37" fmla="*/ 208176549 h 127"/>
                <a:gd name="T38" fmla="*/ 0 w 152"/>
                <a:gd name="T39" fmla="*/ 208176549 h 127"/>
                <a:gd name="T40" fmla="*/ 0 w 152"/>
                <a:gd name="T41" fmla="*/ 176149238 h 127"/>
                <a:gd name="T42" fmla="*/ 29813760 w 152"/>
                <a:gd name="T43" fmla="*/ 144121975 h 127"/>
                <a:gd name="T44" fmla="*/ 29813760 w 152"/>
                <a:gd name="T45" fmla="*/ 77780520 h 127"/>
                <a:gd name="T46" fmla="*/ 48160565 w 152"/>
                <a:gd name="T47" fmla="*/ 77780520 h 127"/>
                <a:gd name="T48" fmla="*/ 66507382 w 152"/>
                <a:gd name="T49" fmla="*/ 29738857 h 127"/>
                <a:gd name="T50" fmla="*/ 112375175 w 152"/>
                <a:gd name="T51" fmla="*/ 48040150 h 127"/>
                <a:gd name="T52" fmla="*/ 160535728 w 152"/>
                <a:gd name="T53" fmla="*/ 0 h 127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52"/>
                <a:gd name="T82" fmla="*/ 0 h 127"/>
                <a:gd name="T83" fmla="*/ 152 w 152"/>
                <a:gd name="T84" fmla="*/ 127 h 127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52" h="127">
                  <a:moveTo>
                    <a:pt x="84" y="0"/>
                  </a:moveTo>
                  <a:lnTo>
                    <a:pt x="93" y="17"/>
                  </a:lnTo>
                  <a:lnTo>
                    <a:pt x="93" y="42"/>
                  </a:lnTo>
                  <a:lnTo>
                    <a:pt x="101" y="42"/>
                  </a:lnTo>
                  <a:lnTo>
                    <a:pt x="118" y="42"/>
                  </a:lnTo>
                  <a:lnTo>
                    <a:pt x="127" y="59"/>
                  </a:lnTo>
                  <a:lnTo>
                    <a:pt x="127" y="67"/>
                  </a:lnTo>
                  <a:lnTo>
                    <a:pt x="143" y="76"/>
                  </a:lnTo>
                  <a:lnTo>
                    <a:pt x="152" y="84"/>
                  </a:lnTo>
                  <a:lnTo>
                    <a:pt x="135" y="127"/>
                  </a:lnTo>
                  <a:lnTo>
                    <a:pt x="135" y="118"/>
                  </a:lnTo>
                  <a:lnTo>
                    <a:pt x="127" y="110"/>
                  </a:lnTo>
                  <a:lnTo>
                    <a:pt x="118" y="110"/>
                  </a:lnTo>
                  <a:lnTo>
                    <a:pt x="101" y="110"/>
                  </a:lnTo>
                  <a:lnTo>
                    <a:pt x="84" y="110"/>
                  </a:lnTo>
                  <a:lnTo>
                    <a:pt x="76" y="118"/>
                  </a:lnTo>
                  <a:lnTo>
                    <a:pt x="59" y="118"/>
                  </a:lnTo>
                  <a:lnTo>
                    <a:pt x="34" y="110"/>
                  </a:lnTo>
                  <a:lnTo>
                    <a:pt x="17" y="110"/>
                  </a:lnTo>
                  <a:lnTo>
                    <a:pt x="0" y="110"/>
                  </a:lnTo>
                  <a:lnTo>
                    <a:pt x="0" y="93"/>
                  </a:lnTo>
                  <a:lnTo>
                    <a:pt x="17" y="76"/>
                  </a:lnTo>
                  <a:lnTo>
                    <a:pt x="17" y="42"/>
                  </a:lnTo>
                  <a:lnTo>
                    <a:pt x="25" y="42"/>
                  </a:lnTo>
                  <a:lnTo>
                    <a:pt x="34" y="17"/>
                  </a:lnTo>
                  <a:lnTo>
                    <a:pt x="59" y="25"/>
                  </a:lnTo>
                  <a:lnTo>
                    <a:pt x="84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mpd="sng" algn="ctr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79747" tIns="39873" rIns="79747" bIns="39873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de-DE" sz="1477" dirty="0"/>
            </a:p>
          </p:txBody>
        </p:sp>
        <p:sp>
          <p:nvSpPr>
            <p:cNvPr id="19" name="Berlin">
              <a:extLst>
                <a:ext uri="{FF2B5EF4-FFF2-40B4-BE49-F238E27FC236}">
                  <a16:creationId xmlns:a16="http://schemas.microsoft.com/office/drawing/2014/main" id="{4259EF8D-FADE-438D-A9FE-F352BF2B7C1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2494" y="2960917"/>
              <a:ext cx="52924" cy="59127"/>
            </a:xfrm>
            <a:custGeom>
              <a:avLst/>
              <a:gdLst>
                <a:gd name="T0" fmla="*/ 17859186 w 34"/>
                <a:gd name="T1" fmla="*/ 71223019 h 34"/>
                <a:gd name="T2" fmla="*/ 17859186 w 34"/>
                <a:gd name="T3" fmla="*/ 40360325 h 34"/>
                <a:gd name="T4" fmla="*/ 0 w 34"/>
                <a:gd name="T5" fmla="*/ 40360325 h 34"/>
                <a:gd name="T6" fmla="*/ 17859186 w 34"/>
                <a:gd name="T7" fmla="*/ 40360325 h 34"/>
                <a:gd name="T8" fmla="*/ 17859186 w 34"/>
                <a:gd name="T9" fmla="*/ 0 h 34"/>
                <a:gd name="T10" fmla="*/ 29021740 w 34"/>
                <a:gd name="T11" fmla="*/ 40360325 h 34"/>
                <a:gd name="T12" fmla="*/ 58041986 w 34"/>
                <a:gd name="T13" fmla="*/ 40360325 h 34"/>
                <a:gd name="T14" fmla="*/ 29021740 w 34"/>
                <a:gd name="T15" fmla="*/ 40360325 h 34"/>
                <a:gd name="T16" fmla="*/ 46879426 w 34"/>
                <a:gd name="T17" fmla="*/ 71223019 h 34"/>
                <a:gd name="T18" fmla="*/ 17859186 w 34"/>
                <a:gd name="T19" fmla="*/ 49856417 h 34"/>
                <a:gd name="T20" fmla="*/ 17859186 w 34"/>
                <a:gd name="T21" fmla="*/ 71223019 h 3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4"/>
                <a:gd name="T34" fmla="*/ 0 h 34"/>
                <a:gd name="T35" fmla="*/ 34 w 34"/>
                <a:gd name="T36" fmla="*/ 34 h 3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4" h="34">
                  <a:moveTo>
                    <a:pt x="9" y="34"/>
                  </a:moveTo>
                  <a:lnTo>
                    <a:pt x="9" y="17"/>
                  </a:lnTo>
                  <a:lnTo>
                    <a:pt x="0" y="17"/>
                  </a:lnTo>
                  <a:lnTo>
                    <a:pt x="9" y="17"/>
                  </a:lnTo>
                  <a:lnTo>
                    <a:pt x="9" y="0"/>
                  </a:lnTo>
                  <a:lnTo>
                    <a:pt x="17" y="17"/>
                  </a:lnTo>
                  <a:lnTo>
                    <a:pt x="34" y="17"/>
                  </a:lnTo>
                  <a:lnTo>
                    <a:pt x="17" y="17"/>
                  </a:lnTo>
                  <a:lnTo>
                    <a:pt x="26" y="34"/>
                  </a:lnTo>
                  <a:lnTo>
                    <a:pt x="9" y="25"/>
                  </a:lnTo>
                  <a:lnTo>
                    <a:pt x="9" y="3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 algn="ctr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79747" tIns="39873" rIns="79747" bIns="39873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de-DE" sz="1477" dirty="0"/>
            </a:p>
          </p:txBody>
        </p:sp>
        <p:sp>
          <p:nvSpPr>
            <p:cNvPr id="22" name="Bavaria">
              <a:extLst>
                <a:ext uri="{FF2B5EF4-FFF2-40B4-BE49-F238E27FC236}">
                  <a16:creationId xmlns:a16="http://schemas.microsoft.com/office/drawing/2014/main" id="{D4262844-97FB-44FA-95AB-3928457810A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8306" y="4302905"/>
              <a:ext cx="1905270" cy="2139296"/>
            </a:xfrm>
            <a:custGeom>
              <a:avLst/>
              <a:gdLst>
                <a:gd name="T0" fmla="*/ 481094909 w 1214"/>
                <a:gd name="T1" fmla="*/ 2057852472 h 1257"/>
                <a:gd name="T2" fmla="*/ 512865400 w 1214"/>
                <a:gd name="T3" fmla="*/ 1948706630 h 1257"/>
                <a:gd name="T4" fmla="*/ 496980154 w 1214"/>
                <a:gd name="T5" fmla="*/ 1634912902 h 1257"/>
                <a:gd name="T6" fmla="*/ 542367216 w 1214"/>
                <a:gd name="T7" fmla="*/ 1493932668 h 1257"/>
                <a:gd name="T8" fmla="*/ 633139833 w 1214"/>
                <a:gd name="T9" fmla="*/ 1337035050 h 1257"/>
                <a:gd name="T10" fmla="*/ 653562430 w 1214"/>
                <a:gd name="T11" fmla="*/ 1146030958 h 1257"/>
                <a:gd name="T12" fmla="*/ 526481971 w 1214"/>
                <a:gd name="T13" fmla="*/ 975489544 h 1257"/>
                <a:gd name="T14" fmla="*/ 512865400 w 1214"/>
                <a:gd name="T15" fmla="*/ 757199181 h 1257"/>
                <a:gd name="T16" fmla="*/ 435709353 w 1214"/>
                <a:gd name="T17" fmla="*/ 720817234 h 1257"/>
                <a:gd name="T18" fmla="*/ 372168277 w 1214"/>
                <a:gd name="T19" fmla="*/ 629861612 h 1257"/>
                <a:gd name="T20" fmla="*/ 295010723 w 1214"/>
                <a:gd name="T21" fmla="*/ 611671392 h 1257"/>
                <a:gd name="T22" fmla="*/ 154313647 w 1214"/>
                <a:gd name="T23" fmla="*/ 566193581 h 1257"/>
                <a:gd name="T24" fmla="*/ 154313647 w 1214"/>
                <a:gd name="T25" fmla="*/ 661695627 h 1257"/>
                <a:gd name="T26" fmla="*/ 47655749 w 1214"/>
                <a:gd name="T27" fmla="*/ 643505407 h 1257"/>
                <a:gd name="T28" fmla="*/ 18153927 w 1214"/>
                <a:gd name="T29" fmla="*/ 457047740 h 1257"/>
                <a:gd name="T30" fmla="*/ 61270825 w 1214"/>
                <a:gd name="T31" fmla="*/ 313793823 h 1257"/>
                <a:gd name="T32" fmla="*/ 231469741 w 1214"/>
                <a:gd name="T33" fmla="*/ 313793823 h 1257"/>
                <a:gd name="T34" fmla="*/ 308627294 w 1214"/>
                <a:gd name="T35" fmla="*/ 204647981 h 1257"/>
                <a:gd name="T36" fmla="*/ 435709353 w 1214"/>
                <a:gd name="T37" fmla="*/ 109145889 h 1257"/>
                <a:gd name="T38" fmla="*/ 605906693 w 1214"/>
                <a:gd name="T39" fmla="*/ 79585816 h 1257"/>
                <a:gd name="T40" fmla="*/ 712564555 w 1214"/>
                <a:gd name="T41" fmla="*/ 220565743 h 1257"/>
                <a:gd name="T42" fmla="*/ 837378034 w 1214"/>
                <a:gd name="T43" fmla="*/ 204647981 h 1257"/>
                <a:gd name="T44" fmla="*/ 821492788 w 1214"/>
                <a:gd name="T45" fmla="*/ 127336108 h 1257"/>
                <a:gd name="T46" fmla="*/ 962189818 w 1214"/>
                <a:gd name="T47" fmla="*/ 175087885 h 1257"/>
                <a:gd name="T48" fmla="*/ 1023462125 w 1214"/>
                <a:gd name="T49" fmla="*/ 143253870 h 1257"/>
                <a:gd name="T50" fmla="*/ 1084732926 w 1214"/>
                <a:gd name="T51" fmla="*/ 79585816 h 1257"/>
                <a:gd name="T52" fmla="*/ 1316204079 w 1214"/>
                <a:gd name="T53" fmla="*/ 95502069 h 1257"/>
                <a:gd name="T54" fmla="*/ 1443284538 w 1214"/>
                <a:gd name="T55" fmla="*/ 268316012 h 1257"/>
                <a:gd name="T56" fmla="*/ 1597598515 w 1214"/>
                <a:gd name="T57" fmla="*/ 441129978 h 1257"/>
                <a:gd name="T58" fmla="*/ 1597598515 w 1214"/>
                <a:gd name="T59" fmla="*/ 611671392 h 1257"/>
                <a:gd name="T60" fmla="*/ 1661139497 w 1214"/>
                <a:gd name="T61" fmla="*/ 768567502 h 1257"/>
                <a:gd name="T62" fmla="*/ 1908494390 w 1214"/>
                <a:gd name="T63" fmla="*/ 959573290 h 1257"/>
                <a:gd name="T64" fmla="*/ 2031037498 w 1214"/>
                <a:gd name="T65" fmla="*/ 1084635386 h 1257"/>
                <a:gd name="T66" fmla="*/ 2139965543 w 1214"/>
                <a:gd name="T67" fmla="*/ 1130113196 h 1257"/>
                <a:gd name="T68" fmla="*/ 2147483647 w 1214"/>
                <a:gd name="T69" fmla="*/ 1337035050 h 1257"/>
                <a:gd name="T70" fmla="*/ 2094578481 w 1214"/>
                <a:gd name="T71" fmla="*/ 1368869065 h 1257"/>
                <a:gd name="T72" fmla="*/ 2046922744 w 1214"/>
                <a:gd name="T73" fmla="*/ 1446180891 h 1257"/>
                <a:gd name="T74" fmla="*/ 1831338343 w 1214"/>
                <a:gd name="T75" fmla="*/ 1616721174 h 1257"/>
                <a:gd name="T76" fmla="*/ 1815453097 w 1214"/>
                <a:gd name="T77" fmla="*/ 1823643027 h 1257"/>
                <a:gd name="T78" fmla="*/ 1922110960 w 1214"/>
                <a:gd name="T79" fmla="*/ 2044208676 h 1257"/>
                <a:gd name="T80" fmla="*/ 1767797360 w 1214"/>
                <a:gd name="T81" fmla="*/ 2089686487 h 1257"/>
                <a:gd name="T82" fmla="*/ 1597598515 w 1214"/>
                <a:gd name="T83" fmla="*/ 2012374661 h 1257"/>
                <a:gd name="T84" fmla="*/ 1472786354 w 1214"/>
                <a:gd name="T85" fmla="*/ 2012374661 h 1257"/>
                <a:gd name="T86" fmla="*/ 1316204079 w 1214"/>
                <a:gd name="T87" fmla="*/ 2107876707 h 1257"/>
                <a:gd name="T88" fmla="*/ 1116503417 w 1214"/>
                <a:gd name="T89" fmla="*/ 2147483647 h 1257"/>
                <a:gd name="T90" fmla="*/ 1039347371 w 1214"/>
                <a:gd name="T91" fmla="*/ 2147483647 h 1257"/>
                <a:gd name="T92" fmla="*/ 882763589 w 1214"/>
                <a:gd name="T93" fmla="*/ 2147483647 h 1257"/>
                <a:gd name="T94" fmla="*/ 739797696 w 1214"/>
                <a:gd name="T95" fmla="*/ 2121520502 h 1257"/>
                <a:gd name="T96" fmla="*/ 664910325 w 1214"/>
                <a:gd name="T97" fmla="*/ 2147483647 h 1257"/>
                <a:gd name="T98" fmla="*/ 542367216 w 1214"/>
                <a:gd name="T99" fmla="*/ 2147483647 h 1257"/>
                <a:gd name="T100" fmla="*/ 512865400 w 1214"/>
                <a:gd name="T101" fmla="*/ 2147483647 h 1257"/>
                <a:gd name="T102" fmla="*/ 385783341 w 1214"/>
                <a:gd name="T103" fmla="*/ 2137436756 h 1257"/>
                <a:gd name="T104" fmla="*/ 276856803 w 1214"/>
                <a:gd name="T105" fmla="*/ 2107876707 h 1257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214"/>
                <a:gd name="T160" fmla="*/ 0 h 1257"/>
                <a:gd name="T161" fmla="*/ 1214 w 1214"/>
                <a:gd name="T162" fmla="*/ 1257 h 1257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214" h="1257">
                  <a:moveTo>
                    <a:pt x="151" y="1138"/>
                  </a:moveTo>
                  <a:lnTo>
                    <a:pt x="177" y="1138"/>
                  </a:lnTo>
                  <a:lnTo>
                    <a:pt x="210" y="1112"/>
                  </a:lnTo>
                  <a:lnTo>
                    <a:pt x="227" y="1112"/>
                  </a:lnTo>
                  <a:lnTo>
                    <a:pt x="261" y="1112"/>
                  </a:lnTo>
                  <a:lnTo>
                    <a:pt x="270" y="1112"/>
                  </a:lnTo>
                  <a:lnTo>
                    <a:pt x="278" y="1104"/>
                  </a:lnTo>
                  <a:lnTo>
                    <a:pt x="278" y="1087"/>
                  </a:lnTo>
                  <a:lnTo>
                    <a:pt x="278" y="1061"/>
                  </a:lnTo>
                  <a:lnTo>
                    <a:pt x="278" y="1053"/>
                  </a:lnTo>
                  <a:lnTo>
                    <a:pt x="278" y="1027"/>
                  </a:lnTo>
                  <a:lnTo>
                    <a:pt x="270" y="1002"/>
                  </a:lnTo>
                  <a:lnTo>
                    <a:pt x="286" y="959"/>
                  </a:lnTo>
                  <a:lnTo>
                    <a:pt x="286" y="951"/>
                  </a:lnTo>
                  <a:lnTo>
                    <a:pt x="270" y="883"/>
                  </a:lnTo>
                  <a:lnTo>
                    <a:pt x="253" y="841"/>
                  </a:lnTo>
                  <a:lnTo>
                    <a:pt x="261" y="824"/>
                  </a:lnTo>
                  <a:lnTo>
                    <a:pt x="261" y="807"/>
                  </a:lnTo>
                  <a:lnTo>
                    <a:pt x="278" y="798"/>
                  </a:lnTo>
                  <a:lnTo>
                    <a:pt x="295" y="807"/>
                  </a:lnTo>
                  <a:lnTo>
                    <a:pt x="329" y="764"/>
                  </a:lnTo>
                  <a:lnTo>
                    <a:pt x="329" y="747"/>
                  </a:lnTo>
                  <a:lnTo>
                    <a:pt x="320" y="730"/>
                  </a:lnTo>
                  <a:lnTo>
                    <a:pt x="329" y="722"/>
                  </a:lnTo>
                  <a:lnTo>
                    <a:pt x="345" y="722"/>
                  </a:lnTo>
                  <a:lnTo>
                    <a:pt x="354" y="722"/>
                  </a:lnTo>
                  <a:lnTo>
                    <a:pt x="371" y="722"/>
                  </a:lnTo>
                  <a:lnTo>
                    <a:pt x="371" y="713"/>
                  </a:lnTo>
                  <a:lnTo>
                    <a:pt x="354" y="688"/>
                  </a:lnTo>
                  <a:lnTo>
                    <a:pt x="354" y="620"/>
                  </a:lnTo>
                  <a:lnTo>
                    <a:pt x="345" y="595"/>
                  </a:lnTo>
                  <a:lnTo>
                    <a:pt x="329" y="586"/>
                  </a:lnTo>
                  <a:lnTo>
                    <a:pt x="303" y="561"/>
                  </a:lnTo>
                  <a:lnTo>
                    <a:pt x="312" y="544"/>
                  </a:lnTo>
                  <a:lnTo>
                    <a:pt x="286" y="527"/>
                  </a:lnTo>
                  <a:lnTo>
                    <a:pt x="286" y="501"/>
                  </a:lnTo>
                  <a:lnTo>
                    <a:pt x="278" y="476"/>
                  </a:lnTo>
                  <a:lnTo>
                    <a:pt x="286" y="450"/>
                  </a:lnTo>
                  <a:lnTo>
                    <a:pt x="278" y="433"/>
                  </a:lnTo>
                  <a:lnTo>
                    <a:pt x="278" y="408"/>
                  </a:lnTo>
                  <a:lnTo>
                    <a:pt x="270" y="391"/>
                  </a:lnTo>
                  <a:lnTo>
                    <a:pt x="261" y="416"/>
                  </a:lnTo>
                  <a:lnTo>
                    <a:pt x="244" y="416"/>
                  </a:lnTo>
                  <a:lnTo>
                    <a:pt x="236" y="416"/>
                  </a:lnTo>
                  <a:lnTo>
                    <a:pt x="236" y="391"/>
                  </a:lnTo>
                  <a:lnTo>
                    <a:pt x="227" y="382"/>
                  </a:lnTo>
                  <a:lnTo>
                    <a:pt x="219" y="382"/>
                  </a:lnTo>
                  <a:lnTo>
                    <a:pt x="219" y="374"/>
                  </a:lnTo>
                  <a:lnTo>
                    <a:pt x="219" y="357"/>
                  </a:lnTo>
                  <a:lnTo>
                    <a:pt x="202" y="340"/>
                  </a:lnTo>
                  <a:lnTo>
                    <a:pt x="194" y="331"/>
                  </a:lnTo>
                  <a:lnTo>
                    <a:pt x="185" y="340"/>
                  </a:lnTo>
                  <a:lnTo>
                    <a:pt x="177" y="331"/>
                  </a:lnTo>
                  <a:lnTo>
                    <a:pt x="168" y="340"/>
                  </a:lnTo>
                  <a:lnTo>
                    <a:pt x="160" y="331"/>
                  </a:lnTo>
                  <a:lnTo>
                    <a:pt x="168" y="314"/>
                  </a:lnTo>
                  <a:lnTo>
                    <a:pt x="160" y="306"/>
                  </a:lnTo>
                  <a:lnTo>
                    <a:pt x="143" y="306"/>
                  </a:lnTo>
                  <a:lnTo>
                    <a:pt x="126" y="306"/>
                  </a:lnTo>
                  <a:lnTo>
                    <a:pt x="84" y="306"/>
                  </a:lnTo>
                  <a:lnTo>
                    <a:pt x="84" y="323"/>
                  </a:lnTo>
                  <a:lnTo>
                    <a:pt x="109" y="331"/>
                  </a:lnTo>
                  <a:lnTo>
                    <a:pt x="109" y="340"/>
                  </a:lnTo>
                  <a:lnTo>
                    <a:pt x="101" y="357"/>
                  </a:lnTo>
                  <a:lnTo>
                    <a:pt x="84" y="357"/>
                  </a:lnTo>
                  <a:lnTo>
                    <a:pt x="67" y="374"/>
                  </a:lnTo>
                  <a:lnTo>
                    <a:pt x="33" y="382"/>
                  </a:lnTo>
                  <a:lnTo>
                    <a:pt x="17" y="374"/>
                  </a:lnTo>
                  <a:lnTo>
                    <a:pt x="25" y="357"/>
                  </a:lnTo>
                  <a:lnTo>
                    <a:pt x="25" y="348"/>
                  </a:lnTo>
                  <a:lnTo>
                    <a:pt x="42" y="331"/>
                  </a:lnTo>
                  <a:lnTo>
                    <a:pt x="42" y="306"/>
                  </a:lnTo>
                  <a:lnTo>
                    <a:pt x="25" y="280"/>
                  </a:lnTo>
                  <a:lnTo>
                    <a:pt x="17" y="280"/>
                  </a:lnTo>
                  <a:lnTo>
                    <a:pt x="8" y="247"/>
                  </a:lnTo>
                  <a:lnTo>
                    <a:pt x="17" y="213"/>
                  </a:lnTo>
                  <a:lnTo>
                    <a:pt x="0" y="196"/>
                  </a:lnTo>
                  <a:lnTo>
                    <a:pt x="17" y="179"/>
                  </a:lnTo>
                  <a:lnTo>
                    <a:pt x="25" y="170"/>
                  </a:lnTo>
                  <a:lnTo>
                    <a:pt x="33" y="170"/>
                  </a:lnTo>
                  <a:lnTo>
                    <a:pt x="42" y="170"/>
                  </a:lnTo>
                  <a:lnTo>
                    <a:pt x="50" y="170"/>
                  </a:lnTo>
                  <a:lnTo>
                    <a:pt x="84" y="162"/>
                  </a:lnTo>
                  <a:lnTo>
                    <a:pt x="109" y="187"/>
                  </a:lnTo>
                  <a:lnTo>
                    <a:pt x="126" y="170"/>
                  </a:lnTo>
                  <a:lnTo>
                    <a:pt x="135" y="162"/>
                  </a:lnTo>
                  <a:lnTo>
                    <a:pt x="126" y="145"/>
                  </a:lnTo>
                  <a:lnTo>
                    <a:pt x="126" y="128"/>
                  </a:lnTo>
                  <a:lnTo>
                    <a:pt x="160" y="128"/>
                  </a:lnTo>
                  <a:lnTo>
                    <a:pt x="168" y="111"/>
                  </a:lnTo>
                  <a:lnTo>
                    <a:pt x="185" y="111"/>
                  </a:lnTo>
                  <a:lnTo>
                    <a:pt x="194" y="77"/>
                  </a:lnTo>
                  <a:lnTo>
                    <a:pt x="194" y="60"/>
                  </a:lnTo>
                  <a:lnTo>
                    <a:pt x="219" y="68"/>
                  </a:lnTo>
                  <a:lnTo>
                    <a:pt x="236" y="60"/>
                  </a:lnTo>
                  <a:lnTo>
                    <a:pt x="261" y="17"/>
                  </a:lnTo>
                  <a:lnTo>
                    <a:pt x="278" y="0"/>
                  </a:lnTo>
                  <a:lnTo>
                    <a:pt x="286" y="9"/>
                  </a:lnTo>
                  <a:lnTo>
                    <a:pt x="295" y="9"/>
                  </a:lnTo>
                  <a:lnTo>
                    <a:pt x="329" y="43"/>
                  </a:lnTo>
                  <a:lnTo>
                    <a:pt x="345" y="60"/>
                  </a:lnTo>
                  <a:lnTo>
                    <a:pt x="362" y="68"/>
                  </a:lnTo>
                  <a:lnTo>
                    <a:pt x="379" y="85"/>
                  </a:lnTo>
                  <a:lnTo>
                    <a:pt x="388" y="102"/>
                  </a:lnTo>
                  <a:lnTo>
                    <a:pt x="388" y="119"/>
                  </a:lnTo>
                  <a:lnTo>
                    <a:pt x="413" y="136"/>
                  </a:lnTo>
                  <a:lnTo>
                    <a:pt x="421" y="136"/>
                  </a:lnTo>
                  <a:lnTo>
                    <a:pt x="430" y="128"/>
                  </a:lnTo>
                  <a:lnTo>
                    <a:pt x="455" y="119"/>
                  </a:lnTo>
                  <a:lnTo>
                    <a:pt x="455" y="111"/>
                  </a:lnTo>
                  <a:lnTo>
                    <a:pt x="421" y="94"/>
                  </a:lnTo>
                  <a:lnTo>
                    <a:pt x="413" y="85"/>
                  </a:lnTo>
                  <a:lnTo>
                    <a:pt x="421" y="77"/>
                  </a:lnTo>
                  <a:lnTo>
                    <a:pt x="430" y="77"/>
                  </a:lnTo>
                  <a:lnTo>
                    <a:pt x="447" y="68"/>
                  </a:lnTo>
                  <a:lnTo>
                    <a:pt x="480" y="68"/>
                  </a:lnTo>
                  <a:lnTo>
                    <a:pt x="480" y="85"/>
                  </a:lnTo>
                  <a:lnTo>
                    <a:pt x="497" y="77"/>
                  </a:lnTo>
                  <a:lnTo>
                    <a:pt x="523" y="85"/>
                  </a:lnTo>
                  <a:lnTo>
                    <a:pt x="523" y="94"/>
                  </a:lnTo>
                  <a:lnTo>
                    <a:pt x="523" y="102"/>
                  </a:lnTo>
                  <a:lnTo>
                    <a:pt x="539" y="111"/>
                  </a:lnTo>
                  <a:lnTo>
                    <a:pt x="548" y="111"/>
                  </a:lnTo>
                  <a:lnTo>
                    <a:pt x="556" y="102"/>
                  </a:lnTo>
                  <a:lnTo>
                    <a:pt x="556" y="77"/>
                  </a:lnTo>
                  <a:lnTo>
                    <a:pt x="556" y="43"/>
                  </a:lnTo>
                  <a:lnTo>
                    <a:pt x="548" y="34"/>
                  </a:lnTo>
                  <a:lnTo>
                    <a:pt x="582" y="17"/>
                  </a:lnTo>
                  <a:lnTo>
                    <a:pt x="590" y="17"/>
                  </a:lnTo>
                  <a:lnTo>
                    <a:pt x="590" y="43"/>
                  </a:lnTo>
                  <a:lnTo>
                    <a:pt x="615" y="60"/>
                  </a:lnTo>
                  <a:lnTo>
                    <a:pt x="649" y="60"/>
                  </a:lnTo>
                  <a:lnTo>
                    <a:pt x="691" y="51"/>
                  </a:lnTo>
                  <a:lnTo>
                    <a:pt x="691" y="60"/>
                  </a:lnTo>
                  <a:lnTo>
                    <a:pt x="716" y="51"/>
                  </a:lnTo>
                  <a:lnTo>
                    <a:pt x="733" y="77"/>
                  </a:lnTo>
                  <a:lnTo>
                    <a:pt x="759" y="85"/>
                  </a:lnTo>
                  <a:lnTo>
                    <a:pt x="759" y="111"/>
                  </a:lnTo>
                  <a:lnTo>
                    <a:pt x="759" y="119"/>
                  </a:lnTo>
                  <a:lnTo>
                    <a:pt x="784" y="145"/>
                  </a:lnTo>
                  <a:lnTo>
                    <a:pt x="784" y="162"/>
                  </a:lnTo>
                  <a:lnTo>
                    <a:pt x="818" y="196"/>
                  </a:lnTo>
                  <a:lnTo>
                    <a:pt x="843" y="213"/>
                  </a:lnTo>
                  <a:lnTo>
                    <a:pt x="860" y="230"/>
                  </a:lnTo>
                  <a:lnTo>
                    <a:pt x="868" y="238"/>
                  </a:lnTo>
                  <a:lnTo>
                    <a:pt x="860" y="263"/>
                  </a:lnTo>
                  <a:lnTo>
                    <a:pt x="843" y="272"/>
                  </a:lnTo>
                  <a:lnTo>
                    <a:pt x="851" y="280"/>
                  </a:lnTo>
                  <a:lnTo>
                    <a:pt x="835" y="306"/>
                  </a:lnTo>
                  <a:lnTo>
                    <a:pt x="868" y="331"/>
                  </a:lnTo>
                  <a:lnTo>
                    <a:pt x="868" y="348"/>
                  </a:lnTo>
                  <a:lnTo>
                    <a:pt x="885" y="357"/>
                  </a:lnTo>
                  <a:lnTo>
                    <a:pt x="885" y="374"/>
                  </a:lnTo>
                  <a:lnTo>
                    <a:pt x="902" y="391"/>
                  </a:lnTo>
                  <a:lnTo>
                    <a:pt x="902" y="416"/>
                  </a:lnTo>
                  <a:lnTo>
                    <a:pt x="919" y="433"/>
                  </a:lnTo>
                  <a:lnTo>
                    <a:pt x="936" y="450"/>
                  </a:lnTo>
                  <a:lnTo>
                    <a:pt x="978" y="459"/>
                  </a:lnTo>
                  <a:lnTo>
                    <a:pt x="995" y="476"/>
                  </a:lnTo>
                  <a:lnTo>
                    <a:pt x="1037" y="518"/>
                  </a:lnTo>
                  <a:lnTo>
                    <a:pt x="1037" y="527"/>
                  </a:lnTo>
                  <a:lnTo>
                    <a:pt x="1045" y="535"/>
                  </a:lnTo>
                  <a:lnTo>
                    <a:pt x="1071" y="544"/>
                  </a:lnTo>
                  <a:lnTo>
                    <a:pt x="1088" y="552"/>
                  </a:lnTo>
                  <a:lnTo>
                    <a:pt x="1104" y="586"/>
                  </a:lnTo>
                  <a:lnTo>
                    <a:pt x="1113" y="595"/>
                  </a:lnTo>
                  <a:lnTo>
                    <a:pt x="1121" y="595"/>
                  </a:lnTo>
                  <a:lnTo>
                    <a:pt x="1130" y="586"/>
                  </a:lnTo>
                  <a:lnTo>
                    <a:pt x="1147" y="595"/>
                  </a:lnTo>
                  <a:lnTo>
                    <a:pt x="1163" y="611"/>
                  </a:lnTo>
                  <a:lnTo>
                    <a:pt x="1189" y="628"/>
                  </a:lnTo>
                  <a:lnTo>
                    <a:pt x="1206" y="654"/>
                  </a:lnTo>
                  <a:lnTo>
                    <a:pt x="1197" y="679"/>
                  </a:lnTo>
                  <a:lnTo>
                    <a:pt x="1214" y="688"/>
                  </a:lnTo>
                  <a:lnTo>
                    <a:pt x="1206" y="722"/>
                  </a:lnTo>
                  <a:lnTo>
                    <a:pt x="1197" y="739"/>
                  </a:lnTo>
                  <a:lnTo>
                    <a:pt x="1180" y="756"/>
                  </a:lnTo>
                  <a:lnTo>
                    <a:pt x="1172" y="747"/>
                  </a:lnTo>
                  <a:lnTo>
                    <a:pt x="1163" y="747"/>
                  </a:lnTo>
                  <a:lnTo>
                    <a:pt x="1138" y="739"/>
                  </a:lnTo>
                  <a:lnTo>
                    <a:pt x="1130" y="739"/>
                  </a:lnTo>
                  <a:lnTo>
                    <a:pt x="1113" y="747"/>
                  </a:lnTo>
                  <a:lnTo>
                    <a:pt x="1113" y="764"/>
                  </a:lnTo>
                  <a:lnTo>
                    <a:pt x="1104" y="773"/>
                  </a:lnTo>
                  <a:lnTo>
                    <a:pt x="1113" y="781"/>
                  </a:lnTo>
                  <a:lnTo>
                    <a:pt x="1104" y="815"/>
                  </a:lnTo>
                  <a:lnTo>
                    <a:pt x="1088" y="832"/>
                  </a:lnTo>
                  <a:lnTo>
                    <a:pt x="1045" y="849"/>
                  </a:lnTo>
                  <a:lnTo>
                    <a:pt x="1012" y="866"/>
                  </a:lnTo>
                  <a:lnTo>
                    <a:pt x="995" y="875"/>
                  </a:lnTo>
                  <a:lnTo>
                    <a:pt x="978" y="892"/>
                  </a:lnTo>
                  <a:lnTo>
                    <a:pt x="944" y="917"/>
                  </a:lnTo>
                  <a:lnTo>
                    <a:pt x="969" y="959"/>
                  </a:lnTo>
                  <a:lnTo>
                    <a:pt x="978" y="976"/>
                  </a:lnTo>
                  <a:lnTo>
                    <a:pt x="986" y="985"/>
                  </a:lnTo>
                  <a:lnTo>
                    <a:pt x="1012" y="1010"/>
                  </a:lnTo>
                  <a:lnTo>
                    <a:pt x="995" y="1070"/>
                  </a:lnTo>
                  <a:lnTo>
                    <a:pt x="1012" y="1070"/>
                  </a:lnTo>
                  <a:lnTo>
                    <a:pt x="1020" y="1070"/>
                  </a:lnTo>
                  <a:lnTo>
                    <a:pt x="1045" y="1104"/>
                  </a:lnTo>
                  <a:lnTo>
                    <a:pt x="1028" y="1129"/>
                  </a:lnTo>
                  <a:lnTo>
                    <a:pt x="1037" y="1155"/>
                  </a:lnTo>
                  <a:lnTo>
                    <a:pt x="1020" y="1163"/>
                  </a:lnTo>
                  <a:lnTo>
                    <a:pt x="1012" y="1163"/>
                  </a:lnTo>
                  <a:lnTo>
                    <a:pt x="961" y="1129"/>
                  </a:lnTo>
                  <a:lnTo>
                    <a:pt x="969" y="1112"/>
                  </a:lnTo>
                  <a:lnTo>
                    <a:pt x="953" y="1095"/>
                  </a:lnTo>
                  <a:lnTo>
                    <a:pt x="936" y="1095"/>
                  </a:lnTo>
                  <a:lnTo>
                    <a:pt x="894" y="1112"/>
                  </a:lnTo>
                  <a:lnTo>
                    <a:pt x="868" y="1087"/>
                  </a:lnTo>
                  <a:lnTo>
                    <a:pt x="843" y="1087"/>
                  </a:lnTo>
                  <a:lnTo>
                    <a:pt x="826" y="1095"/>
                  </a:lnTo>
                  <a:lnTo>
                    <a:pt x="826" y="1087"/>
                  </a:lnTo>
                  <a:lnTo>
                    <a:pt x="826" y="1070"/>
                  </a:lnTo>
                  <a:lnTo>
                    <a:pt x="801" y="1087"/>
                  </a:lnTo>
                  <a:lnTo>
                    <a:pt x="809" y="1112"/>
                  </a:lnTo>
                  <a:lnTo>
                    <a:pt x="792" y="1121"/>
                  </a:lnTo>
                  <a:lnTo>
                    <a:pt x="750" y="1121"/>
                  </a:lnTo>
                  <a:lnTo>
                    <a:pt x="725" y="1121"/>
                  </a:lnTo>
                  <a:lnTo>
                    <a:pt x="716" y="1138"/>
                  </a:lnTo>
                  <a:lnTo>
                    <a:pt x="674" y="1138"/>
                  </a:lnTo>
                  <a:lnTo>
                    <a:pt x="666" y="1138"/>
                  </a:lnTo>
                  <a:lnTo>
                    <a:pt x="649" y="1163"/>
                  </a:lnTo>
                  <a:lnTo>
                    <a:pt x="632" y="1163"/>
                  </a:lnTo>
                  <a:lnTo>
                    <a:pt x="607" y="1172"/>
                  </a:lnTo>
                  <a:lnTo>
                    <a:pt x="607" y="1180"/>
                  </a:lnTo>
                  <a:lnTo>
                    <a:pt x="598" y="1189"/>
                  </a:lnTo>
                  <a:lnTo>
                    <a:pt x="582" y="1206"/>
                  </a:lnTo>
                  <a:lnTo>
                    <a:pt x="565" y="1206"/>
                  </a:lnTo>
                  <a:lnTo>
                    <a:pt x="565" y="1197"/>
                  </a:lnTo>
                  <a:lnTo>
                    <a:pt x="539" y="1206"/>
                  </a:lnTo>
                  <a:lnTo>
                    <a:pt x="497" y="1206"/>
                  </a:lnTo>
                  <a:lnTo>
                    <a:pt x="497" y="1197"/>
                  </a:lnTo>
                  <a:lnTo>
                    <a:pt x="497" y="1180"/>
                  </a:lnTo>
                  <a:lnTo>
                    <a:pt x="480" y="1180"/>
                  </a:lnTo>
                  <a:lnTo>
                    <a:pt x="480" y="1163"/>
                  </a:lnTo>
                  <a:lnTo>
                    <a:pt x="480" y="1155"/>
                  </a:lnTo>
                  <a:lnTo>
                    <a:pt x="472" y="1155"/>
                  </a:lnTo>
                  <a:lnTo>
                    <a:pt x="455" y="1163"/>
                  </a:lnTo>
                  <a:lnTo>
                    <a:pt x="404" y="1146"/>
                  </a:lnTo>
                  <a:lnTo>
                    <a:pt x="388" y="1155"/>
                  </a:lnTo>
                  <a:lnTo>
                    <a:pt x="379" y="1155"/>
                  </a:lnTo>
                  <a:lnTo>
                    <a:pt x="371" y="1138"/>
                  </a:lnTo>
                  <a:lnTo>
                    <a:pt x="371" y="1146"/>
                  </a:lnTo>
                  <a:lnTo>
                    <a:pt x="362" y="1172"/>
                  </a:lnTo>
                  <a:lnTo>
                    <a:pt x="371" y="1180"/>
                  </a:lnTo>
                  <a:lnTo>
                    <a:pt x="371" y="1197"/>
                  </a:lnTo>
                  <a:lnTo>
                    <a:pt x="329" y="1248"/>
                  </a:lnTo>
                  <a:lnTo>
                    <a:pt x="303" y="1257"/>
                  </a:lnTo>
                  <a:lnTo>
                    <a:pt x="295" y="1257"/>
                  </a:lnTo>
                  <a:lnTo>
                    <a:pt x="303" y="1248"/>
                  </a:lnTo>
                  <a:lnTo>
                    <a:pt x="303" y="1231"/>
                  </a:lnTo>
                  <a:lnTo>
                    <a:pt x="312" y="1223"/>
                  </a:lnTo>
                  <a:lnTo>
                    <a:pt x="303" y="1223"/>
                  </a:lnTo>
                  <a:lnTo>
                    <a:pt x="278" y="1223"/>
                  </a:lnTo>
                  <a:lnTo>
                    <a:pt x="270" y="1223"/>
                  </a:lnTo>
                  <a:lnTo>
                    <a:pt x="278" y="1197"/>
                  </a:lnTo>
                  <a:lnTo>
                    <a:pt x="261" y="1180"/>
                  </a:lnTo>
                  <a:lnTo>
                    <a:pt x="236" y="1155"/>
                  </a:lnTo>
                  <a:lnTo>
                    <a:pt x="210" y="1155"/>
                  </a:lnTo>
                  <a:lnTo>
                    <a:pt x="202" y="1138"/>
                  </a:lnTo>
                  <a:lnTo>
                    <a:pt x="194" y="1138"/>
                  </a:lnTo>
                  <a:lnTo>
                    <a:pt x="177" y="1155"/>
                  </a:lnTo>
                  <a:lnTo>
                    <a:pt x="151" y="1155"/>
                  </a:lnTo>
                  <a:lnTo>
                    <a:pt x="151" y="1138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mpd="sng" algn="ctr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79747" tIns="39873" rIns="79747" bIns="39873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de-DE" sz="1477" dirty="0"/>
            </a:p>
          </p:txBody>
        </p:sp>
        <p:sp>
          <p:nvSpPr>
            <p:cNvPr id="23" name="Baden-Württemberg">
              <a:extLst>
                <a:ext uri="{FF2B5EF4-FFF2-40B4-BE49-F238E27FC236}">
                  <a16:creationId xmlns:a16="http://schemas.microsoft.com/office/drawing/2014/main" id="{E2730920-30B8-4B93-896B-F197C3E1A9E8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1256" y="4824291"/>
              <a:ext cx="1179217" cy="1444114"/>
            </a:xfrm>
            <a:custGeom>
              <a:avLst/>
              <a:gdLst>
                <a:gd name="T0" fmla="*/ 888185518 w 751"/>
                <a:gd name="T1" fmla="*/ 95396196 h 849"/>
                <a:gd name="T2" fmla="*/ 858653952 w 751"/>
                <a:gd name="T3" fmla="*/ 29527040 h 849"/>
                <a:gd name="T4" fmla="*/ 965419140 w 751"/>
                <a:gd name="T5" fmla="*/ 0 h 849"/>
                <a:gd name="T6" fmla="*/ 997220510 w 751"/>
                <a:gd name="T7" fmla="*/ 47698098 h 849"/>
                <a:gd name="T8" fmla="*/ 1042651254 w 751"/>
                <a:gd name="T9" fmla="*/ 61326780 h 849"/>
                <a:gd name="T10" fmla="*/ 1106255502 w 751"/>
                <a:gd name="T11" fmla="*/ 95396196 h 849"/>
                <a:gd name="T12" fmla="*/ 1119884876 w 751"/>
                <a:gd name="T13" fmla="*/ 140823111 h 849"/>
                <a:gd name="T14" fmla="*/ 1151687753 w 751"/>
                <a:gd name="T15" fmla="*/ 202149915 h 849"/>
                <a:gd name="T16" fmla="*/ 1215292001 w 751"/>
                <a:gd name="T17" fmla="*/ 188521198 h 849"/>
                <a:gd name="T18" fmla="*/ 1215292001 w 751"/>
                <a:gd name="T19" fmla="*/ 313444445 h 849"/>
                <a:gd name="T20" fmla="*/ 1276623430 w 751"/>
                <a:gd name="T21" fmla="*/ 440640440 h 849"/>
                <a:gd name="T22" fmla="*/ 1337956366 w 751"/>
                <a:gd name="T23" fmla="*/ 531494224 h 849"/>
                <a:gd name="T24" fmla="*/ 1385659929 w 751"/>
                <a:gd name="T25" fmla="*/ 747271208 h 849"/>
                <a:gd name="T26" fmla="*/ 1337956366 w 751"/>
                <a:gd name="T27" fmla="*/ 767713461 h 849"/>
                <a:gd name="T28" fmla="*/ 1308426307 w 751"/>
                <a:gd name="T29" fmla="*/ 815411735 h 849"/>
                <a:gd name="T30" fmla="*/ 1215292001 w 751"/>
                <a:gd name="T31" fmla="*/ 908536713 h 849"/>
                <a:gd name="T32" fmla="*/ 1169859749 w 751"/>
                <a:gd name="T33" fmla="*/ 988033021 h 849"/>
                <a:gd name="T34" fmla="*/ 1228921375 w 751"/>
                <a:gd name="T35" fmla="*/ 1206081199 h 849"/>
                <a:gd name="T36" fmla="*/ 1215292001 w 751"/>
                <a:gd name="T37" fmla="*/ 1378703992 h 849"/>
                <a:gd name="T38" fmla="*/ 1215292001 w 751"/>
                <a:gd name="T39" fmla="*/ 1474100164 h 849"/>
                <a:gd name="T40" fmla="*/ 1119884876 w 751"/>
                <a:gd name="T41" fmla="*/ 1485456134 h 849"/>
                <a:gd name="T42" fmla="*/ 979048514 w 751"/>
                <a:gd name="T43" fmla="*/ 1535425414 h 849"/>
                <a:gd name="T44" fmla="*/ 810951896 w 751"/>
                <a:gd name="T45" fmla="*/ 1485456134 h 849"/>
                <a:gd name="T46" fmla="*/ 704188027 w 751"/>
                <a:gd name="T47" fmla="*/ 1474100164 h 849"/>
                <a:gd name="T48" fmla="*/ 624683095 w 751"/>
                <a:gd name="T49" fmla="*/ 1455929106 h 849"/>
                <a:gd name="T50" fmla="*/ 561078847 w 751"/>
                <a:gd name="T51" fmla="*/ 1455929106 h 849"/>
                <a:gd name="T52" fmla="*/ 497474599 w 751"/>
                <a:gd name="T53" fmla="*/ 1378703992 h 849"/>
                <a:gd name="T54" fmla="*/ 420240978 w 751"/>
                <a:gd name="T55" fmla="*/ 1437758048 h 849"/>
                <a:gd name="T56" fmla="*/ 497474599 w 751"/>
                <a:gd name="T57" fmla="*/ 1485456134 h 849"/>
                <a:gd name="T58" fmla="*/ 497474599 w 751"/>
                <a:gd name="T59" fmla="*/ 1535425414 h 849"/>
                <a:gd name="T60" fmla="*/ 420240978 w 751"/>
                <a:gd name="T61" fmla="*/ 1551325278 h 849"/>
                <a:gd name="T62" fmla="*/ 295305207 w 751"/>
                <a:gd name="T63" fmla="*/ 1514983162 h 849"/>
                <a:gd name="T64" fmla="*/ 172639287 w 751"/>
                <a:gd name="T65" fmla="*/ 1535425414 h 849"/>
                <a:gd name="T66" fmla="*/ 95405641 w 751"/>
                <a:gd name="T67" fmla="*/ 1551325278 h 849"/>
                <a:gd name="T68" fmla="*/ 61332960 w 751"/>
                <a:gd name="T69" fmla="*/ 1514983162 h 849"/>
                <a:gd name="T70" fmla="*/ 0 w 751"/>
                <a:gd name="T71" fmla="*/ 1474100164 h 849"/>
                <a:gd name="T72" fmla="*/ 20444820 w 751"/>
                <a:gd name="T73" fmla="*/ 1378703992 h 849"/>
                <a:gd name="T74" fmla="*/ 29530071 w 751"/>
                <a:gd name="T75" fmla="*/ 1299206177 h 849"/>
                <a:gd name="T76" fmla="*/ 47703574 w 751"/>
                <a:gd name="T77" fmla="*/ 1219709870 h 849"/>
                <a:gd name="T78" fmla="*/ 77233645 w 751"/>
                <a:gd name="T79" fmla="*/ 1081157999 h 849"/>
                <a:gd name="T80" fmla="*/ 127208542 w 751"/>
                <a:gd name="T81" fmla="*/ 999388991 h 849"/>
                <a:gd name="T82" fmla="*/ 140837916 w 751"/>
                <a:gd name="T83" fmla="*/ 874465791 h 849"/>
                <a:gd name="T84" fmla="*/ 218071585 w 751"/>
                <a:gd name="T85" fmla="*/ 717744181 h 849"/>
                <a:gd name="T86" fmla="*/ 279403014 w 751"/>
                <a:gd name="T87" fmla="*/ 672317288 h 849"/>
                <a:gd name="T88" fmla="*/ 388439513 w 751"/>
                <a:gd name="T89" fmla="*/ 501965689 h 849"/>
                <a:gd name="T90" fmla="*/ 452042348 w 751"/>
                <a:gd name="T91" fmla="*/ 313444445 h 849"/>
                <a:gd name="T92" fmla="*/ 452042348 w 751"/>
                <a:gd name="T93" fmla="*/ 220319466 h 849"/>
                <a:gd name="T94" fmla="*/ 452042348 w 751"/>
                <a:gd name="T95" fmla="*/ 140823111 h 849"/>
                <a:gd name="T96" fmla="*/ 513375284 w 751"/>
                <a:gd name="T97" fmla="*/ 156722976 h 849"/>
                <a:gd name="T98" fmla="*/ 561078847 w 751"/>
                <a:gd name="T99" fmla="*/ 106753696 h 849"/>
                <a:gd name="T100" fmla="*/ 624683095 w 751"/>
                <a:gd name="T101" fmla="*/ 172621333 h 849"/>
                <a:gd name="T102" fmla="*/ 636039650 w 751"/>
                <a:gd name="T103" fmla="*/ 249848001 h 849"/>
                <a:gd name="T104" fmla="*/ 683743213 w 751"/>
                <a:gd name="T105" fmla="*/ 202149915 h 849"/>
                <a:gd name="T106" fmla="*/ 826852581 w 751"/>
                <a:gd name="T107" fmla="*/ 127194441 h 849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751"/>
                <a:gd name="T163" fmla="*/ 0 h 849"/>
                <a:gd name="T164" fmla="*/ 751 w 751"/>
                <a:gd name="T165" fmla="*/ 849 h 849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751" h="849">
                  <a:moveTo>
                    <a:pt x="447" y="68"/>
                  </a:moveTo>
                  <a:lnTo>
                    <a:pt x="464" y="51"/>
                  </a:lnTo>
                  <a:lnTo>
                    <a:pt x="481" y="51"/>
                  </a:lnTo>
                  <a:lnTo>
                    <a:pt x="489" y="34"/>
                  </a:lnTo>
                  <a:lnTo>
                    <a:pt x="489" y="25"/>
                  </a:lnTo>
                  <a:lnTo>
                    <a:pt x="464" y="17"/>
                  </a:lnTo>
                  <a:lnTo>
                    <a:pt x="464" y="0"/>
                  </a:lnTo>
                  <a:lnTo>
                    <a:pt x="506" y="0"/>
                  </a:lnTo>
                  <a:lnTo>
                    <a:pt x="523" y="0"/>
                  </a:lnTo>
                  <a:lnTo>
                    <a:pt x="540" y="0"/>
                  </a:lnTo>
                  <a:lnTo>
                    <a:pt x="548" y="8"/>
                  </a:lnTo>
                  <a:lnTo>
                    <a:pt x="540" y="25"/>
                  </a:lnTo>
                  <a:lnTo>
                    <a:pt x="548" y="34"/>
                  </a:lnTo>
                  <a:lnTo>
                    <a:pt x="557" y="25"/>
                  </a:lnTo>
                  <a:lnTo>
                    <a:pt x="565" y="34"/>
                  </a:lnTo>
                  <a:lnTo>
                    <a:pt x="574" y="25"/>
                  </a:lnTo>
                  <a:lnTo>
                    <a:pt x="582" y="34"/>
                  </a:lnTo>
                  <a:lnTo>
                    <a:pt x="599" y="51"/>
                  </a:lnTo>
                  <a:lnTo>
                    <a:pt x="599" y="68"/>
                  </a:lnTo>
                  <a:lnTo>
                    <a:pt x="599" y="76"/>
                  </a:lnTo>
                  <a:lnTo>
                    <a:pt x="607" y="76"/>
                  </a:lnTo>
                  <a:lnTo>
                    <a:pt x="616" y="85"/>
                  </a:lnTo>
                  <a:lnTo>
                    <a:pt x="616" y="110"/>
                  </a:lnTo>
                  <a:lnTo>
                    <a:pt x="624" y="110"/>
                  </a:lnTo>
                  <a:lnTo>
                    <a:pt x="641" y="110"/>
                  </a:lnTo>
                  <a:lnTo>
                    <a:pt x="650" y="85"/>
                  </a:lnTo>
                  <a:lnTo>
                    <a:pt x="658" y="102"/>
                  </a:lnTo>
                  <a:lnTo>
                    <a:pt x="658" y="127"/>
                  </a:lnTo>
                  <a:lnTo>
                    <a:pt x="666" y="144"/>
                  </a:lnTo>
                  <a:lnTo>
                    <a:pt x="658" y="170"/>
                  </a:lnTo>
                  <a:lnTo>
                    <a:pt x="666" y="195"/>
                  </a:lnTo>
                  <a:lnTo>
                    <a:pt x="666" y="221"/>
                  </a:lnTo>
                  <a:lnTo>
                    <a:pt x="692" y="238"/>
                  </a:lnTo>
                  <a:lnTo>
                    <a:pt x="683" y="255"/>
                  </a:lnTo>
                  <a:lnTo>
                    <a:pt x="709" y="280"/>
                  </a:lnTo>
                  <a:lnTo>
                    <a:pt x="725" y="289"/>
                  </a:lnTo>
                  <a:lnTo>
                    <a:pt x="734" y="314"/>
                  </a:lnTo>
                  <a:lnTo>
                    <a:pt x="734" y="382"/>
                  </a:lnTo>
                  <a:lnTo>
                    <a:pt x="751" y="407"/>
                  </a:lnTo>
                  <a:lnTo>
                    <a:pt x="751" y="416"/>
                  </a:lnTo>
                  <a:lnTo>
                    <a:pt x="734" y="416"/>
                  </a:lnTo>
                  <a:lnTo>
                    <a:pt x="725" y="416"/>
                  </a:lnTo>
                  <a:lnTo>
                    <a:pt x="709" y="416"/>
                  </a:lnTo>
                  <a:lnTo>
                    <a:pt x="700" y="424"/>
                  </a:lnTo>
                  <a:lnTo>
                    <a:pt x="709" y="441"/>
                  </a:lnTo>
                  <a:lnTo>
                    <a:pt x="709" y="458"/>
                  </a:lnTo>
                  <a:lnTo>
                    <a:pt x="675" y="501"/>
                  </a:lnTo>
                  <a:lnTo>
                    <a:pt x="658" y="492"/>
                  </a:lnTo>
                  <a:lnTo>
                    <a:pt x="641" y="501"/>
                  </a:lnTo>
                  <a:lnTo>
                    <a:pt x="641" y="518"/>
                  </a:lnTo>
                  <a:lnTo>
                    <a:pt x="633" y="535"/>
                  </a:lnTo>
                  <a:lnTo>
                    <a:pt x="650" y="577"/>
                  </a:lnTo>
                  <a:lnTo>
                    <a:pt x="666" y="645"/>
                  </a:lnTo>
                  <a:lnTo>
                    <a:pt x="666" y="653"/>
                  </a:lnTo>
                  <a:lnTo>
                    <a:pt x="650" y="696"/>
                  </a:lnTo>
                  <a:lnTo>
                    <a:pt x="658" y="721"/>
                  </a:lnTo>
                  <a:lnTo>
                    <a:pt x="658" y="747"/>
                  </a:lnTo>
                  <a:lnTo>
                    <a:pt x="658" y="755"/>
                  </a:lnTo>
                  <a:lnTo>
                    <a:pt x="658" y="781"/>
                  </a:lnTo>
                  <a:lnTo>
                    <a:pt x="658" y="798"/>
                  </a:lnTo>
                  <a:lnTo>
                    <a:pt x="650" y="806"/>
                  </a:lnTo>
                  <a:lnTo>
                    <a:pt x="641" y="806"/>
                  </a:lnTo>
                  <a:lnTo>
                    <a:pt x="607" y="806"/>
                  </a:lnTo>
                  <a:lnTo>
                    <a:pt x="590" y="806"/>
                  </a:lnTo>
                  <a:lnTo>
                    <a:pt x="557" y="832"/>
                  </a:lnTo>
                  <a:lnTo>
                    <a:pt x="531" y="832"/>
                  </a:lnTo>
                  <a:lnTo>
                    <a:pt x="531" y="849"/>
                  </a:lnTo>
                  <a:lnTo>
                    <a:pt x="481" y="832"/>
                  </a:lnTo>
                  <a:lnTo>
                    <a:pt x="439" y="806"/>
                  </a:lnTo>
                  <a:lnTo>
                    <a:pt x="422" y="806"/>
                  </a:lnTo>
                  <a:lnTo>
                    <a:pt x="413" y="806"/>
                  </a:lnTo>
                  <a:lnTo>
                    <a:pt x="380" y="798"/>
                  </a:lnTo>
                  <a:lnTo>
                    <a:pt x="354" y="806"/>
                  </a:lnTo>
                  <a:lnTo>
                    <a:pt x="346" y="806"/>
                  </a:lnTo>
                  <a:lnTo>
                    <a:pt x="338" y="789"/>
                  </a:lnTo>
                  <a:lnTo>
                    <a:pt x="329" y="789"/>
                  </a:lnTo>
                  <a:lnTo>
                    <a:pt x="312" y="789"/>
                  </a:lnTo>
                  <a:lnTo>
                    <a:pt x="304" y="789"/>
                  </a:lnTo>
                  <a:lnTo>
                    <a:pt x="295" y="789"/>
                  </a:lnTo>
                  <a:lnTo>
                    <a:pt x="312" y="764"/>
                  </a:lnTo>
                  <a:lnTo>
                    <a:pt x="270" y="747"/>
                  </a:lnTo>
                  <a:lnTo>
                    <a:pt x="262" y="755"/>
                  </a:lnTo>
                  <a:lnTo>
                    <a:pt x="245" y="772"/>
                  </a:lnTo>
                  <a:lnTo>
                    <a:pt x="228" y="781"/>
                  </a:lnTo>
                  <a:lnTo>
                    <a:pt x="228" y="798"/>
                  </a:lnTo>
                  <a:lnTo>
                    <a:pt x="245" y="806"/>
                  </a:lnTo>
                  <a:lnTo>
                    <a:pt x="270" y="806"/>
                  </a:lnTo>
                  <a:lnTo>
                    <a:pt x="287" y="806"/>
                  </a:lnTo>
                  <a:lnTo>
                    <a:pt x="278" y="823"/>
                  </a:lnTo>
                  <a:lnTo>
                    <a:pt x="270" y="832"/>
                  </a:lnTo>
                  <a:lnTo>
                    <a:pt x="253" y="815"/>
                  </a:lnTo>
                  <a:lnTo>
                    <a:pt x="245" y="832"/>
                  </a:lnTo>
                  <a:lnTo>
                    <a:pt x="228" y="840"/>
                  </a:lnTo>
                  <a:lnTo>
                    <a:pt x="203" y="832"/>
                  </a:lnTo>
                  <a:lnTo>
                    <a:pt x="186" y="823"/>
                  </a:lnTo>
                  <a:lnTo>
                    <a:pt x="160" y="823"/>
                  </a:lnTo>
                  <a:lnTo>
                    <a:pt x="144" y="840"/>
                  </a:lnTo>
                  <a:lnTo>
                    <a:pt x="101" y="840"/>
                  </a:lnTo>
                  <a:lnTo>
                    <a:pt x="93" y="832"/>
                  </a:lnTo>
                  <a:lnTo>
                    <a:pt x="76" y="832"/>
                  </a:lnTo>
                  <a:lnTo>
                    <a:pt x="59" y="849"/>
                  </a:lnTo>
                  <a:lnTo>
                    <a:pt x="51" y="840"/>
                  </a:lnTo>
                  <a:lnTo>
                    <a:pt x="34" y="840"/>
                  </a:lnTo>
                  <a:lnTo>
                    <a:pt x="34" y="832"/>
                  </a:lnTo>
                  <a:lnTo>
                    <a:pt x="34" y="823"/>
                  </a:lnTo>
                  <a:lnTo>
                    <a:pt x="17" y="832"/>
                  </a:lnTo>
                  <a:lnTo>
                    <a:pt x="9" y="815"/>
                  </a:lnTo>
                  <a:lnTo>
                    <a:pt x="0" y="798"/>
                  </a:lnTo>
                  <a:lnTo>
                    <a:pt x="0" y="789"/>
                  </a:lnTo>
                  <a:lnTo>
                    <a:pt x="0" y="772"/>
                  </a:lnTo>
                  <a:lnTo>
                    <a:pt x="9" y="747"/>
                  </a:lnTo>
                  <a:lnTo>
                    <a:pt x="9" y="730"/>
                  </a:lnTo>
                  <a:lnTo>
                    <a:pt x="9" y="721"/>
                  </a:lnTo>
                  <a:lnTo>
                    <a:pt x="17" y="704"/>
                  </a:lnTo>
                  <a:lnTo>
                    <a:pt x="17" y="696"/>
                  </a:lnTo>
                  <a:lnTo>
                    <a:pt x="34" y="687"/>
                  </a:lnTo>
                  <a:lnTo>
                    <a:pt x="25" y="662"/>
                  </a:lnTo>
                  <a:lnTo>
                    <a:pt x="17" y="645"/>
                  </a:lnTo>
                  <a:lnTo>
                    <a:pt x="25" y="620"/>
                  </a:lnTo>
                  <a:lnTo>
                    <a:pt x="42" y="586"/>
                  </a:lnTo>
                  <a:lnTo>
                    <a:pt x="51" y="560"/>
                  </a:lnTo>
                  <a:lnTo>
                    <a:pt x="51" y="552"/>
                  </a:lnTo>
                  <a:lnTo>
                    <a:pt x="68" y="543"/>
                  </a:lnTo>
                  <a:lnTo>
                    <a:pt x="68" y="509"/>
                  </a:lnTo>
                  <a:lnTo>
                    <a:pt x="76" y="492"/>
                  </a:lnTo>
                  <a:lnTo>
                    <a:pt x="76" y="475"/>
                  </a:lnTo>
                  <a:lnTo>
                    <a:pt x="85" y="467"/>
                  </a:lnTo>
                  <a:lnTo>
                    <a:pt x="85" y="433"/>
                  </a:lnTo>
                  <a:lnTo>
                    <a:pt x="118" y="390"/>
                  </a:lnTo>
                  <a:lnTo>
                    <a:pt x="135" y="382"/>
                  </a:lnTo>
                  <a:lnTo>
                    <a:pt x="144" y="373"/>
                  </a:lnTo>
                  <a:lnTo>
                    <a:pt x="152" y="365"/>
                  </a:lnTo>
                  <a:lnTo>
                    <a:pt x="160" y="365"/>
                  </a:lnTo>
                  <a:lnTo>
                    <a:pt x="186" y="305"/>
                  </a:lnTo>
                  <a:lnTo>
                    <a:pt x="211" y="272"/>
                  </a:lnTo>
                  <a:lnTo>
                    <a:pt x="228" y="204"/>
                  </a:lnTo>
                  <a:lnTo>
                    <a:pt x="253" y="178"/>
                  </a:lnTo>
                  <a:lnTo>
                    <a:pt x="245" y="170"/>
                  </a:lnTo>
                  <a:lnTo>
                    <a:pt x="253" y="153"/>
                  </a:lnTo>
                  <a:lnTo>
                    <a:pt x="253" y="127"/>
                  </a:lnTo>
                  <a:lnTo>
                    <a:pt x="245" y="119"/>
                  </a:lnTo>
                  <a:lnTo>
                    <a:pt x="245" y="110"/>
                  </a:lnTo>
                  <a:lnTo>
                    <a:pt x="245" y="85"/>
                  </a:lnTo>
                  <a:lnTo>
                    <a:pt x="245" y="76"/>
                  </a:lnTo>
                  <a:lnTo>
                    <a:pt x="245" y="68"/>
                  </a:lnTo>
                  <a:lnTo>
                    <a:pt x="253" y="68"/>
                  </a:lnTo>
                  <a:lnTo>
                    <a:pt x="278" y="85"/>
                  </a:lnTo>
                  <a:lnTo>
                    <a:pt x="287" y="85"/>
                  </a:lnTo>
                  <a:lnTo>
                    <a:pt x="287" y="68"/>
                  </a:lnTo>
                  <a:lnTo>
                    <a:pt x="304" y="59"/>
                  </a:lnTo>
                  <a:lnTo>
                    <a:pt x="312" y="76"/>
                  </a:lnTo>
                  <a:lnTo>
                    <a:pt x="329" y="93"/>
                  </a:lnTo>
                  <a:lnTo>
                    <a:pt x="338" y="93"/>
                  </a:lnTo>
                  <a:lnTo>
                    <a:pt x="354" y="110"/>
                  </a:lnTo>
                  <a:lnTo>
                    <a:pt x="338" y="127"/>
                  </a:lnTo>
                  <a:lnTo>
                    <a:pt x="346" y="136"/>
                  </a:lnTo>
                  <a:lnTo>
                    <a:pt x="354" y="127"/>
                  </a:lnTo>
                  <a:lnTo>
                    <a:pt x="371" y="119"/>
                  </a:lnTo>
                  <a:lnTo>
                    <a:pt x="371" y="110"/>
                  </a:lnTo>
                  <a:lnTo>
                    <a:pt x="413" y="102"/>
                  </a:lnTo>
                  <a:lnTo>
                    <a:pt x="413" y="76"/>
                  </a:lnTo>
                  <a:lnTo>
                    <a:pt x="447" y="68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mpd="sng" algn="ctr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79747" tIns="39873" rIns="79747" bIns="39873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de-DE" sz="1477" dirty="0"/>
            </a:p>
          </p:txBody>
        </p:sp>
      </p:grpSp>
      <p:sp>
        <p:nvSpPr>
          <p:cNvPr id="24" name="Turkey">
            <a:extLst>
              <a:ext uri="{FF2B5EF4-FFF2-40B4-BE49-F238E27FC236}">
                <a16:creationId xmlns:a16="http://schemas.microsoft.com/office/drawing/2014/main" id="{9BCD191F-EE6B-B7C9-A64C-8C408CD1FC07}"/>
              </a:ext>
            </a:extLst>
          </p:cNvPr>
          <p:cNvSpPr>
            <a:spLocks noEditPoints="1"/>
          </p:cNvSpPr>
          <p:nvPr/>
        </p:nvSpPr>
        <p:spPr bwMode="gray">
          <a:xfrm>
            <a:off x="3245568" y="1266462"/>
            <a:ext cx="2153973" cy="931019"/>
          </a:xfrm>
          <a:custGeom>
            <a:avLst/>
            <a:gdLst>
              <a:gd name="T0" fmla="*/ 20 w 888"/>
              <a:gd name="T1" fmla="*/ 116 h 340"/>
              <a:gd name="T2" fmla="*/ 27 w 888"/>
              <a:gd name="T3" fmla="*/ 107 h 340"/>
              <a:gd name="T4" fmla="*/ 63 w 888"/>
              <a:gd name="T5" fmla="*/ 93 h 340"/>
              <a:gd name="T6" fmla="*/ 52 w 888"/>
              <a:gd name="T7" fmla="*/ 101 h 340"/>
              <a:gd name="T8" fmla="*/ 887 w 888"/>
              <a:gd name="T9" fmla="*/ 259 h 340"/>
              <a:gd name="T10" fmla="*/ 850 w 888"/>
              <a:gd name="T11" fmla="*/ 224 h 340"/>
              <a:gd name="T12" fmla="*/ 845 w 888"/>
              <a:gd name="T13" fmla="*/ 165 h 340"/>
              <a:gd name="T14" fmla="*/ 853 w 888"/>
              <a:gd name="T15" fmla="*/ 137 h 340"/>
              <a:gd name="T16" fmla="*/ 802 w 888"/>
              <a:gd name="T17" fmla="*/ 73 h 340"/>
              <a:gd name="T18" fmla="*/ 761 w 888"/>
              <a:gd name="T19" fmla="*/ 32 h 340"/>
              <a:gd name="T20" fmla="*/ 678 w 888"/>
              <a:gd name="T21" fmla="*/ 63 h 340"/>
              <a:gd name="T22" fmla="*/ 542 w 888"/>
              <a:gd name="T23" fmla="*/ 57 h 340"/>
              <a:gd name="T24" fmla="*/ 491 w 888"/>
              <a:gd name="T25" fmla="*/ 51 h 340"/>
              <a:gd name="T26" fmla="*/ 442 w 888"/>
              <a:gd name="T27" fmla="*/ 30 h 340"/>
              <a:gd name="T28" fmla="*/ 385 w 888"/>
              <a:gd name="T29" fmla="*/ 16 h 340"/>
              <a:gd name="T30" fmla="*/ 272 w 888"/>
              <a:gd name="T31" fmla="*/ 42 h 340"/>
              <a:gd name="T32" fmla="*/ 203 w 888"/>
              <a:gd name="T33" fmla="*/ 53 h 340"/>
              <a:gd name="T34" fmla="*/ 120 w 888"/>
              <a:gd name="T35" fmla="*/ 14 h 340"/>
              <a:gd name="T36" fmla="*/ 79 w 888"/>
              <a:gd name="T37" fmla="*/ 10 h 340"/>
              <a:gd name="T38" fmla="*/ 52 w 888"/>
              <a:gd name="T39" fmla="*/ 28 h 340"/>
              <a:gd name="T40" fmla="*/ 50 w 888"/>
              <a:gd name="T41" fmla="*/ 47 h 340"/>
              <a:gd name="T42" fmla="*/ 50 w 888"/>
              <a:gd name="T43" fmla="*/ 86 h 340"/>
              <a:gd name="T44" fmla="*/ 107 w 888"/>
              <a:gd name="T45" fmla="*/ 65 h 340"/>
              <a:gd name="T46" fmla="*/ 165 w 888"/>
              <a:gd name="T47" fmla="*/ 81 h 340"/>
              <a:gd name="T48" fmla="*/ 92 w 888"/>
              <a:gd name="T49" fmla="*/ 91 h 340"/>
              <a:gd name="T50" fmla="*/ 76 w 888"/>
              <a:gd name="T51" fmla="*/ 142 h 340"/>
              <a:gd name="T52" fmla="*/ 83 w 888"/>
              <a:gd name="T53" fmla="*/ 186 h 340"/>
              <a:gd name="T54" fmla="*/ 108 w 888"/>
              <a:gd name="T55" fmla="*/ 234 h 340"/>
              <a:gd name="T56" fmla="*/ 146 w 888"/>
              <a:gd name="T57" fmla="*/ 297 h 340"/>
              <a:gd name="T58" fmla="*/ 250 w 888"/>
              <a:gd name="T59" fmla="*/ 310 h 340"/>
              <a:gd name="T60" fmla="*/ 359 w 888"/>
              <a:gd name="T61" fmla="*/ 325 h 340"/>
              <a:gd name="T62" fmla="*/ 477 w 888"/>
              <a:gd name="T63" fmla="*/ 298 h 340"/>
              <a:gd name="T64" fmla="*/ 495 w 888"/>
              <a:gd name="T65" fmla="*/ 329 h 340"/>
              <a:gd name="T66" fmla="*/ 515 w 888"/>
              <a:gd name="T67" fmla="*/ 330 h 340"/>
              <a:gd name="T68" fmla="*/ 525 w 888"/>
              <a:gd name="T69" fmla="*/ 308 h 340"/>
              <a:gd name="T70" fmla="*/ 546 w 888"/>
              <a:gd name="T71" fmla="*/ 296 h 340"/>
              <a:gd name="T72" fmla="*/ 622 w 888"/>
              <a:gd name="T73" fmla="*/ 290 h 340"/>
              <a:gd name="T74" fmla="*/ 699 w 888"/>
              <a:gd name="T75" fmla="*/ 271 h 340"/>
              <a:gd name="T76" fmla="*/ 746 w 888"/>
              <a:gd name="T77" fmla="*/ 270 h 340"/>
              <a:gd name="T78" fmla="*/ 781 w 888"/>
              <a:gd name="T79" fmla="*/ 274 h 340"/>
              <a:gd name="T80" fmla="*/ 835 w 888"/>
              <a:gd name="T81" fmla="*/ 267 h 340"/>
              <a:gd name="T82" fmla="*/ 888 w 888"/>
              <a:gd name="T83" fmla="*/ 265 h 340"/>
              <a:gd name="T84" fmla="*/ 81 w 888"/>
              <a:gd name="T85" fmla="*/ 204 h 3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888" h="340">
                <a:moveTo>
                  <a:pt x="3" y="126"/>
                </a:moveTo>
                <a:cubicBezTo>
                  <a:pt x="17" y="125"/>
                  <a:pt x="17" y="125"/>
                  <a:pt x="17" y="125"/>
                </a:cubicBezTo>
                <a:cubicBezTo>
                  <a:pt x="20" y="116"/>
                  <a:pt x="20" y="116"/>
                  <a:pt x="20" y="116"/>
                </a:cubicBezTo>
                <a:cubicBezTo>
                  <a:pt x="0" y="116"/>
                  <a:pt x="0" y="116"/>
                  <a:pt x="0" y="116"/>
                </a:cubicBezTo>
                <a:lnTo>
                  <a:pt x="3" y="126"/>
                </a:lnTo>
                <a:close/>
                <a:moveTo>
                  <a:pt x="27" y="107"/>
                </a:moveTo>
                <a:cubicBezTo>
                  <a:pt x="30" y="116"/>
                  <a:pt x="40" y="122"/>
                  <a:pt x="39" y="106"/>
                </a:cubicBezTo>
                <a:cubicBezTo>
                  <a:pt x="38" y="90"/>
                  <a:pt x="27" y="107"/>
                  <a:pt x="27" y="107"/>
                </a:cubicBezTo>
                <a:close/>
                <a:moveTo>
                  <a:pt x="63" y="93"/>
                </a:moveTo>
                <a:cubicBezTo>
                  <a:pt x="45" y="93"/>
                  <a:pt x="45" y="93"/>
                  <a:pt x="45" y="93"/>
                </a:cubicBezTo>
                <a:cubicBezTo>
                  <a:pt x="45" y="114"/>
                  <a:pt x="45" y="114"/>
                  <a:pt x="45" y="114"/>
                </a:cubicBezTo>
                <a:cubicBezTo>
                  <a:pt x="52" y="101"/>
                  <a:pt x="52" y="101"/>
                  <a:pt x="52" y="101"/>
                </a:cubicBezTo>
                <a:lnTo>
                  <a:pt x="63" y="93"/>
                </a:lnTo>
                <a:close/>
                <a:moveTo>
                  <a:pt x="888" y="265"/>
                </a:moveTo>
                <a:cubicBezTo>
                  <a:pt x="887" y="261"/>
                  <a:pt x="887" y="259"/>
                  <a:pt x="887" y="259"/>
                </a:cubicBezTo>
                <a:cubicBezTo>
                  <a:pt x="871" y="254"/>
                  <a:pt x="871" y="254"/>
                  <a:pt x="871" y="254"/>
                </a:cubicBezTo>
                <a:cubicBezTo>
                  <a:pt x="871" y="236"/>
                  <a:pt x="871" y="236"/>
                  <a:pt x="871" y="236"/>
                </a:cubicBezTo>
                <a:cubicBezTo>
                  <a:pt x="850" y="224"/>
                  <a:pt x="850" y="224"/>
                  <a:pt x="850" y="224"/>
                </a:cubicBezTo>
                <a:cubicBezTo>
                  <a:pt x="850" y="224"/>
                  <a:pt x="863" y="205"/>
                  <a:pt x="858" y="203"/>
                </a:cubicBezTo>
                <a:cubicBezTo>
                  <a:pt x="853" y="201"/>
                  <a:pt x="846" y="180"/>
                  <a:pt x="846" y="180"/>
                </a:cubicBezTo>
                <a:cubicBezTo>
                  <a:pt x="845" y="165"/>
                  <a:pt x="845" y="165"/>
                  <a:pt x="845" y="165"/>
                </a:cubicBezTo>
                <a:cubicBezTo>
                  <a:pt x="834" y="149"/>
                  <a:pt x="834" y="149"/>
                  <a:pt x="834" y="149"/>
                </a:cubicBezTo>
                <a:cubicBezTo>
                  <a:pt x="850" y="147"/>
                  <a:pt x="850" y="147"/>
                  <a:pt x="850" y="147"/>
                </a:cubicBezTo>
                <a:cubicBezTo>
                  <a:pt x="850" y="147"/>
                  <a:pt x="851" y="142"/>
                  <a:pt x="853" y="137"/>
                </a:cubicBezTo>
                <a:cubicBezTo>
                  <a:pt x="850" y="127"/>
                  <a:pt x="846" y="116"/>
                  <a:pt x="843" y="116"/>
                </a:cubicBezTo>
                <a:cubicBezTo>
                  <a:pt x="838" y="115"/>
                  <a:pt x="822" y="124"/>
                  <a:pt x="814" y="113"/>
                </a:cubicBezTo>
                <a:cubicBezTo>
                  <a:pt x="806" y="102"/>
                  <a:pt x="808" y="88"/>
                  <a:pt x="802" y="73"/>
                </a:cubicBezTo>
                <a:cubicBezTo>
                  <a:pt x="796" y="58"/>
                  <a:pt x="794" y="50"/>
                  <a:pt x="794" y="50"/>
                </a:cubicBezTo>
                <a:cubicBezTo>
                  <a:pt x="777" y="50"/>
                  <a:pt x="777" y="50"/>
                  <a:pt x="777" y="50"/>
                </a:cubicBezTo>
                <a:cubicBezTo>
                  <a:pt x="777" y="50"/>
                  <a:pt x="775" y="35"/>
                  <a:pt x="761" y="32"/>
                </a:cubicBezTo>
                <a:cubicBezTo>
                  <a:pt x="747" y="29"/>
                  <a:pt x="741" y="39"/>
                  <a:pt x="741" y="39"/>
                </a:cubicBezTo>
                <a:cubicBezTo>
                  <a:pt x="715" y="34"/>
                  <a:pt x="715" y="34"/>
                  <a:pt x="715" y="34"/>
                </a:cubicBezTo>
                <a:cubicBezTo>
                  <a:pt x="706" y="43"/>
                  <a:pt x="688" y="59"/>
                  <a:pt x="678" y="63"/>
                </a:cubicBezTo>
                <a:cubicBezTo>
                  <a:pt x="665" y="68"/>
                  <a:pt x="621" y="62"/>
                  <a:pt x="621" y="62"/>
                </a:cubicBezTo>
                <a:cubicBezTo>
                  <a:pt x="585" y="72"/>
                  <a:pt x="585" y="72"/>
                  <a:pt x="585" y="72"/>
                </a:cubicBezTo>
                <a:cubicBezTo>
                  <a:pt x="542" y="57"/>
                  <a:pt x="542" y="57"/>
                  <a:pt x="542" y="57"/>
                </a:cubicBezTo>
                <a:cubicBezTo>
                  <a:pt x="525" y="63"/>
                  <a:pt x="525" y="63"/>
                  <a:pt x="525" y="63"/>
                </a:cubicBezTo>
                <a:cubicBezTo>
                  <a:pt x="525" y="63"/>
                  <a:pt x="516" y="40"/>
                  <a:pt x="508" y="42"/>
                </a:cubicBezTo>
                <a:cubicBezTo>
                  <a:pt x="500" y="44"/>
                  <a:pt x="491" y="51"/>
                  <a:pt x="491" y="51"/>
                </a:cubicBezTo>
                <a:cubicBezTo>
                  <a:pt x="475" y="40"/>
                  <a:pt x="475" y="40"/>
                  <a:pt x="475" y="40"/>
                </a:cubicBezTo>
                <a:cubicBezTo>
                  <a:pt x="472" y="25"/>
                  <a:pt x="472" y="25"/>
                  <a:pt x="472" y="25"/>
                </a:cubicBezTo>
                <a:cubicBezTo>
                  <a:pt x="442" y="30"/>
                  <a:pt x="442" y="30"/>
                  <a:pt x="442" y="30"/>
                </a:cubicBezTo>
                <a:cubicBezTo>
                  <a:pt x="424" y="20"/>
                  <a:pt x="424" y="20"/>
                  <a:pt x="424" y="20"/>
                </a:cubicBezTo>
                <a:cubicBezTo>
                  <a:pt x="421" y="6"/>
                  <a:pt x="421" y="6"/>
                  <a:pt x="421" y="6"/>
                </a:cubicBezTo>
                <a:cubicBezTo>
                  <a:pt x="421" y="6"/>
                  <a:pt x="398" y="16"/>
                  <a:pt x="385" y="16"/>
                </a:cubicBezTo>
                <a:cubicBezTo>
                  <a:pt x="373" y="16"/>
                  <a:pt x="355" y="10"/>
                  <a:pt x="343" y="11"/>
                </a:cubicBezTo>
                <a:cubicBezTo>
                  <a:pt x="332" y="12"/>
                  <a:pt x="297" y="26"/>
                  <a:pt x="291" y="32"/>
                </a:cubicBezTo>
                <a:cubicBezTo>
                  <a:pt x="286" y="39"/>
                  <a:pt x="272" y="42"/>
                  <a:pt x="272" y="42"/>
                </a:cubicBezTo>
                <a:cubicBezTo>
                  <a:pt x="266" y="58"/>
                  <a:pt x="266" y="58"/>
                  <a:pt x="266" y="58"/>
                </a:cubicBezTo>
                <a:cubicBezTo>
                  <a:pt x="266" y="58"/>
                  <a:pt x="266" y="62"/>
                  <a:pt x="252" y="59"/>
                </a:cubicBezTo>
                <a:cubicBezTo>
                  <a:pt x="239" y="56"/>
                  <a:pt x="216" y="53"/>
                  <a:pt x="203" y="53"/>
                </a:cubicBezTo>
                <a:cubicBezTo>
                  <a:pt x="191" y="53"/>
                  <a:pt x="151" y="44"/>
                  <a:pt x="151" y="44"/>
                </a:cubicBezTo>
                <a:cubicBezTo>
                  <a:pt x="151" y="44"/>
                  <a:pt x="127" y="47"/>
                  <a:pt x="124" y="33"/>
                </a:cubicBezTo>
                <a:cubicBezTo>
                  <a:pt x="122" y="26"/>
                  <a:pt x="121" y="19"/>
                  <a:pt x="120" y="14"/>
                </a:cubicBezTo>
                <a:cubicBezTo>
                  <a:pt x="111" y="15"/>
                  <a:pt x="97" y="13"/>
                  <a:pt x="97" y="13"/>
                </a:cubicBezTo>
                <a:cubicBezTo>
                  <a:pt x="87" y="0"/>
                  <a:pt x="87" y="0"/>
                  <a:pt x="87" y="0"/>
                </a:cubicBezTo>
                <a:cubicBezTo>
                  <a:pt x="79" y="10"/>
                  <a:pt x="79" y="10"/>
                  <a:pt x="79" y="10"/>
                </a:cubicBezTo>
                <a:cubicBezTo>
                  <a:pt x="59" y="8"/>
                  <a:pt x="59" y="8"/>
                  <a:pt x="59" y="8"/>
                </a:cubicBezTo>
                <a:cubicBezTo>
                  <a:pt x="50" y="23"/>
                  <a:pt x="50" y="23"/>
                  <a:pt x="50" y="23"/>
                </a:cubicBezTo>
                <a:cubicBezTo>
                  <a:pt x="52" y="28"/>
                  <a:pt x="52" y="28"/>
                  <a:pt x="52" y="28"/>
                </a:cubicBezTo>
                <a:cubicBezTo>
                  <a:pt x="52" y="28"/>
                  <a:pt x="59" y="27"/>
                  <a:pt x="62" y="32"/>
                </a:cubicBezTo>
                <a:cubicBezTo>
                  <a:pt x="65" y="37"/>
                  <a:pt x="64" y="45"/>
                  <a:pt x="64" y="45"/>
                </a:cubicBezTo>
                <a:cubicBezTo>
                  <a:pt x="64" y="45"/>
                  <a:pt x="51" y="41"/>
                  <a:pt x="50" y="47"/>
                </a:cubicBezTo>
                <a:cubicBezTo>
                  <a:pt x="49" y="53"/>
                  <a:pt x="54" y="56"/>
                  <a:pt x="52" y="63"/>
                </a:cubicBezTo>
                <a:cubicBezTo>
                  <a:pt x="50" y="70"/>
                  <a:pt x="47" y="75"/>
                  <a:pt x="47" y="75"/>
                </a:cubicBezTo>
                <a:cubicBezTo>
                  <a:pt x="47" y="75"/>
                  <a:pt x="35" y="87"/>
                  <a:pt x="50" y="86"/>
                </a:cubicBezTo>
                <a:cubicBezTo>
                  <a:pt x="65" y="85"/>
                  <a:pt x="76" y="80"/>
                  <a:pt x="76" y="80"/>
                </a:cubicBezTo>
                <a:cubicBezTo>
                  <a:pt x="76" y="80"/>
                  <a:pt x="72" y="90"/>
                  <a:pt x="80" y="87"/>
                </a:cubicBezTo>
                <a:cubicBezTo>
                  <a:pt x="88" y="84"/>
                  <a:pt x="107" y="65"/>
                  <a:pt x="107" y="65"/>
                </a:cubicBezTo>
                <a:cubicBezTo>
                  <a:pt x="107" y="65"/>
                  <a:pt x="141" y="53"/>
                  <a:pt x="152" y="61"/>
                </a:cubicBezTo>
                <a:cubicBezTo>
                  <a:pt x="163" y="69"/>
                  <a:pt x="197" y="74"/>
                  <a:pt x="197" y="74"/>
                </a:cubicBezTo>
                <a:cubicBezTo>
                  <a:pt x="197" y="74"/>
                  <a:pt x="166" y="78"/>
                  <a:pt x="165" y="81"/>
                </a:cubicBezTo>
                <a:cubicBezTo>
                  <a:pt x="164" y="84"/>
                  <a:pt x="159" y="93"/>
                  <a:pt x="159" y="93"/>
                </a:cubicBezTo>
                <a:cubicBezTo>
                  <a:pt x="126" y="94"/>
                  <a:pt x="126" y="94"/>
                  <a:pt x="126" y="94"/>
                </a:cubicBezTo>
                <a:cubicBezTo>
                  <a:pt x="92" y="91"/>
                  <a:pt x="92" y="91"/>
                  <a:pt x="92" y="91"/>
                </a:cubicBezTo>
                <a:cubicBezTo>
                  <a:pt x="92" y="91"/>
                  <a:pt x="66" y="97"/>
                  <a:pt x="62" y="105"/>
                </a:cubicBezTo>
                <a:cubicBezTo>
                  <a:pt x="58" y="113"/>
                  <a:pt x="49" y="143"/>
                  <a:pt x="49" y="143"/>
                </a:cubicBezTo>
                <a:cubicBezTo>
                  <a:pt x="76" y="142"/>
                  <a:pt x="76" y="142"/>
                  <a:pt x="76" y="142"/>
                </a:cubicBezTo>
                <a:cubicBezTo>
                  <a:pt x="76" y="142"/>
                  <a:pt x="72" y="151"/>
                  <a:pt x="77" y="159"/>
                </a:cubicBezTo>
                <a:cubicBezTo>
                  <a:pt x="82" y="167"/>
                  <a:pt x="88" y="175"/>
                  <a:pt x="88" y="175"/>
                </a:cubicBezTo>
                <a:cubicBezTo>
                  <a:pt x="83" y="186"/>
                  <a:pt x="83" y="186"/>
                  <a:pt x="83" y="186"/>
                </a:cubicBezTo>
                <a:cubicBezTo>
                  <a:pt x="93" y="201"/>
                  <a:pt x="93" y="201"/>
                  <a:pt x="93" y="201"/>
                </a:cubicBezTo>
                <a:cubicBezTo>
                  <a:pt x="84" y="212"/>
                  <a:pt x="84" y="212"/>
                  <a:pt x="84" y="212"/>
                </a:cubicBezTo>
                <a:cubicBezTo>
                  <a:pt x="108" y="234"/>
                  <a:pt x="108" y="234"/>
                  <a:pt x="108" y="234"/>
                </a:cubicBezTo>
                <a:cubicBezTo>
                  <a:pt x="106" y="258"/>
                  <a:pt x="106" y="258"/>
                  <a:pt x="106" y="258"/>
                </a:cubicBezTo>
                <a:cubicBezTo>
                  <a:pt x="140" y="275"/>
                  <a:pt x="140" y="275"/>
                  <a:pt x="140" y="275"/>
                </a:cubicBezTo>
                <a:cubicBezTo>
                  <a:pt x="146" y="297"/>
                  <a:pt x="146" y="297"/>
                  <a:pt x="146" y="297"/>
                </a:cubicBezTo>
                <a:cubicBezTo>
                  <a:pt x="146" y="297"/>
                  <a:pt x="143" y="285"/>
                  <a:pt x="162" y="290"/>
                </a:cubicBezTo>
                <a:cubicBezTo>
                  <a:pt x="181" y="295"/>
                  <a:pt x="178" y="312"/>
                  <a:pt x="208" y="315"/>
                </a:cubicBezTo>
                <a:cubicBezTo>
                  <a:pt x="238" y="318"/>
                  <a:pt x="250" y="317"/>
                  <a:pt x="250" y="310"/>
                </a:cubicBezTo>
                <a:cubicBezTo>
                  <a:pt x="250" y="303"/>
                  <a:pt x="252" y="284"/>
                  <a:pt x="262" y="283"/>
                </a:cubicBezTo>
                <a:cubicBezTo>
                  <a:pt x="272" y="282"/>
                  <a:pt x="299" y="289"/>
                  <a:pt x="313" y="294"/>
                </a:cubicBezTo>
                <a:cubicBezTo>
                  <a:pt x="327" y="299"/>
                  <a:pt x="313" y="326"/>
                  <a:pt x="359" y="325"/>
                </a:cubicBezTo>
                <a:cubicBezTo>
                  <a:pt x="405" y="324"/>
                  <a:pt x="406" y="299"/>
                  <a:pt x="422" y="294"/>
                </a:cubicBezTo>
                <a:cubicBezTo>
                  <a:pt x="438" y="289"/>
                  <a:pt x="450" y="285"/>
                  <a:pt x="457" y="291"/>
                </a:cubicBezTo>
                <a:cubicBezTo>
                  <a:pt x="464" y="297"/>
                  <a:pt x="466" y="303"/>
                  <a:pt x="477" y="298"/>
                </a:cubicBezTo>
                <a:cubicBezTo>
                  <a:pt x="488" y="293"/>
                  <a:pt x="495" y="277"/>
                  <a:pt x="502" y="284"/>
                </a:cubicBezTo>
                <a:cubicBezTo>
                  <a:pt x="509" y="291"/>
                  <a:pt x="501" y="300"/>
                  <a:pt x="498" y="306"/>
                </a:cubicBezTo>
                <a:cubicBezTo>
                  <a:pt x="495" y="312"/>
                  <a:pt x="488" y="324"/>
                  <a:pt x="495" y="329"/>
                </a:cubicBezTo>
                <a:cubicBezTo>
                  <a:pt x="496" y="330"/>
                  <a:pt x="497" y="331"/>
                  <a:pt x="496" y="333"/>
                </a:cubicBezTo>
                <a:cubicBezTo>
                  <a:pt x="499" y="335"/>
                  <a:pt x="506" y="340"/>
                  <a:pt x="509" y="339"/>
                </a:cubicBezTo>
                <a:cubicBezTo>
                  <a:pt x="513" y="338"/>
                  <a:pt x="515" y="330"/>
                  <a:pt x="515" y="330"/>
                </a:cubicBezTo>
                <a:cubicBezTo>
                  <a:pt x="515" y="321"/>
                  <a:pt x="515" y="321"/>
                  <a:pt x="515" y="321"/>
                </a:cubicBezTo>
                <a:cubicBezTo>
                  <a:pt x="515" y="321"/>
                  <a:pt x="529" y="327"/>
                  <a:pt x="530" y="319"/>
                </a:cubicBezTo>
                <a:cubicBezTo>
                  <a:pt x="532" y="306"/>
                  <a:pt x="525" y="308"/>
                  <a:pt x="525" y="308"/>
                </a:cubicBezTo>
                <a:cubicBezTo>
                  <a:pt x="524" y="287"/>
                  <a:pt x="524" y="287"/>
                  <a:pt x="524" y="287"/>
                </a:cubicBezTo>
                <a:cubicBezTo>
                  <a:pt x="524" y="287"/>
                  <a:pt x="538" y="282"/>
                  <a:pt x="540" y="286"/>
                </a:cubicBezTo>
                <a:cubicBezTo>
                  <a:pt x="542" y="290"/>
                  <a:pt x="525" y="296"/>
                  <a:pt x="546" y="296"/>
                </a:cubicBezTo>
                <a:cubicBezTo>
                  <a:pt x="567" y="296"/>
                  <a:pt x="582" y="288"/>
                  <a:pt x="582" y="288"/>
                </a:cubicBezTo>
                <a:cubicBezTo>
                  <a:pt x="582" y="288"/>
                  <a:pt x="593" y="276"/>
                  <a:pt x="596" y="277"/>
                </a:cubicBezTo>
                <a:cubicBezTo>
                  <a:pt x="599" y="278"/>
                  <a:pt x="622" y="290"/>
                  <a:pt x="622" y="290"/>
                </a:cubicBezTo>
                <a:cubicBezTo>
                  <a:pt x="622" y="290"/>
                  <a:pt x="634" y="295"/>
                  <a:pt x="645" y="294"/>
                </a:cubicBezTo>
                <a:cubicBezTo>
                  <a:pt x="656" y="293"/>
                  <a:pt x="661" y="290"/>
                  <a:pt x="670" y="287"/>
                </a:cubicBezTo>
                <a:cubicBezTo>
                  <a:pt x="679" y="284"/>
                  <a:pt x="686" y="272"/>
                  <a:pt x="699" y="271"/>
                </a:cubicBezTo>
                <a:cubicBezTo>
                  <a:pt x="712" y="270"/>
                  <a:pt x="718" y="269"/>
                  <a:pt x="723" y="271"/>
                </a:cubicBezTo>
                <a:cubicBezTo>
                  <a:pt x="728" y="273"/>
                  <a:pt x="723" y="278"/>
                  <a:pt x="732" y="277"/>
                </a:cubicBezTo>
                <a:cubicBezTo>
                  <a:pt x="741" y="276"/>
                  <a:pt x="746" y="270"/>
                  <a:pt x="746" y="270"/>
                </a:cubicBezTo>
                <a:cubicBezTo>
                  <a:pt x="746" y="270"/>
                  <a:pt x="751" y="268"/>
                  <a:pt x="759" y="267"/>
                </a:cubicBezTo>
                <a:cubicBezTo>
                  <a:pt x="767" y="266"/>
                  <a:pt x="769" y="255"/>
                  <a:pt x="772" y="257"/>
                </a:cubicBezTo>
                <a:cubicBezTo>
                  <a:pt x="775" y="259"/>
                  <a:pt x="769" y="277"/>
                  <a:pt x="781" y="274"/>
                </a:cubicBezTo>
                <a:cubicBezTo>
                  <a:pt x="793" y="271"/>
                  <a:pt x="792" y="258"/>
                  <a:pt x="792" y="258"/>
                </a:cubicBezTo>
                <a:cubicBezTo>
                  <a:pt x="818" y="258"/>
                  <a:pt x="818" y="258"/>
                  <a:pt x="818" y="258"/>
                </a:cubicBezTo>
                <a:cubicBezTo>
                  <a:pt x="818" y="258"/>
                  <a:pt x="827" y="269"/>
                  <a:pt x="835" y="267"/>
                </a:cubicBezTo>
                <a:cubicBezTo>
                  <a:pt x="843" y="265"/>
                  <a:pt x="835" y="257"/>
                  <a:pt x="849" y="258"/>
                </a:cubicBezTo>
                <a:cubicBezTo>
                  <a:pt x="863" y="259"/>
                  <a:pt x="861" y="276"/>
                  <a:pt x="861" y="276"/>
                </a:cubicBezTo>
                <a:lnTo>
                  <a:pt x="888" y="265"/>
                </a:lnTo>
                <a:close/>
                <a:moveTo>
                  <a:pt x="67" y="189"/>
                </a:moveTo>
                <a:cubicBezTo>
                  <a:pt x="63" y="185"/>
                  <a:pt x="61" y="207"/>
                  <a:pt x="67" y="217"/>
                </a:cubicBezTo>
                <a:cubicBezTo>
                  <a:pt x="72" y="226"/>
                  <a:pt x="79" y="208"/>
                  <a:pt x="81" y="204"/>
                </a:cubicBezTo>
                <a:cubicBezTo>
                  <a:pt x="83" y="200"/>
                  <a:pt x="71" y="193"/>
                  <a:pt x="67" y="189"/>
                </a:cubicBezTo>
                <a:close/>
              </a:path>
            </a:pathLst>
          </a:custGeom>
          <a:solidFill>
            <a:schemeClr val="accent6"/>
          </a:solidFill>
          <a:ln w="0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pic>
        <p:nvPicPr>
          <p:cNvPr id="26" name="Grafik 25" descr="Ladender Akku Silhouette">
            <a:extLst>
              <a:ext uri="{FF2B5EF4-FFF2-40B4-BE49-F238E27FC236}">
                <a16:creationId xmlns:a16="http://schemas.microsoft.com/office/drawing/2014/main" id="{3DF9F27B-FE08-FC1B-4707-FC1D08C245C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68880" y="2534539"/>
            <a:ext cx="583200" cy="583200"/>
          </a:xfrm>
          <a:prstGeom prst="rect">
            <a:avLst/>
          </a:prstGeom>
        </p:spPr>
      </p:pic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205C033A-E78F-F103-A358-1783517C3D32}"/>
              </a:ext>
            </a:extLst>
          </p:cNvPr>
          <p:cNvGrpSpPr/>
          <p:nvPr/>
        </p:nvGrpSpPr>
        <p:grpSpPr>
          <a:xfrm>
            <a:off x="3865355" y="2699140"/>
            <a:ext cx="6557765" cy="253999"/>
            <a:chOff x="2676525" y="2735516"/>
            <a:chExt cx="6557765" cy="914400"/>
          </a:xfrm>
        </p:grpSpPr>
        <p:sp>
          <p:nvSpPr>
            <p:cNvPr id="27" name="Textfeld 26">
              <a:extLst>
                <a:ext uri="{FF2B5EF4-FFF2-40B4-BE49-F238E27FC236}">
                  <a16:creationId xmlns:a16="http://schemas.microsoft.com/office/drawing/2014/main" id="{FE19EAD1-83D8-8AAC-1A49-D02B43A3AE2B}"/>
                </a:ext>
              </a:extLst>
            </p:cNvPr>
            <p:cNvSpPr txBox="1"/>
            <p:nvPr/>
          </p:nvSpPr>
          <p:spPr>
            <a:xfrm>
              <a:off x="2676525" y="2735516"/>
              <a:ext cx="914400" cy="914400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0" i="0" u="none" dirty="0"/>
                <a:t>98,2 GW</a:t>
              </a:r>
            </a:p>
          </p:txBody>
        </p:sp>
        <p:sp>
          <p:nvSpPr>
            <p:cNvPr id="28" name="Textfeld 27">
              <a:extLst>
                <a:ext uri="{FF2B5EF4-FFF2-40B4-BE49-F238E27FC236}">
                  <a16:creationId xmlns:a16="http://schemas.microsoft.com/office/drawing/2014/main" id="{3D312881-355A-7118-83BD-84C73AB36DC4}"/>
                </a:ext>
              </a:extLst>
            </p:cNvPr>
            <p:cNvSpPr txBox="1"/>
            <p:nvPr/>
          </p:nvSpPr>
          <p:spPr>
            <a:xfrm>
              <a:off x="8319890" y="2735516"/>
              <a:ext cx="914400" cy="914400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dirty="0"/>
                <a:t>235</a:t>
              </a:r>
              <a:r>
                <a:rPr lang="de-DE" sz="1600" b="0" i="0" u="none" dirty="0"/>
                <a:t> GW</a:t>
              </a:r>
            </a:p>
          </p:txBody>
        </p:sp>
      </p:grp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A7871938-A755-D2EB-059B-365A10087ECE}"/>
              </a:ext>
            </a:extLst>
          </p:cNvPr>
          <p:cNvCxnSpPr/>
          <p:nvPr/>
        </p:nvCxnSpPr>
        <p:spPr>
          <a:xfrm>
            <a:off x="1768880" y="3186642"/>
            <a:ext cx="8573127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D6D3D858-57C6-7911-EEFC-BC49B9C4A7A0}"/>
              </a:ext>
            </a:extLst>
          </p:cNvPr>
          <p:cNvGrpSpPr/>
          <p:nvPr/>
        </p:nvGrpSpPr>
        <p:grpSpPr>
          <a:xfrm>
            <a:off x="3865355" y="3440628"/>
            <a:ext cx="6557765" cy="253999"/>
            <a:chOff x="2676525" y="2735516"/>
            <a:chExt cx="6557765" cy="914400"/>
          </a:xfrm>
        </p:grpSpPr>
        <p:sp>
          <p:nvSpPr>
            <p:cNvPr id="34" name="Textfeld 33">
              <a:extLst>
                <a:ext uri="{FF2B5EF4-FFF2-40B4-BE49-F238E27FC236}">
                  <a16:creationId xmlns:a16="http://schemas.microsoft.com/office/drawing/2014/main" id="{A98881A0-5846-5946-8080-4A1D77FD4514}"/>
                </a:ext>
              </a:extLst>
            </p:cNvPr>
            <p:cNvSpPr txBox="1"/>
            <p:nvPr/>
          </p:nvSpPr>
          <p:spPr>
            <a:xfrm>
              <a:off x="2676525" y="2735516"/>
              <a:ext cx="914400" cy="914400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0" i="0" u="none" dirty="0"/>
                <a:t>52,3 %</a:t>
              </a:r>
            </a:p>
          </p:txBody>
        </p:sp>
        <p:sp>
          <p:nvSpPr>
            <p:cNvPr id="35" name="Textfeld 34">
              <a:extLst>
                <a:ext uri="{FF2B5EF4-FFF2-40B4-BE49-F238E27FC236}">
                  <a16:creationId xmlns:a16="http://schemas.microsoft.com/office/drawing/2014/main" id="{0CCB7FC5-6CC5-FC39-5F11-F63DC0ED2A6A}"/>
                </a:ext>
              </a:extLst>
            </p:cNvPr>
            <p:cNvSpPr txBox="1"/>
            <p:nvPr/>
          </p:nvSpPr>
          <p:spPr>
            <a:xfrm>
              <a:off x="8319890" y="2735516"/>
              <a:ext cx="914400" cy="914400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dirty="0"/>
                <a:t>60</a:t>
              </a:r>
              <a:r>
                <a:rPr lang="de-DE" sz="1600" b="0" i="0" u="none" dirty="0"/>
                <a:t> %</a:t>
              </a:r>
            </a:p>
          </p:txBody>
        </p:sp>
      </p:grp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AC793646-3706-2CAC-084F-E04D94694555}"/>
              </a:ext>
            </a:extLst>
          </p:cNvPr>
          <p:cNvCxnSpPr/>
          <p:nvPr/>
        </p:nvCxnSpPr>
        <p:spPr>
          <a:xfrm>
            <a:off x="1768880" y="3928130"/>
            <a:ext cx="8573127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599324CF-449E-D98D-16C7-0C4409254067}"/>
              </a:ext>
            </a:extLst>
          </p:cNvPr>
          <p:cNvGrpSpPr/>
          <p:nvPr/>
        </p:nvGrpSpPr>
        <p:grpSpPr>
          <a:xfrm>
            <a:off x="3865355" y="4186853"/>
            <a:ext cx="6557765" cy="253999"/>
            <a:chOff x="2676525" y="2735516"/>
            <a:chExt cx="6557765" cy="914400"/>
          </a:xfrm>
        </p:grpSpPr>
        <p:sp>
          <p:nvSpPr>
            <p:cNvPr id="39" name="Textfeld 38">
              <a:extLst>
                <a:ext uri="{FF2B5EF4-FFF2-40B4-BE49-F238E27FC236}">
                  <a16:creationId xmlns:a16="http://schemas.microsoft.com/office/drawing/2014/main" id="{44EEEDCD-67AE-A008-294D-FB8EDB7E28EA}"/>
                </a:ext>
              </a:extLst>
            </p:cNvPr>
            <p:cNvSpPr txBox="1"/>
            <p:nvPr/>
          </p:nvSpPr>
          <p:spPr>
            <a:xfrm>
              <a:off x="2676525" y="2735516"/>
              <a:ext cx="914400" cy="914400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dirty="0"/>
                <a:t>ca.</a:t>
              </a:r>
              <a:r>
                <a:rPr lang="de-DE" sz="1600" b="0" i="0" u="none" dirty="0"/>
                <a:t> 100</a:t>
              </a:r>
            </a:p>
          </p:txBody>
        </p:sp>
        <p:sp>
          <p:nvSpPr>
            <p:cNvPr id="40" name="Textfeld 39">
              <a:extLst>
                <a:ext uri="{FF2B5EF4-FFF2-40B4-BE49-F238E27FC236}">
                  <a16:creationId xmlns:a16="http://schemas.microsoft.com/office/drawing/2014/main" id="{09B47F92-8945-4B40-0485-3D4B8FD70E19}"/>
                </a:ext>
              </a:extLst>
            </p:cNvPr>
            <p:cNvSpPr txBox="1"/>
            <p:nvPr/>
          </p:nvSpPr>
          <p:spPr>
            <a:xfrm>
              <a:off x="8319890" y="2735516"/>
              <a:ext cx="914400" cy="914400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dirty="0"/>
                <a:t>ca. 2000</a:t>
              </a:r>
              <a:endParaRPr lang="de-DE" sz="1600" b="0" i="0" u="none" dirty="0"/>
            </a:p>
          </p:txBody>
        </p:sp>
      </p:grp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01B8D077-5F8C-AF21-3FC3-A7005405FBCB}"/>
              </a:ext>
            </a:extLst>
          </p:cNvPr>
          <p:cNvCxnSpPr/>
          <p:nvPr/>
        </p:nvCxnSpPr>
        <p:spPr>
          <a:xfrm>
            <a:off x="1768880" y="4674355"/>
            <a:ext cx="8573127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6EF381A8-C7C2-CA7A-7934-F50C3E28D4FF}"/>
              </a:ext>
            </a:extLst>
          </p:cNvPr>
          <p:cNvGrpSpPr/>
          <p:nvPr/>
        </p:nvGrpSpPr>
        <p:grpSpPr>
          <a:xfrm>
            <a:off x="3865355" y="4907859"/>
            <a:ext cx="6557765" cy="253999"/>
            <a:chOff x="2676525" y="2735516"/>
            <a:chExt cx="6557765" cy="914400"/>
          </a:xfrm>
        </p:grpSpPr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A5671134-D8AC-EBA1-7415-CEB99422DE7E}"/>
                </a:ext>
              </a:extLst>
            </p:cNvPr>
            <p:cNvSpPr txBox="1"/>
            <p:nvPr/>
          </p:nvSpPr>
          <p:spPr>
            <a:xfrm>
              <a:off x="2676525" y="2735516"/>
              <a:ext cx="914400" cy="914400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0" i="0" u="none" dirty="0"/>
                <a:t>9,4 TWh</a:t>
              </a:r>
            </a:p>
          </p:txBody>
        </p:sp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1EDE1A04-C4E2-9815-076A-505C5CB83348}"/>
                </a:ext>
              </a:extLst>
            </p:cNvPr>
            <p:cNvSpPr txBox="1"/>
            <p:nvPr/>
          </p:nvSpPr>
          <p:spPr>
            <a:xfrm>
              <a:off x="8319890" y="2735516"/>
              <a:ext cx="914400" cy="914400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dirty="0"/>
                <a:t>80 TWh</a:t>
              </a:r>
              <a:endParaRPr lang="de-DE" sz="1600" b="0" i="0" u="none" dirty="0"/>
            </a:p>
          </p:txBody>
        </p:sp>
      </p:grp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29980922-84D8-B5D9-5E8E-D5BF08F40B19}"/>
              </a:ext>
            </a:extLst>
          </p:cNvPr>
          <p:cNvCxnSpPr/>
          <p:nvPr/>
        </p:nvCxnSpPr>
        <p:spPr>
          <a:xfrm>
            <a:off x="1768880" y="5395361"/>
            <a:ext cx="8573127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AB8A9333-BE24-6C13-2C85-87D8B3CC2296}"/>
              </a:ext>
            </a:extLst>
          </p:cNvPr>
          <p:cNvGrpSpPr/>
          <p:nvPr/>
        </p:nvGrpSpPr>
        <p:grpSpPr>
          <a:xfrm>
            <a:off x="3865355" y="5628865"/>
            <a:ext cx="6557765" cy="253999"/>
            <a:chOff x="2676525" y="2735516"/>
            <a:chExt cx="6557765" cy="914400"/>
          </a:xfrm>
        </p:grpSpPr>
        <p:sp>
          <p:nvSpPr>
            <p:cNvPr id="49" name="Textfeld 48">
              <a:extLst>
                <a:ext uri="{FF2B5EF4-FFF2-40B4-BE49-F238E27FC236}">
                  <a16:creationId xmlns:a16="http://schemas.microsoft.com/office/drawing/2014/main" id="{732DF5B6-66A9-FEC7-CD97-FE6635E54A37}"/>
                </a:ext>
              </a:extLst>
            </p:cNvPr>
            <p:cNvSpPr txBox="1"/>
            <p:nvPr/>
          </p:nvSpPr>
          <p:spPr>
            <a:xfrm>
              <a:off x="2676525" y="2735516"/>
              <a:ext cx="914400" cy="914400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0" i="0" u="none" dirty="0"/>
                <a:t>1 h</a:t>
              </a:r>
            </a:p>
          </p:txBody>
        </p:sp>
        <p:sp>
          <p:nvSpPr>
            <p:cNvPr id="50" name="Textfeld 49">
              <a:extLst>
                <a:ext uri="{FF2B5EF4-FFF2-40B4-BE49-F238E27FC236}">
                  <a16:creationId xmlns:a16="http://schemas.microsoft.com/office/drawing/2014/main" id="{F83B386B-DD33-6CAB-EE44-7E2DFB949942}"/>
                </a:ext>
              </a:extLst>
            </p:cNvPr>
            <p:cNvSpPr txBox="1"/>
            <p:nvPr/>
          </p:nvSpPr>
          <p:spPr>
            <a:xfrm>
              <a:off x="8319890" y="2735516"/>
              <a:ext cx="914400" cy="914400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dirty="0"/>
                <a:t>5 min</a:t>
              </a:r>
              <a:endParaRPr lang="de-DE" sz="1600" b="0" i="0" u="none" dirty="0"/>
            </a:p>
          </p:txBody>
        </p:sp>
      </p:grp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5FF2B981-0B48-5E96-6FFA-6D4BD2798D86}"/>
              </a:ext>
            </a:extLst>
          </p:cNvPr>
          <p:cNvCxnSpPr/>
          <p:nvPr/>
        </p:nvCxnSpPr>
        <p:spPr>
          <a:xfrm>
            <a:off x="1768880" y="6116367"/>
            <a:ext cx="8573127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3" name="Grafik 52" descr="Erneuerbare Energien Silhouette">
            <a:extLst>
              <a:ext uri="{FF2B5EF4-FFF2-40B4-BE49-F238E27FC236}">
                <a16:creationId xmlns:a16="http://schemas.microsoft.com/office/drawing/2014/main" id="{E98E6EE6-9DD6-8EB9-9D10-A7FFECBBF54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768880" y="3276028"/>
            <a:ext cx="583200" cy="583200"/>
          </a:xfrm>
          <a:prstGeom prst="rect">
            <a:avLst/>
          </a:prstGeom>
        </p:spPr>
      </p:pic>
      <p:pic>
        <p:nvPicPr>
          <p:cNvPr id="55" name="Grafik 54" descr="Gruppe von Männern Silhouette">
            <a:extLst>
              <a:ext uri="{FF2B5EF4-FFF2-40B4-BE49-F238E27FC236}">
                <a16:creationId xmlns:a16="http://schemas.microsoft.com/office/drawing/2014/main" id="{2B3CA261-2326-DE25-C802-F150AAD7E2E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768880" y="4022253"/>
            <a:ext cx="583200" cy="583200"/>
          </a:xfrm>
          <a:prstGeom prst="rect">
            <a:avLst/>
          </a:prstGeom>
        </p:spPr>
      </p:pic>
      <p:pic>
        <p:nvPicPr>
          <p:cNvPr id="59" name="Grafik 58" descr="Darlehen Silhouette">
            <a:extLst>
              <a:ext uri="{FF2B5EF4-FFF2-40B4-BE49-F238E27FC236}">
                <a16:creationId xmlns:a16="http://schemas.microsoft.com/office/drawing/2014/main" id="{C50EF075-D2EB-7783-C0A2-F1089CFBED5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768880" y="4743258"/>
            <a:ext cx="583200" cy="583200"/>
          </a:xfrm>
          <a:prstGeom prst="rect">
            <a:avLst/>
          </a:prstGeom>
        </p:spPr>
      </p:pic>
      <p:pic>
        <p:nvPicPr>
          <p:cNvPr id="61" name="Grafik 60" descr="Stoppuhr Silhouette">
            <a:extLst>
              <a:ext uri="{FF2B5EF4-FFF2-40B4-BE49-F238E27FC236}">
                <a16:creationId xmlns:a16="http://schemas.microsoft.com/office/drawing/2014/main" id="{62075DCF-CA1B-5F68-A1A6-345A9A3CAD4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768880" y="5464264"/>
            <a:ext cx="583200" cy="58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701789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E3C16B-D2C1-1458-0395-5A3180BBCE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600" b="1" i="0" u="none" dirty="0">
                <a:solidFill>
                  <a:schemeClr val="accent1"/>
                </a:solidFill>
              </a:rPr>
              <a:t>Trade </a:t>
            </a:r>
            <a:r>
              <a:rPr lang="de-DE" sz="3600" b="1" i="0" u="none" dirty="0" err="1">
                <a:solidFill>
                  <a:schemeClr val="accent1"/>
                </a:solidFill>
              </a:rPr>
              <a:t>information</a:t>
            </a:r>
            <a:endParaRPr lang="de-DE" dirty="0"/>
          </a:p>
        </p:txBody>
      </p:sp>
      <p:pic>
        <p:nvPicPr>
          <p:cNvPr id="3" name="Grafik 2" descr="Fernstudium Mathematik Silhouette">
            <a:extLst>
              <a:ext uri="{FF2B5EF4-FFF2-40B4-BE49-F238E27FC236}">
                <a16:creationId xmlns:a16="http://schemas.microsoft.com/office/drawing/2014/main" id="{15FF2C1D-D9A9-41C9-9B73-CA0D0896CC7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509283" y="6116999"/>
            <a:ext cx="540000" cy="540000"/>
          </a:xfrm>
          <a:prstGeom prst="rect">
            <a:avLst/>
          </a:prstGeom>
        </p:spPr>
      </p:pic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516EB4EB-4C51-A407-A939-8A4AC078B1E1}"/>
              </a:ext>
            </a:extLst>
          </p:cNvPr>
          <p:cNvGrpSpPr/>
          <p:nvPr/>
        </p:nvGrpSpPr>
        <p:grpSpPr>
          <a:xfrm>
            <a:off x="527558" y="1086872"/>
            <a:ext cx="10981725" cy="4548620"/>
            <a:chOff x="458400" y="1086872"/>
            <a:chExt cx="6866325" cy="4548620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C8E8075A-D3BE-F125-96BF-08789512BD82}"/>
                </a:ext>
              </a:extLst>
            </p:cNvPr>
            <p:cNvSpPr/>
            <p:nvPr/>
          </p:nvSpPr>
          <p:spPr>
            <a:xfrm>
              <a:off x="3105150" y="1086873"/>
              <a:ext cx="1838325" cy="262219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7200" tIns="97200" rIns="97200" bIns="97200" rtlCol="0" anchor="ctr"/>
            <a:lstStyle/>
            <a:p>
              <a:pPr algn="ctr" defTabSz="486000"/>
              <a:r>
                <a:rPr lang="de-DE" sz="1600" dirty="0">
                  <a:solidFill>
                    <a:schemeClr val="tx1"/>
                  </a:solidFill>
                </a:rPr>
                <a:t>ID3</a:t>
              </a: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FD98F9C5-131C-AEDC-FF5D-735C38B7BDDD}"/>
                </a:ext>
              </a:extLst>
            </p:cNvPr>
            <p:cNvSpPr/>
            <p:nvPr/>
          </p:nvSpPr>
          <p:spPr>
            <a:xfrm>
              <a:off x="5486400" y="1086872"/>
              <a:ext cx="1838325" cy="262219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7200" tIns="97200" rIns="97200" bIns="97200" rtlCol="0" anchor="ctr"/>
            <a:lstStyle/>
            <a:p>
              <a:pPr algn="ctr" defTabSz="486000"/>
              <a:r>
                <a:rPr lang="de-DE" sz="1600" dirty="0" err="1">
                  <a:solidFill>
                    <a:schemeClr val="tx1"/>
                  </a:solidFill>
                </a:rPr>
                <a:t>No</a:t>
              </a:r>
              <a:r>
                <a:rPr lang="de-DE" sz="1600" dirty="0">
                  <a:solidFill>
                    <a:schemeClr val="tx1"/>
                  </a:solidFill>
                </a:rPr>
                <a:t> ID3</a:t>
              </a:r>
            </a:p>
          </p:txBody>
        </p: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9471D6B9-D1B4-B8DB-B7DA-BFAD339F720D}"/>
                </a:ext>
              </a:extLst>
            </p:cNvPr>
            <p:cNvCxnSpPr>
              <a:cxnSpLocks/>
            </p:cNvCxnSpPr>
            <p:nvPr/>
          </p:nvCxnSpPr>
          <p:spPr>
            <a:xfrm>
              <a:off x="458400" y="1959844"/>
              <a:ext cx="6866325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6595B772-5FB1-A7B7-FD99-C5AAB3D38342}"/>
                </a:ext>
              </a:extLst>
            </p:cNvPr>
            <p:cNvSpPr txBox="1"/>
            <p:nvPr/>
          </p:nvSpPr>
          <p:spPr>
            <a:xfrm>
              <a:off x="3868609" y="1540312"/>
              <a:ext cx="311406" cy="262219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0" i="0" u="none" dirty="0"/>
                <a:t>279</a:t>
              </a:r>
            </a:p>
          </p:txBody>
        </p:sp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D0631581-483A-EF19-F37A-038D9ACBAC94}"/>
                </a:ext>
              </a:extLst>
            </p:cNvPr>
            <p:cNvSpPr txBox="1"/>
            <p:nvPr/>
          </p:nvSpPr>
          <p:spPr>
            <a:xfrm>
              <a:off x="6249859" y="1510931"/>
              <a:ext cx="311406" cy="262219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0" i="0" u="none" dirty="0"/>
                <a:t>202</a:t>
              </a:r>
            </a:p>
          </p:txBody>
        </p:sp>
        <p:sp>
          <p:nvSpPr>
            <p:cNvPr id="15" name="Textfeld 14">
              <a:extLst>
                <a:ext uri="{FF2B5EF4-FFF2-40B4-BE49-F238E27FC236}">
                  <a16:creationId xmlns:a16="http://schemas.microsoft.com/office/drawing/2014/main" id="{5DD876CF-1F5C-F198-BE9A-D4A1E79924FA}"/>
                </a:ext>
              </a:extLst>
            </p:cNvPr>
            <p:cNvSpPr txBox="1"/>
            <p:nvPr/>
          </p:nvSpPr>
          <p:spPr>
            <a:xfrm>
              <a:off x="1061654" y="1533394"/>
              <a:ext cx="311406" cy="262219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0" i="0" u="none" dirty="0" err="1"/>
                <a:t>Av</a:t>
              </a:r>
              <a:r>
                <a:rPr lang="de-DE" sz="1600" b="0" i="0" u="none" dirty="0"/>
                <a:t>. </a:t>
              </a:r>
              <a:r>
                <a:rPr lang="de-DE" sz="1600" dirty="0" err="1"/>
                <a:t>nu</a:t>
              </a:r>
              <a:r>
                <a:rPr lang="de-DE" sz="1600" b="0" i="0" u="none" dirty="0" err="1"/>
                <a:t>mber</a:t>
              </a:r>
              <a:r>
                <a:rPr lang="de-DE" sz="1600" b="0" i="0" u="none" dirty="0"/>
                <a:t> </a:t>
              </a:r>
              <a:r>
                <a:rPr lang="de-DE" sz="1600" b="0" i="0" u="none" dirty="0" err="1"/>
                <a:t>of</a:t>
              </a:r>
              <a:r>
                <a:rPr lang="de-DE" sz="1600" b="0" i="0" u="none" dirty="0"/>
                <a:t> </a:t>
              </a:r>
              <a:r>
                <a:rPr lang="de-DE" sz="1600" b="0" i="0" u="none" dirty="0" err="1"/>
                <a:t>trades</a:t>
              </a:r>
              <a:endParaRPr lang="de-DE" sz="1600" b="0" i="0" u="none" dirty="0"/>
            </a:p>
          </p:txBody>
        </p:sp>
        <p:graphicFrame>
          <p:nvGraphicFramePr>
            <p:cNvPr id="18" name="Diagramm 17">
              <a:extLst>
                <a:ext uri="{FF2B5EF4-FFF2-40B4-BE49-F238E27FC236}">
                  <a16:creationId xmlns:a16="http://schemas.microsoft.com/office/drawing/2014/main" id="{CD3BBF29-26C1-22A1-426C-D54B69F5245C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548506961"/>
                </p:ext>
              </p:extLst>
            </p:nvPr>
          </p:nvGraphicFramePr>
          <p:xfrm>
            <a:off x="2752725" y="2154956"/>
            <a:ext cx="4572000" cy="27432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A709B291-6E87-50D2-1D86-17B13BDEF89C}"/>
                </a:ext>
              </a:extLst>
            </p:cNvPr>
            <p:cNvSpPr txBox="1"/>
            <p:nvPr/>
          </p:nvSpPr>
          <p:spPr>
            <a:xfrm>
              <a:off x="555413" y="2289327"/>
              <a:ext cx="311406" cy="968223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0" i="0" u="none" dirty="0"/>
                <a:t>Larger </a:t>
              </a:r>
              <a:r>
                <a:rPr lang="de-DE" sz="1600" b="0" i="0" u="none" dirty="0" err="1"/>
                <a:t>quantities</a:t>
              </a:r>
              <a:r>
                <a:rPr lang="de-DE" sz="1600" b="0" i="0" u="none" dirty="0"/>
                <a:t> </a:t>
              </a:r>
              <a:r>
                <a:rPr lang="de-DE" sz="1600" b="0" i="0" u="none" dirty="0" err="1"/>
                <a:t>are</a:t>
              </a:r>
              <a:r>
                <a:rPr lang="de-DE" sz="1600" b="0" i="0" u="none" dirty="0"/>
                <a:t> </a:t>
              </a:r>
              <a:r>
                <a:rPr lang="de-DE" sz="1600" b="0" i="0" u="none" dirty="0" err="1"/>
                <a:t>traded</a:t>
              </a:r>
              <a:endParaRPr lang="de-DE" sz="1600" b="0" i="0" u="none" dirty="0"/>
            </a:p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dirty="0"/>
                <a:t>in </a:t>
              </a:r>
              <a:r>
                <a:rPr lang="de-DE" sz="1600" dirty="0" err="1"/>
                <a:t>the</a:t>
              </a:r>
              <a:r>
                <a:rPr lang="de-DE" sz="1600" dirty="0"/>
                <a:t> </a:t>
              </a:r>
              <a:r>
                <a:rPr lang="de-DE" sz="1600" dirty="0" err="1"/>
                <a:t>noon</a:t>
              </a:r>
              <a:r>
                <a:rPr lang="de-DE" sz="1600" dirty="0"/>
                <a:t> </a:t>
              </a:r>
              <a:r>
                <a:rPr lang="de-DE" sz="1600" dirty="0" err="1"/>
                <a:t>hours</a:t>
              </a:r>
              <a:endParaRPr lang="de-DE" sz="1600" b="0" i="0" u="none" dirty="0"/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56732B10-B98E-F581-17CF-EF33A06DABD8}"/>
                </a:ext>
              </a:extLst>
            </p:cNvPr>
            <p:cNvCxnSpPr>
              <a:cxnSpLocks/>
            </p:cNvCxnSpPr>
            <p:nvPr/>
          </p:nvCxnSpPr>
          <p:spPr>
            <a:xfrm>
              <a:off x="458400" y="5055469"/>
              <a:ext cx="6866325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feld 23">
              <a:extLst>
                <a:ext uri="{FF2B5EF4-FFF2-40B4-BE49-F238E27FC236}">
                  <a16:creationId xmlns:a16="http://schemas.microsoft.com/office/drawing/2014/main" id="{CB87197C-1265-042D-612A-358AB0DD77D2}"/>
                </a:ext>
              </a:extLst>
            </p:cNvPr>
            <p:cNvSpPr txBox="1"/>
            <p:nvPr/>
          </p:nvSpPr>
          <p:spPr>
            <a:xfrm>
              <a:off x="1027581" y="5373273"/>
              <a:ext cx="311406" cy="262219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0" i="0" u="none" dirty="0" err="1"/>
                <a:t>If</a:t>
              </a:r>
              <a:r>
                <a:rPr lang="de-DE" sz="1600" b="0" i="0" u="none" dirty="0"/>
                <a:t> </a:t>
              </a:r>
              <a:r>
                <a:rPr lang="de-DE" sz="1600" b="0" i="0" u="none" dirty="0" err="1"/>
                <a:t>you</a:t>
              </a:r>
              <a:r>
                <a:rPr lang="de-DE" sz="1600" b="0" i="0" u="none" dirty="0"/>
                <a:t> </a:t>
              </a:r>
              <a:r>
                <a:rPr lang="de-DE" sz="1600" b="0" i="0" u="none" dirty="0" err="1"/>
                <a:t>take</a:t>
              </a:r>
              <a:r>
                <a:rPr lang="de-DE" sz="1600" b="0" i="0" u="none" dirty="0"/>
                <a:t> </a:t>
              </a:r>
              <a:r>
                <a:rPr lang="de-DE" sz="1600" b="0" i="0" u="none" dirty="0" err="1"/>
                <a:t>the</a:t>
              </a:r>
              <a:r>
                <a:rPr lang="de-DE" sz="1600" b="0" i="0" u="none" dirty="0"/>
                <a:t> </a:t>
              </a:r>
              <a:r>
                <a:rPr lang="de-DE" sz="1600" b="0" i="0" u="none" dirty="0" err="1"/>
                <a:t>pre</a:t>
              </a:r>
              <a:r>
                <a:rPr lang="de-DE" sz="1600" b="0" i="0" u="none" dirty="0"/>
                <a:t> ID3 </a:t>
              </a:r>
              <a:r>
                <a:rPr lang="de-DE" sz="1600" b="0" i="0" u="none" dirty="0" err="1"/>
                <a:t>value</a:t>
              </a:r>
              <a:r>
                <a:rPr lang="de-DE" sz="1600" b="0" i="0" u="none" dirty="0"/>
                <a:t> </a:t>
              </a:r>
              <a:r>
                <a:rPr lang="de-DE" sz="1600" b="0" i="0" u="none" dirty="0" err="1"/>
                <a:t>as</a:t>
              </a:r>
              <a:r>
                <a:rPr lang="de-DE" sz="1600" b="0" i="0" u="none" dirty="0"/>
                <a:t> </a:t>
              </a:r>
              <a:r>
                <a:rPr lang="de-DE" sz="1600" b="0" i="0" u="none" dirty="0" err="1"/>
                <a:t>estimator</a:t>
              </a:r>
              <a:r>
                <a:rPr lang="de-DE" sz="1600" b="0" i="0" u="none" dirty="0"/>
                <a:t>, </a:t>
              </a:r>
              <a:r>
                <a:rPr lang="de-DE" sz="1600" b="0" i="0" u="none" dirty="0" err="1"/>
                <a:t>then</a:t>
              </a:r>
              <a:r>
                <a:rPr lang="de-DE" sz="1600" b="0" i="0" u="none" dirty="0"/>
                <a:t> </a:t>
              </a:r>
              <a:r>
                <a:rPr lang="de-DE" sz="1600" b="0" i="0" u="none" dirty="0" err="1"/>
                <a:t>you</a:t>
              </a:r>
              <a:r>
                <a:rPr lang="de-DE" sz="1600" b="0" i="0" u="none" dirty="0"/>
                <a:t> </a:t>
              </a:r>
              <a:r>
                <a:rPr lang="de-DE" sz="1600" b="0" i="0" u="none" dirty="0" err="1"/>
                <a:t>get</a:t>
              </a:r>
              <a:r>
                <a:rPr lang="de-DE" sz="1600" b="0" i="0" u="none" dirty="0"/>
                <a:t> an </a:t>
              </a:r>
              <a:r>
                <a:rPr lang="de-DE" sz="1600" b="0" i="0" u="none" dirty="0" err="1"/>
                <a:t>error</a:t>
              </a:r>
              <a:r>
                <a:rPr lang="de-DE" sz="1600" b="0" i="0" u="none" dirty="0"/>
                <a:t> </a:t>
              </a:r>
              <a:r>
                <a:rPr lang="de-DE" sz="1600" b="0" i="0" u="none" dirty="0" err="1"/>
                <a:t>of</a:t>
              </a:r>
              <a:r>
                <a:rPr lang="de-DE" sz="1600" b="0" i="0" u="none" dirty="0"/>
                <a:t> 1.96 %</a:t>
              </a:r>
            </a:p>
          </p:txBody>
        </p:sp>
      </p:grpSp>
      <p:pic>
        <p:nvPicPr>
          <p:cNvPr id="26" name="MIO_PICTOGRAM_PART2" descr="Barcode">
            <a:extLst>
              <a:ext uri="{FF2B5EF4-FFF2-40B4-BE49-F238E27FC236}">
                <a16:creationId xmlns:a16="http://schemas.microsoft.com/office/drawing/2014/main" id="{07C50069-996C-9EF3-C50F-634DC53E869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82717" y="1341512"/>
            <a:ext cx="569181" cy="583200"/>
          </a:xfrm>
          <a:prstGeom prst="rect">
            <a:avLst/>
          </a:prstGeom>
        </p:spPr>
      </p:pic>
      <p:pic>
        <p:nvPicPr>
          <p:cNvPr id="28" name="Grafik 27" descr="Klemmbrett nur Kreuze Silhouette">
            <a:extLst>
              <a:ext uri="{FF2B5EF4-FFF2-40B4-BE49-F238E27FC236}">
                <a16:creationId xmlns:a16="http://schemas.microsoft.com/office/drawing/2014/main" id="{F48E7134-99D4-30AB-A75A-60A1EFF2A27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0361" y="5212782"/>
            <a:ext cx="583200" cy="58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618980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>
            <a:extLst>
              <a:ext uri="{FF2B5EF4-FFF2-40B4-BE49-F238E27FC236}">
                <a16:creationId xmlns:a16="http://schemas.microsoft.com/office/drawing/2014/main" id="{0D8066DA-9245-2D10-EB70-AFD1D61E1C7E}"/>
              </a:ext>
            </a:extLst>
          </p:cNvPr>
          <p:cNvSpPr txBox="1"/>
          <p:nvPr/>
        </p:nvSpPr>
        <p:spPr>
          <a:xfrm>
            <a:off x="490668" y="368749"/>
            <a:ext cx="8068236" cy="914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3200" b="1" i="0" u="none" dirty="0" err="1">
                <a:solidFill>
                  <a:schemeClr val="accent1"/>
                </a:solidFill>
                <a:latin typeface="Segoe UI Semibold (Überschriften)"/>
              </a:rPr>
              <a:t>Example</a:t>
            </a:r>
            <a:r>
              <a:rPr lang="de-DE" sz="3200" b="1" i="0" u="none" dirty="0">
                <a:solidFill>
                  <a:schemeClr val="accent1"/>
                </a:solidFill>
                <a:latin typeface="Segoe UI Semibold (Überschriften)"/>
              </a:rPr>
              <a:t> ID3 </a:t>
            </a:r>
            <a:r>
              <a:rPr lang="de-DE" sz="3200" b="1" i="0" u="none" dirty="0" err="1">
                <a:solidFill>
                  <a:schemeClr val="accent1"/>
                </a:solidFill>
                <a:latin typeface="Segoe UI Semibold (Überschriften)"/>
              </a:rPr>
              <a:t>calculation</a:t>
            </a:r>
            <a:r>
              <a:rPr lang="de-DE" sz="3200" b="1" i="0" u="none" dirty="0">
                <a:solidFill>
                  <a:schemeClr val="accent1"/>
                </a:solidFill>
                <a:latin typeface="Segoe UI Semibold (Überschriften)"/>
              </a:rPr>
              <a:t> </a:t>
            </a:r>
            <a:r>
              <a:rPr lang="de-DE" sz="1600" b="1" i="0" u="none" dirty="0">
                <a:solidFill>
                  <a:schemeClr val="accent1"/>
                </a:solidFill>
                <a:latin typeface="Segoe UI Semibold (Überschriften)"/>
              </a:rPr>
              <a:t>(</a:t>
            </a:r>
            <a:r>
              <a:rPr lang="de-DE" sz="1600" b="1" i="0" u="none" dirty="0" err="1">
                <a:solidFill>
                  <a:schemeClr val="accent1"/>
                </a:solidFill>
                <a:latin typeface="Segoe UI Semibold (Überschriften)"/>
              </a:rPr>
              <a:t>for</a:t>
            </a:r>
            <a:r>
              <a:rPr lang="de-DE" sz="1600" b="1" i="0" u="none" dirty="0">
                <a:solidFill>
                  <a:schemeClr val="accent1"/>
                </a:solidFill>
                <a:latin typeface="Segoe UI Semibold (Überschriften)"/>
              </a:rPr>
              <a:t> </a:t>
            </a:r>
            <a:r>
              <a:rPr lang="de-DE" sz="1600" b="1" i="0" u="none" dirty="0" err="1">
                <a:solidFill>
                  <a:schemeClr val="accent1"/>
                </a:solidFill>
                <a:latin typeface="Segoe UI Semibold (Überschriften)"/>
              </a:rPr>
              <a:t>hour</a:t>
            </a:r>
            <a:r>
              <a:rPr lang="de-DE" sz="1600" b="1" i="0" u="none" dirty="0">
                <a:solidFill>
                  <a:schemeClr val="accent1"/>
                </a:solidFill>
                <a:latin typeface="Segoe UI Semibold (Überschriften)"/>
              </a:rPr>
              <a:t> 12 – 1 </a:t>
            </a:r>
            <a:r>
              <a:rPr lang="de-DE" sz="1600" b="1" i="0" u="none" dirty="0" err="1">
                <a:solidFill>
                  <a:schemeClr val="accent1"/>
                </a:solidFill>
                <a:latin typeface="Segoe UI Semibold (Überschriften)"/>
              </a:rPr>
              <a:t>pm</a:t>
            </a:r>
            <a:r>
              <a:rPr lang="de-DE" sz="1600" b="1" dirty="0">
                <a:solidFill>
                  <a:schemeClr val="accent1"/>
                </a:solidFill>
                <a:latin typeface="Segoe UI Semibold (Überschriften)"/>
              </a:rPr>
              <a:t>)</a:t>
            </a:r>
            <a:endParaRPr lang="de-DE" sz="1600" b="1" i="0" u="none" dirty="0">
              <a:latin typeface="Segoe UI Semibold (Überschriften)"/>
            </a:endParaRP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DDA763FC-2389-CE58-31CD-8D77F0AD7B94}"/>
              </a:ext>
            </a:extLst>
          </p:cNvPr>
          <p:cNvGrpSpPr/>
          <p:nvPr/>
        </p:nvGrpSpPr>
        <p:grpSpPr>
          <a:xfrm>
            <a:off x="3767687" y="1557532"/>
            <a:ext cx="3999130" cy="2596269"/>
            <a:chOff x="3987170" y="1665109"/>
            <a:chExt cx="3999130" cy="2596269"/>
          </a:xfrm>
        </p:grpSpPr>
        <p:grpSp>
          <p:nvGrpSpPr>
            <p:cNvPr id="61" name="Gruppieren 60">
              <a:extLst>
                <a:ext uri="{FF2B5EF4-FFF2-40B4-BE49-F238E27FC236}">
                  <a16:creationId xmlns:a16="http://schemas.microsoft.com/office/drawing/2014/main" id="{4C98D70E-3594-4EE0-F784-4EBA50B70F29}"/>
                </a:ext>
              </a:extLst>
            </p:cNvPr>
            <p:cNvGrpSpPr/>
            <p:nvPr/>
          </p:nvGrpSpPr>
          <p:grpSpPr>
            <a:xfrm>
              <a:off x="5420752" y="2180465"/>
              <a:ext cx="1800000" cy="1800000"/>
              <a:chOff x="4958080" y="4137680"/>
              <a:chExt cx="1800000" cy="1800000"/>
            </a:xfrm>
          </p:grpSpPr>
          <p:sp>
            <p:nvSpPr>
              <p:cNvPr id="16" name="Ellipse 15">
                <a:extLst>
                  <a:ext uri="{FF2B5EF4-FFF2-40B4-BE49-F238E27FC236}">
                    <a16:creationId xmlns:a16="http://schemas.microsoft.com/office/drawing/2014/main" id="{C740047C-DBA5-D3C4-B4F8-6DD8DF11EB5D}"/>
                  </a:ext>
                </a:extLst>
              </p:cNvPr>
              <p:cNvSpPr/>
              <p:nvPr/>
            </p:nvSpPr>
            <p:spPr>
              <a:xfrm>
                <a:off x="4958080" y="4137680"/>
                <a:ext cx="1800000" cy="1800000"/>
              </a:xfrm>
              <a:prstGeom prst="ellipse">
                <a:avLst/>
              </a:prstGeom>
              <a:solidFill>
                <a:schemeClr val="bg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rgbClr val="666666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7200" tIns="97200" rIns="97200" bIns="97200" rtlCol="0" anchor="ctr"/>
              <a:lstStyle/>
              <a:p>
                <a:pPr algn="ctr" defTabSz="486000"/>
                <a:endParaRPr lang="de-DE" sz="1600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36" name="Gerader Verbinder 35">
                <a:extLst>
                  <a:ext uri="{FF2B5EF4-FFF2-40B4-BE49-F238E27FC236}">
                    <a16:creationId xmlns:a16="http://schemas.microsoft.com/office/drawing/2014/main" id="{F91A7E9F-4BD3-77CE-0850-0323A7A8FF80}"/>
                  </a:ext>
                </a:extLst>
              </p:cNvPr>
              <p:cNvCxnSpPr>
                <a:cxnSpLocks/>
                <a:stCxn id="16" idx="2"/>
              </p:cNvCxnSpPr>
              <p:nvPr/>
            </p:nvCxnSpPr>
            <p:spPr>
              <a:xfrm>
                <a:off x="4958080" y="5037680"/>
                <a:ext cx="121920" cy="0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r Verbinder 39">
                <a:extLst>
                  <a:ext uri="{FF2B5EF4-FFF2-40B4-BE49-F238E27FC236}">
                    <a16:creationId xmlns:a16="http://schemas.microsoft.com/office/drawing/2014/main" id="{B6FC1A66-EBB1-3760-BD84-FBA87B78E39B}"/>
                  </a:ext>
                </a:extLst>
              </p:cNvPr>
              <p:cNvCxnSpPr>
                <a:cxnSpLocks/>
                <a:endCxn id="16" idx="6"/>
              </p:cNvCxnSpPr>
              <p:nvPr/>
            </p:nvCxnSpPr>
            <p:spPr>
              <a:xfrm>
                <a:off x="6636160" y="5037680"/>
                <a:ext cx="121920" cy="0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r Verbinder 42">
                <a:extLst>
                  <a:ext uri="{FF2B5EF4-FFF2-40B4-BE49-F238E27FC236}">
                    <a16:creationId xmlns:a16="http://schemas.microsoft.com/office/drawing/2014/main" id="{923D7252-D526-CD08-2581-8E58DE62026F}"/>
                  </a:ext>
                </a:extLst>
              </p:cNvPr>
              <p:cNvCxnSpPr>
                <a:cxnSpLocks/>
                <a:stCxn id="16" idx="0"/>
              </p:cNvCxnSpPr>
              <p:nvPr/>
            </p:nvCxnSpPr>
            <p:spPr>
              <a:xfrm>
                <a:off x="5858080" y="4137680"/>
                <a:ext cx="0" cy="104551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r Verbinder 45">
                <a:extLst>
                  <a:ext uri="{FF2B5EF4-FFF2-40B4-BE49-F238E27FC236}">
                    <a16:creationId xmlns:a16="http://schemas.microsoft.com/office/drawing/2014/main" id="{C434B14C-4032-C049-C68D-A0DA3CAC5C32}"/>
                  </a:ext>
                </a:extLst>
              </p:cNvPr>
              <p:cNvCxnSpPr>
                <a:cxnSpLocks/>
                <a:stCxn id="16" idx="4"/>
              </p:cNvCxnSpPr>
              <p:nvPr/>
            </p:nvCxnSpPr>
            <p:spPr>
              <a:xfrm flipV="1">
                <a:off x="5858080" y="5781972"/>
                <a:ext cx="0" cy="155708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3" name="Textfeld 52">
                <a:extLst>
                  <a:ext uri="{FF2B5EF4-FFF2-40B4-BE49-F238E27FC236}">
                    <a16:creationId xmlns:a16="http://schemas.microsoft.com/office/drawing/2014/main" id="{EC54B203-6263-17B5-FA2A-C6751361A3B7}"/>
                  </a:ext>
                </a:extLst>
              </p:cNvPr>
              <p:cNvSpPr txBox="1"/>
              <p:nvPr/>
            </p:nvSpPr>
            <p:spPr>
              <a:xfrm>
                <a:off x="5181599" y="4916227"/>
                <a:ext cx="121920" cy="242905"/>
              </a:xfrm>
              <a:prstGeom prst="rect">
                <a:avLst/>
              </a:prstGeom>
              <a:noFill/>
            </p:spPr>
            <p:txBody>
              <a:bodyPr vert="horz" wrap="none" lIns="0" tIns="0" rIns="0" bIns="0" rtlCol="0">
                <a:noAutofit/>
              </a:bodyPr>
              <a:lstStyle/>
              <a:p>
                <a:pPr algn="l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600" b="0" i="0" u="none" dirty="0"/>
                  <a:t>9</a:t>
                </a:r>
              </a:p>
            </p:txBody>
          </p:sp>
          <p:sp>
            <p:nvSpPr>
              <p:cNvPr id="54" name="Textfeld 53">
                <a:extLst>
                  <a:ext uri="{FF2B5EF4-FFF2-40B4-BE49-F238E27FC236}">
                    <a16:creationId xmlns:a16="http://schemas.microsoft.com/office/drawing/2014/main" id="{6D7F06E7-1CEE-97F9-1154-5F6D45CFF66A}"/>
                  </a:ext>
                </a:extLst>
              </p:cNvPr>
              <p:cNvSpPr txBox="1"/>
              <p:nvPr/>
            </p:nvSpPr>
            <p:spPr>
              <a:xfrm>
                <a:off x="6456682" y="4916227"/>
                <a:ext cx="121920" cy="242905"/>
              </a:xfrm>
              <a:prstGeom prst="rect">
                <a:avLst/>
              </a:prstGeom>
              <a:noFill/>
            </p:spPr>
            <p:txBody>
              <a:bodyPr vert="horz" wrap="none" lIns="0" tIns="0" rIns="0" bIns="0" rtlCol="0">
                <a:noAutofit/>
              </a:bodyPr>
              <a:lstStyle/>
              <a:p>
                <a:pPr algn="l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600" dirty="0"/>
                  <a:t>3</a:t>
                </a:r>
                <a:endParaRPr lang="de-DE" sz="1600" b="0" i="0" u="none" dirty="0"/>
              </a:p>
            </p:txBody>
          </p:sp>
          <p:sp>
            <p:nvSpPr>
              <p:cNvPr id="55" name="Textfeld 54">
                <a:extLst>
                  <a:ext uri="{FF2B5EF4-FFF2-40B4-BE49-F238E27FC236}">
                    <a16:creationId xmlns:a16="http://schemas.microsoft.com/office/drawing/2014/main" id="{20A10883-2AEC-C2B6-CA19-8088A71AAE19}"/>
                  </a:ext>
                </a:extLst>
              </p:cNvPr>
              <p:cNvSpPr txBox="1"/>
              <p:nvPr/>
            </p:nvSpPr>
            <p:spPr>
              <a:xfrm>
                <a:off x="5797120" y="5471888"/>
                <a:ext cx="121920" cy="242905"/>
              </a:xfrm>
              <a:prstGeom prst="rect">
                <a:avLst/>
              </a:prstGeom>
              <a:noFill/>
            </p:spPr>
            <p:txBody>
              <a:bodyPr vert="horz" wrap="none" lIns="0" tIns="0" rIns="0" bIns="0" rtlCol="0">
                <a:noAutofit/>
              </a:bodyPr>
              <a:lstStyle/>
              <a:p>
                <a:pPr algn="l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600" dirty="0"/>
                  <a:t>6</a:t>
                </a:r>
                <a:endParaRPr lang="de-DE" sz="1600" b="0" i="0" u="none" dirty="0"/>
              </a:p>
            </p:txBody>
          </p:sp>
          <p:sp>
            <p:nvSpPr>
              <p:cNvPr id="56" name="Textfeld 55">
                <a:extLst>
                  <a:ext uri="{FF2B5EF4-FFF2-40B4-BE49-F238E27FC236}">
                    <a16:creationId xmlns:a16="http://schemas.microsoft.com/office/drawing/2014/main" id="{94AE884F-202E-5751-0AE0-22CEF7994B4C}"/>
                  </a:ext>
                </a:extLst>
              </p:cNvPr>
              <p:cNvSpPr txBox="1"/>
              <p:nvPr/>
            </p:nvSpPr>
            <p:spPr>
              <a:xfrm>
                <a:off x="5762400" y="4305581"/>
                <a:ext cx="121920" cy="242905"/>
              </a:xfrm>
              <a:prstGeom prst="rect">
                <a:avLst/>
              </a:prstGeom>
              <a:noFill/>
            </p:spPr>
            <p:txBody>
              <a:bodyPr vert="horz" wrap="none" lIns="0" tIns="0" rIns="0" bIns="0" rtlCol="0">
                <a:noAutofit/>
              </a:bodyPr>
              <a:lstStyle/>
              <a:p>
                <a:pPr algn="l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600" dirty="0"/>
                  <a:t>12</a:t>
                </a:r>
                <a:endParaRPr lang="de-DE" sz="1600" b="0" i="0" u="none" dirty="0"/>
              </a:p>
            </p:txBody>
          </p:sp>
          <p:cxnSp>
            <p:nvCxnSpPr>
              <p:cNvPr id="57" name="Gerader Verbinder 56">
                <a:extLst>
                  <a:ext uri="{FF2B5EF4-FFF2-40B4-BE49-F238E27FC236}">
                    <a16:creationId xmlns:a16="http://schemas.microsoft.com/office/drawing/2014/main" id="{53DBA590-8E9F-D5B9-B00A-ADC28347AC7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307682" y="4305581"/>
                <a:ext cx="65123" cy="117472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0" name="Textfeld 59">
                <a:extLst>
                  <a:ext uri="{FF2B5EF4-FFF2-40B4-BE49-F238E27FC236}">
                    <a16:creationId xmlns:a16="http://schemas.microsoft.com/office/drawing/2014/main" id="{A1D6B99C-C52A-FEE4-9CEB-6EB772ABDCD3}"/>
                  </a:ext>
                </a:extLst>
              </p:cNvPr>
              <p:cNvSpPr txBox="1"/>
              <p:nvPr/>
            </p:nvSpPr>
            <p:spPr>
              <a:xfrm>
                <a:off x="6206082" y="4446887"/>
                <a:ext cx="101600" cy="291180"/>
              </a:xfrm>
              <a:prstGeom prst="rect">
                <a:avLst/>
              </a:prstGeom>
              <a:noFill/>
            </p:spPr>
            <p:txBody>
              <a:bodyPr vert="horz" wrap="none" lIns="0" tIns="0" rIns="0" bIns="0" rtlCol="0">
                <a:noAutofit/>
              </a:bodyPr>
              <a:lstStyle/>
              <a:p>
                <a:pPr algn="l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600" b="0" i="0" u="none" dirty="0"/>
                  <a:t>1</a:t>
                </a:r>
              </a:p>
            </p:txBody>
          </p:sp>
        </p:grpSp>
        <p:pic>
          <p:nvPicPr>
            <p:cNvPr id="63" name="Grafik 62" descr="Pfeil mit einer Linie: Kurve im Uhrzeigersinn Silhouette">
              <a:extLst>
                <a:ext uri="{FF2B5EF4-FFF2-40B4-BE49-F238E27FC236}">
                  <a16:creationId xmlns:a16="http://schemas.microsoft.com/office/drawing/2014/main" id="{EB172EE3-AD83-0E0F-9675-8194E7EF1E4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3925685">
              <a:off x="5209007" y="1728008"/>
              <a:ext cx="914400" cy="1278411"/>
            </a:xfrm>
            <a:prstGeom prst="rect">
              <a:avLst/>
            </a:prstGeom>
          </p:spPr>
        </p:pic>
        <p:sp>
          <p:nvSpPr>
            <p:cNvPr id="64" name="Ellipse 63">
              <a:extLst>
                <a:ext uri="{FF2B5EF4-FFF2-40B4-BE49-F238E27FC236}">
                  <a16:creationId xmlns:a16="http://schemas.microsoft.com/office/drawing/2014/main" id="{40AF9CDD-9DCB-E1D5-3943-F5022250A2F6}"/>
                </a:ext>
              </a:extLst>
            </p:cNvPr>
            <p:cNvSpPr/>
            <p:nvPr/>
          </p:nvSpPr>
          <p:spPr>
            <a:xfrm>
              <a:off x="6691155" y="3783607"/>
              <a:ext cx="108000" cy="108000"/>
            </a:xfrm>
            <a:prstGeom prst="ellipse">
              <a:avLst/>
            </a:prstGeom>
            <a:solidFill>
              <a:srgbClr val="FF0000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7200" tIns="97200" rIns="97200" bIns="97200" rtlCol="0" anchor="ctr"/>
            <a:lstStyle/>
            <a:p>
              <a:pPr algn="ctr" defTabSz="486000"/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65" name="Ellipse 64">
              <a:extLst>
                <a:ext uri="{FF2B5EF4-FFF2-40B4-BE49-F238E27FC236}">
                  <a16:creationId xmlns:a16="http://schemas.microsoft.com/office/drawing/2014/main" id="{D43AD201-BCEF-F166-A3F4-121362AE2D9A}"/>
                </a:ext>
              </a:extLst>
            </p:cNvPr>
            <p:cNvSpPr/>
            <p:nvPr/>
          </p:nvSpPr>
          <p:spPr>
            <a:xfrm>
              <a:off x="6907696" y="3636125"/>
              <a:ext cx="108000" cy="108000"/>
            </a:xfrm>
            <a:prstGeom prst="ellipse">
              <a:avLst/>
            </a:prstGeom>
            <a:solidFill>
              <a:srgbClr val="FF0000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7200" tIns="97200" rIns="97200" bIns="97200" rtlCol="0" anchor="ctr"/>
            <a:lstStyle/>
            <a:p>
              <a:pPr algn="ctr" defTabSz="486000"/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66" name="Ellipse 65">
              <a:extLst>
                <a:ext uri="{FF2B5EF4-FFF2-40B4-BE49-F238E27FC236}">
                  <a16:creationId xmlns:a16="http://schemas.microsoft.com/office/drawing/2014/main" id="{76EC78D0-D181-26F7-28AE-B00435306274}"/>
                </a:ext>
              </a:extLst>
            </p:cNvPr>
            <p:cNvSpPr/>
            <p:nvPr/>
          </p:nvSpPr>
          <p:spPr>
            <a:xfrm>
              <a:off x="5408913" y="3178663"/>
              <a:ext cx="108000" cy="108000"/>
            </a:xfrm>
            <a:prstGeom prst="ellipse">
              <a:avLst/>
            </a:prstGeom>
            <a:solidFill>
              <a:srgbClr val="FF0000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7200" tIns="97200" rIns="97200" bIns="97200" rtlCol="0" anchor="ctr"/>
            <a:lstStyle/>
            <a:p>
              <a:pPr algn="ctr" defTabSz="486000"/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67" name="Ellipse 66">
              <a:extLst>
                <a:ext uri="{FF2B5EF4-FFF2-40B4-BE49-F238E27FC236}">
                  <a16:creationId xmlns:a16="http://schemas.microsoft.com/office/drawing/2014/main" id="{B2F384CB-B7EE-4F0F-6D8B-26FAA9C1A252}"/>
                </a:ext>
              </a:extLst>
            </p:cNvPr>
            <p:cNvSpPr/>
            <p:nvPr/>
          </p:nvSpPr>
          <p:spPr>
            <a:xfrm>
              <a:off x="5648548" y="3636125"/>
              <a:ext cx="108000" cy="108000"/>
            </a:xfrm>
            <a:prstGeom prst="ellipse">
              <a:avLst/>
            </a:prstGeom>
            <a:solidFill>
              <a:srgbClr val="FF0000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7200" tIns="97200" rIns="97200" bIns="97200" rtlCol="0" anchor="ctr"/>
            <a:lstStyle/>
            <a:p>
              <a:pPr algn="ctr" defTabSz="486000"/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68" name="Ellipse 67">
              <a:extLst>
                <a:ext uri="{FF2B5EF4-FFF2-40B4-BE49-F238E27FC236}">
                  <a16:creationId xmlns:a16="http://schemas.microsoft.com/office/drawing/2014/main" id="{07BB2034-755F-E6CE-F7B6-F9969424EFD6}"/>
                </a:ext>
              </a:extLst>
            </p:cNvPr>
            <p:cNvSpPr/>
            <p:nvPr/>
          </p:nvSpPr>
          <p:spPr>
            <a:xfrm>
              <a:off x="5403762" y="2753077"/>
              <a:ext cx="108000" cy="108000"/>
            </a:xfrm>
            <a:prstGeom prst="ellipse">
              <a:avLst/>
            </a:prstGeom>
            <a:solidFill>
              <a:srgbClr val="92D050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7200" tIns="97200" rIns="97200" bIns="97200" rtlCol="0" anchor="ctr"/>
            <a:lstStyle/>
            <a:p>
              <a:pPr algn="ctr" defTabSz="486000"/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69" name="Ellipse 68">
              <a:extLst>
                <a:ext uri="{FF2B5EF4-FFF2-40B4-BE49-F238E27FC236}">
                  <a16:creationId xmlns:a16="http://schemas.microsoft.com/office/drawing/2014/main" id="{FF9EC075-CBE6-924C-E67D-32A516C1B5C4}"/>
                </a:ext>
              </a:extLst>
            </p:cNvPr>
            <p:cNvSpPr/>
            <p:nvPr/>
          </p:nvSpPr>
          <p:spPr>
            <a:xfrm>
              <a:off x="5592668" y="2407102"/>
              <a:ext cx="108000" cy="108000"/>
            </a:xfrm>
            <a:prstGeom prst="ellipse">
              <a:avLst/>
            </a:prstGeom>
            <a:solidFill>
              <a:srgbClr val="92D050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7200" tIns="97200" rIns="97200" bIns="97200" rtlCol="0" anchor="ctr"/>
            <a:lstStyle/>
            <a:p>
              <a:pPr algn="ctr" defTabSz="486000"/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70" name="Ellipse 69">
              <a:extLst>
                <a:ext uri="{FF2B5EF4-FFF2-40B4-BE49-F238E27FC236}">
                  <a16:creationId xmlns:a16="http://schemas.microsoft.com/office/drawing/2014/main" id="{A8115397-F89D-4EDC-08E5-8D3C9E601B73}"/>
                </a:ext>
              </a:extLst>
            </p:cNvPr>
            <p:cNvSpPr/>
            <p:nvPr/>
          </p:nvSpPr>
          <p:spPr>
            <a:xfrm>
              <a:off x="6053212" y="2148188"/>
              <a:ext cx="108000" cy="108000"/>
            </a:xfrm>
            <a:prstGeom prst="ellipse">
              <a:avLst/>
            </a:prstGeom>
            <a:solidFill>
              <a:srgbClr val="92D050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7200" tIns="97200" rIns="97200" bIns="97200" rtlCol="0" anchor="ctr"/>
            <a:lstStyle/>
            <a:p>
              <a:pPr algn="ctr" defTabSz="486000"/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72" name="Textfeld 71">
              <a:extLst>
                <a:ext uri="{FF2B5EF4-FFF2-40B4-BE49-F238E27FC236}">
                  <a16:creationId xmlns:a16="http://schemas.microsoft.com/office/drawing/2014/main" id="{3104B405-553F-FC61-A8C0-712D8D1B2ABF}"/>
                </a:ext>
              </a:extLst>
            </p:cNvPr>
            <p:cNvSpPr txBox="1"/>
            <p:nvPr/>
          </p:nvSpPr>
          <p:spPr>
            <a:xfrm>
              <a:off x="6691155" y="3961767"/>
              <a:ext cx="914400" cy="299611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0" i="0" u="none" dirty="0"/>
                <a:t>100 Lira, 2 MW</a:t>
              </a:r>
            </a:p>
          </p:txBody>
        </p:sp>
        <p:sp>
          <p:nvSpPr>
            <p:cNvPr id="73" name="Textfeld 72">
              <a:extLst>
                <a:ext uri="{FF2B5EF4-FFF2-40B4-BE49-F238E27FC236}">
                  <a16:creationId xmlns:a16="http://schemas.microsoft.com/office/drawing/2014/main" id="{1CFBAB00-752E-F87C-E30B-A3138E78FF20}"/>
                </a:ext>
              </a:extLst>
            </p:cNvPr>
            <p:cNvSpPr txBox="1"/>
            <p:nvPr/>
          </p:nvSpPr>
          <p:spPr>
            <a:xfrm>
              <a:off x="7071900" y="3575318"/>
              <a:ext cx="914400" cy="299611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0" i="0" u="none" dirty="0"/>
                <a:t>120 Lira, 10 MW</a:t>
              </a:r>
            </a:p>
          </p:txBody>
        </p:sp>
        <p:sp>
          <p:nvSpPr>
            <p:cNvPr id="74" name="Textfeld 73">
              <a:extLst>
                <a:ext uri="{FF2B5EF4-FFF2-40B4-BE49-F238E27FC236}">
                  <a16:creationId xmlns:a16="http://schemas.microsoft.com/office/drawing/2014/main" id="{BCB887F7-3AB3-DCE4-50D1-13C130F3D283}"/>
                </a:ext>
              </a:extLst>
            </p:cNvPr>
            <p:cNvSpPr txBox="1"/>
            <p:nvPr/>
          </p:nvSpPr>
          <p:spPr>
            <a:xfrm>
              <a:off x="4972345" y="3944956"/>
              <a:ext cx="914400" cy="299611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dirty="0"/>
                <a:t>8</a:t>
              </a:r>
              <a:r>
                <a:rPr lang="de-DE" sz="1600" b="0" i="0" u="none" dirty="0"/>
                <a:t>0 Lira, 200 MW</a:t>
              </a:r>
            </a:p>
          </p:txBody>
        </p:sp>
        <p:sp>
          <p:nvSpPr>
            <p:cNvPr id="75" name="Textfeld 74">
              <a:extLst>
                <a:ext uri="{FF2B5EF4-FFF2-40B4-BE49-F238E27FC236}">
                  <a16:creationId xmlns:a16="http://schemas.microsoft.com/office/drawing/2014/main" id="{2C4EE547-9373-AF32-3215-350330C379E4}"/>
                </a:ext>
              </a:extLst>
            </p:cNvPr>
            <p:cNvSpPr txBox="1"/>
            <p:nvPr/>
          </p:nvSpPr>
          <p:spPr>
            <a:xfrm>
              <a:off x="4147372" y="3207017"/>
              <a:ext cx="914400" cy="299611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dirty="0"/>
                <a:t>20 Lira, 1 MW</a:t>
              </a:r>
              <a:endParaRPr lang="de-DE" sz="1600" b="0" i="0" u="none" dirty="0"/>
            </a:p>
          </p:txBody>
        </p:sp>
        <p:sp>
          <p:nvSpPr>
            <p:cNvPr id="76" name="Textfeld 75">
              <a:extLst>
                <a:ext uri="{FF2B5EF4-FFF2-40B4-BE49-F238E27FC236}">
                  <a16:creationId xmlns:a16="http://schemas.microsoft.com/office/drawing/2014/main" id="{1502D66D-DF92-A846-1E28-A1131CAE0C24}"/>
                </a:ext>
              </a:extLst>
            </p:cNvPr>
            <p:cNvSpPr txBox="1"/>
            <p:nvPr/>
          </p:nvSpPr>
          <p:spPr>
            <a:xfrm>
              <a:off x="3987170" y="2659401"/>
              <a:ext cx="914400" cy="299611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dirty="0"/>
                <a:t>2 Lira, 10 MW</a:t>
              </a:r>
              <a:endParaRPr lang="de-DE" sz="1600" b="0" i="0" u="none" dirty="0"/>
            </a:p>
          </p:txBody>
        </p:sp>
        <p:sp>
          <p:nvSpPr>
            <p:cNvPr id="77" name="Textfeld 76">
              <a:extLst>
                <a:ext uri="{FF2B5EF4-FFF2-40B4-BE49-F238E27FC236}">
                  <a16:creationId xmlns:a16="http://schemas.microsoft.com/office/drawing/2014/main" id="{532D3113-E871-8B2B-2D58-8D5E31D7401C}"/>
                </a:ext>
              </a:extLst>
            </p:cNvPr>
            <p:cNvSpPr txBox="1"/>
            <p:nvPr/>
          </p:nvSpPr>
          <p:spPr>
            <a:xfrm>
              <a:off x="4157624" y="2215248"/>
              <a:ext cx="914400" cy="299611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dirty="0"/>
                <a:t>10 Lira, 100 MW</a:t>
              </a:r>
              <a:endParaRPr lang="de-DE" sz="1600" b="0" i="0" u="none" dirty="0"/>
            </a:p>
          </p:txBody>
        </p:sp>
        <p:sp>
          <p:nvSpPr>
            <p:cNvPr id="78" name="Textfeld 77">
              <a:extLst>
                <a:ext uri="{FF2B5EF4-FFF2-40B4-BE49-F238E27FC236}">
                  <a16:creationId xmlns:a16="http://schemas.microsoft.com/office/drawing/2014/main" id="{658631DB-0FD2-166B-B502-E30A0005CE04}"/>
                </a:ext>
              </a:extLst>
            </p:cNvPr>
            <p:cNvSpPr txBox="1"/>
            <p:nvPr/>
          </p:nvSpPr>
          <p:spPr>
            <a:xfrm>
              <a:off x="5638800" y="1665109"/>
              <a:ext cx="914400" cy="299611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dirty="0"/>
                <a:t>1600 Lira, 100 MW</a:t>
              </a:r>
              <a:endParaRPr lang="de-DE" sz="1600" b="0" i="0" u="none" dirty="0"/>
            </a:p>
          </p:txBody>
        </p:sp>
      </p:grpSp>
      <p:sp>
        <p:nvSpPr>
          <p:cNvPr id="79" name="Ellipse 78">
            <a:extLst>
              <a:ext uri="{FF2B5EF4-FFF2-40B4-BE49-F238E27FC236}">
                <a16:creationId xmlns:a16="http://schemas.microsoft.com/office/drawing/2014/main" id="{242991CE-4BA7-9628-9574-9E5D2666EA44}"/>
              </a:ext>
            </a:extLst>
          </p:cNvPr>
          <p:cNvSpPr/>
          <p:nvPr/>
        </p:nvSpPr>
        <p:spPr>
          <a:xfrm>
            <a:off x="3920582" y="5381752"/>
            <a:ext cx="108000" cy="108000"/>
          </a:xfrm>
          <a:prstGeom prst="ellipse">
            <a:avLst/>
          </a:prstGeom>
          <a:solidFill>
            <a:srgbClr val="92D050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de-DE" sz="1600" dirty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1" name="Textfeld 80">
                <a:extLst>
                  <a:ext uri="{FF2B5EF4-FFF2-40B4-BE49-F238E27FC236}">
                    <a16:creationId xmlns:a16="http://schemas.microsoft.com/office/drawing/2014/main" id="{596BF597-F133-5EDA-CE36-526C5304C3AA}"/>
                  </a:ext>
                </a:extLst>
              </p:cNvPr>
              <p:cNvSpPr txBox="1"/>
              <p:nvPr/>
            </p:nvSpPr>
            <p:spPr>
              <a:xfrm>
                <a:off x="4443101" y="4978552"/>
                <a:ext cx="2409316" cy="914400"/>
              </a:xfrm>
              <a:prstGeom prst="rect">
                <a:avLst/>
              </a:prstGeom>
              <a:noFill/>
            </p:spPr>
            <p:txBody>
              <a:bodyPr vert="horz" wrap="none" lIns="0" tIns="0" rIns="0" bIns="0" rtlCol="0">
                <a:noAutofit/>
              </a:bodyPr>
              <a:lstStyle/>
              <a:p>
                <a:pPr algn="l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600" b="1" i="0" u="none" dirty="0"/>
                  <a:t>ID3 </a:t>
                </a:r>
                <a:r>
                  <a:rPr lang="de-DE" sz="1600" b="1" i="0" u="none" dirty="0" err="1"/>
                  <a:t>price</a:t>
                </a:r>
                <a:r>
                  <a:rPr lang="de-DE" sz="1600" b="1" i="0" u="none" dirty="0"/>
                  <a:t>: </a:t>
                </a:r>
              </a:p>
              <a:p>
                <a:pPr algn="l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b="0" i="1" u="none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b="0" i="1" u="none" smtClean="0">
                              <a:latin typeface="Cambria Math" panose="02040503050406030204" pitchFamily="18" charset="0"/>
                            </a:rPr>
                            <m:t>2 ∗10+10 ∗100+1600 ∗100</m:t>
                          </m:r>
                        </m:num>
                        <m:den>
                          <m:r>
                            <a:rPr lang="de-DE" sz="1600" b="0" i="1" u="none" smtClean="0">
                              <a:latin typeface="Cambria Math" panose="02040503050406030204" pitchFamily="18" charset="0"/>
                            </a:rPr>
                            <m:t>10+100+100</m:t>
                          </m:r>
                        </m:den>
                      </m:f>
                      <m:r>
                        <a:rPr lang="de-DE" sz="1600" b="0" i="1" u="none" smtClean="0">
                          <a:latin typeface="Cambria Math" panose="02040503050406030204" pitchFamily="18" charset="0"/>
                        </a:rPr>
                        <m:t>=766,76 </m:t>
                      </m:r>
                      <m:r>
                        <a:rPr lang="de-DE" sz="1600" b="0" i="1" u="none" smtClean="0">
                          <a:latin typeface="Cambria Math" panose="02040503050406030204" pitchFamily="18" charset="0"/>
                        </a:rPr>
                        <m:t>𝑇𝐿</m:t>
                      </m:r>
                      <m:r>
                        <a:rPr lang="de-DE" sz="1600" b="0" i="1" u="none" smtClean="0">
                          <a:latin typeface="Cambria Math" panose="02040503050406030204" pitchFamily="18" charset="0"/>
                        </a:rPr>
                        <m:t>/</m:t>
                      </m:r>
                      <m:r>
                        <a:rPr lang="de-DE" sz="1600" b="0" i="1" u="none" smtClean="0">
                          <a:latin typeface="Cambria Math" panose="02040503050406030204" pitchFamily="18" charset="0"/>
                        </a:rPr>
                        <m:t>𝑀𝑊h</m:t>
                      </m:r>
                    </m:oMath>
                  </m:oMathPara>
                </a14:m>
                <a:endParaRPr lang="de-DE" sz="1600" b="0" i="0" u="none" dirty="0"/>
              </a:p>
            </p:txBody>
          </p:sp>
        </mc:Choice>
        <mc:Fallback xmlns="">
          <p:sp>
            <p:nvSpPr>
              <p:cNvPr id="81" name="Textfeld 80">
                <a:extLst>
                  <a:ext uri="{FF2B5EF4-FFF2-40B4-BE49-F238E27FC236}">
                    <a16:creationId xmlns:a16="http://schemas.microsoft.com/office/drawing/2014/main" id="{596BF597-F133-5EDA-CE36-526C5304C3A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43101" y="4978552"/>
                <a:ext cx="2409316" cy="914400"/>
              </a:xfrm>
              <a:prstGeom prst="rect">
                <a:avLst/>
              </a:prstGeom>
              <a:blipFill>
                <a:blip r:embed="rId4"/>
                <a:stretch>
                  <a:fillRect l="-5316" t="-8000" r="-9088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91070857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3EABEF-64B8-45C1-9574-9C9FF106A0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3600" b="1" i="0" u="none" dirty="0">
                <a:solidFill>
                  <a:schemeClr val="bg2">
                    <a:lumMod val="75000"/>
                  </a:schemeClr>
                </a:solidFill>
              </a:rPr>
              <a:t>Model </a:t>
            </a:r>
            <a:r>
              <a:rPr lang="de-DE" sz="3600" b="1" i="0" u="none" dirty="0" err="1">
                <a:solidFill>
                  <a:schemeClr val="bg2">
                    <a:lumMod val="75000"/>
                  </a:schemeClr>
                </a:solidFill>
              </a:rPr>
              <a:t>evaluation</a:t>
            </a:r>
            <a:r>
              <a:rPr lang="de-DE" sz="3600" b="1" i="0" u="none" dirty="0">
                <a:solidFill>
                  <a:schemeClr val="bg2">
                    <a:lumMod val="75000"/>
                  </a:schemeClr>
                </a:solidFill>
              </a:rPr>
              <a:t> Regression (MAPE) 2 </a:t>
            </a:r>
            <a:r>
              <a:rPr lang="de-DE" sz="3600" b="1" i="0" u="none" dirty="0" err="1">
                <a:solidFill>
                  <a:schemeClr val="bg2">
                    <a:lumMod val="75000"/>
                  </a:schemeClr>
                </a:solidFill>
              </a:rPr>
              <a:t>hours</a:t>
            </a:r>
            <a:r>
              <a:rPr lang="de-DE" sz="3600" b="1" i="0" u="none" dirty="0">
                <a:solidFill>
                  <a:schemeClr val="bg2">
                    <a:lumMod val="75000"/>
                  </a:schemeClr>
                </a:solidFill>
              </a:rPr>
              <a:t> </a:t>
            </a:r>
            <a:r>
              <a:rPr lang="de-DE" sz="3600" b="1" i="0" u="none" dirty="0" err="1">
                <a:solidFill>
                  <a:schemeClr val="bg2">
                    <a:lumMod val="75000"/>
                  </a:schemeClr>
                </a:solidFill>
              </a:rPr>
              <a:t>prior</a:t>
            </a:r>
            <a:endParaRPr lang="de-DE" sz="3600" b="1" i="0" u="none" dirty="0">
              <a:solidFill>
                <a:schemeClr val="bg2">
                  <a:lumMod val="75000"/>
                </a:schemeClr>
              </a:solidFill>
            </a:endParaRPr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9A2EFE48-E64B-10CA-0DE2-A46F329B6B6A}"/>
              </a:ext>
            </a:extLst>
          </p:cNvPr>
          <p:cNvCxnSpPr>
            <a:cxnSpLocks/>
          </p:cNvCxnSpPr>
          <p:nvPr/>
        </p:nvCxnSpPr>
        <p:spPr>
          <a:xfrm>
            <a:off x="5562600" y="1395856"/>
            <a:ext cx="0" cy="5143543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11301A81-CBE9-5747-D738-246903AC4E59}"/>
              </a:ext>
            </a:extLst>
          </p:cNvPr>
          <p:cNvGrpSpPr/>
          <p:nvPr/>
        </p:nvGrpSpPr>
        <p:grpSpPr>
          <a:xfrm>
            <a:off x="956358" y="1395856"/>
            <a:ext cx="4367668" cy="4905609"/>
            <a:chOff x="956358" y="1395856"/>
            <a:chExt cx="4367668" cy="4905609"/>
          </a:xfrm>
        </p:grpSpPr>
        <p:sp>
          <p:nvSpPr>
            <p:cNvPr id="28" name="Off-page Connector 1">
              <a:extLst>
                <a:ext uri="{FF2B5EF4-FFF2-40B4-BE49-F238E27FC236}">
                  <a16:creationId xmlns:a16="http://schemas.microsoft.com/office/drawing/2014/main" id="{6F3ACACE-4576-33E2-48D4-B9A39468A683}"/>
                </a:ext>
              </a:extLst>
            </p:cNvPr>
            <p:cNvSpPr/>
            <p:nvPr/>
          </p:nvSpPr>
          <p:spPr>
            <a:xfrm>
              <a:off x="2538745" y="1969622"/>
              <a:ext cx="1392641" cy="560562"/>
            </a:xfrm>
            <a:prstGeom prst="flowChartOffpageConnector">
              <a:avLst/>
            </a:prstGeom>
            <a:ln w="3810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29" name="Off-page Connector 9">
              <a:extLst>
                <a:ext uri="{FF2B5EF4-FFF2-40B4-BE49-F238E27FC236}">
                  <a16:creationId xmlns:a16="http://schemas.microsoft.com/office/drawing/2014/main" id="{0A360505-A83A-3320-FEFA-51FD7F9704E6}"/>
                </a:ext>
              </a:extLst>
            </p:cNvPr>
            <p:cNvSpPr/>
            <p:nvPr/>
          </p:nvSpPr>
          <p:spPr>
            <a:xfrm>
              <a:off x="3931385" y="1969622"/>
              <a:ext cx="1392641" cy="560562"/>
            </a:xfrm>
            <a:prstGeom prst="flowChartOffpageConnector">
              <a:avLst/>
            </a:prstGeom>
            <a:solidFill>
              <a:schemeClr val="accent2"/>
            </a:solidFill>
            <a:ln w="3810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30" name="TextBox 14">
              <a:extLst>
                <a:ext uri="{FF2B5EF4-FFF2-40B4-BE49-F238E27FC236}">
                  <a16:creationId xmlns:a16="http://schemas.microsoft.com/office/drawing/2014/main" id="{F4C52D09-5FFE-1BD9-17AF-C7E0D9D9B958}"/>
                </a:ext>
              </a:extLst>
            </p:cNvPr>
            <p:cNvSpPr txBox="1"/>
            <p:nvPr/>
          </p:nvSpPr>
          <p:spPr>
            <a:xfrm>
              <a:off x="2543171" y="2083116"/>
              <a:ext cx="1383794" cy="258410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de-DE" sz="1600" b="1" dirty="0">
                  <a:solidFill>
                    <a:schemeClr val="bg1"/>
                  </a:solidFill>
                  <a:ea typeface="League Spartan" charset="0"/>
                  <a:cs typeface="Poppins" pitchFamily="2" charset="77"/>
                </a:rPr>
                <a:t>Random Forest</a:t>
              </a:r>
            </a:p>
          </p:txBody>
        </p:sp>
        <p:sp>
          <p:nvSpPr>
            <p:cNvPr id="31" name="TextBox 15">
              <a:extLst>
                <a:ext uri="{FF2B5EF4-FFF2-40B4-BE49-F238E27FC236}">
                  <a16:creationId xmlns:a16="http://schemas.microsoft.com/office/drawing/2014/main" id="{B416DEC5-0D08-607C-2013-E0116CAB008A}"/>
                </a:ext>
              </a:extLst>
            </p:cNvPr>
            <p:cNvSpPr txBox="1"/>
            <p:nvPr/>
          </p:nvSpPr>
          <p:spPr>
            <a:xfrm>
              <a:off x="4024576" y="2083116"/>
              <a:ext cx="1206265" cy="258410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de-DE" sz="1600" b="1" dirty="0" err="1">
                  <a:solidFill>
                    <a:schemeClr val="bg1"/>
                  </a:solidFill>
                  <a:ea typeface="League Spartan" charset="0"/>
                  <a:cs typeface="Poppins" pitchFamily="2" charset="77"/>
                </a:rPr>
                <a:t>Boosted</a:t>
              </a:r>
              <a:r>
                <a:rPr lang="de-DE" sz="1600" b="1" dirty="0">
                  <a:solidFill>
                    <a:schemeClr val="bg1"/>
                  </a:solidFill>
                  <a:ea typeface="League Spartan" charset="0"/>
                  <a:cs typeface="Poppins" pitchFamily="2" charset="77"/>
                </a:rPr>
                <a:t> </a:t>
              </a:r>
              <a:r>
                <a:rPr lang="de-DE" sz="1600" b="1" dirty="0" err="1">
                  <a:solidFill>
                    <a:schemeClr val="bg1"/>
                  </a:solidFill>
                  <a:ea typeface="League Spartan" charset="0"/>
                  <a:cs typeface="Poppins" pitchFamily="2" charset="77"/>
                </a:rPr>
                <a:t>Tree</a:t>
              </a:r>
              <a:endParaRPr lang="de-DE" sz="1600" b="1" dirty="0">
                <a:solidFill>
                  <a:schemeClr val="bg1"/>
                </a:solidFill>
                <a:ea typeface="League Spartan" charset="0"/>
                <a:cs typeface="Poppins" pitchFamily="2" charset="77"/>
              </a:endParaRPr>
            </a:p>
          </p:txBody>
        </p:sp>
        <p:sp>
          <p:nvSpPr>
            <p:cNvPr id="32" name="Rectangle 20">
              <a:extLst>
                <a:ext uri="{FF2B5EF4-FFF2-40B4-BE49-F238E27FC236}">
                  <a16:creationId xmlns:a16="http://schemas.microsoft.com/office/drawing/2014/main" id="{6321E74A-64C0-CC50-F377-F8C9D2804902}"/>
                </a:ext>
              </a:extLst>
            </p:cNvPr>
            <p:cNvSpPr/>
            <p:nvPr/>
          </p:nvSpPr>
          <p:spPr>
            <a:xfrm>
              <a:off x="956358" y="2586774"/>
              <a:ext cx="1582387" cy="465386"/>
            </a:xfrm>
            <a:prstGeom prst="rect">
              <a:avLst/>
            </a:prstGeom>
            <a:solidFill>
              <a:schemeClr val="lt2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33" name="Rectangle 21">
              <a:extLst>
                <a:ext uri="{FF2B5EF4-FFF2-40B4-BE49-F238E27FC236}">
                  <a16:creationId xmlns:a16="http://schemas.microsoft.com/office/drawing/2014/main" id="{5F02ADC5-3160-3378-050F-EC78276E9AA9}"/>
                </a:ext>
              </a:extLst>
            </p:cNvPr>
            <p:cNvSpPr/>
            <p:nvPr/>
          </p:nvSpPr>
          <p:spPr>
            <a:xfrm>
              <a:off x="956358" y="3052160"/>
              <a:ext cx="1582387" cy="465386"/>
            </a:xfrm>
            <a:prstGeom prst="rect">
              <a:avLst/>
            </a:prstGeom>
            <a:solidFill>
              <a:schemeClr val="lt2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34" name="Rectangle 22">
              <a:extLst>
                <a:ext uri="{FF2B5EF4-FFF2-40B4-BE49-F238E27FC236}">
                  <a16:creationId xmlns:a16="http://schemas.microsoft.com/office/drawing/2014/main" id="{82ACAC85-79B8-F63B-E2AD-7A4FB339EFDC}"/>
                </a:ext>
              </a:extLst>
            </p:cNvPr>
            <p:cNvSpPr/>
            <p:nvPr/>
          </p:nvSpPr>
          <p:spPr>
            <a:xfrm>
              <a:off x="956358" y="3517546"/>
              <a:ext cx="1582387" cy="465386"/>
            </a:xfrm>
            <a:prstGeom prst="rect">
              <a:avLst/>
            </a:prstGeom>
            <a:solidFill>
              <a:schemeClr val="lt2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35" name="Rectangle 23">
              <a:extLst>
                <a:ext uri="{FF2B5EF4-FFF2-40B4-BE49-F238E27FC236}">
                  <a16:creationId xmlns:a16="http://schemas.microsoft.com/office/drawing/2014/main" id="{01CF4E7C-F36E-2A27-0E0C-18BDC5B2E9A1}"/>
                </a:ext>
              </a:extLst>
            </p:cNvPr>
            <p:cNvSpPr/>
            <p:nvPr/>
          </p:nvSpPr>
          <p:spPr>
            <a:xfrm>
              <a:off x="956358" y="3982933"/>
              <a:ext cx="1582387" cy="465386"/>
            </a:xfrm>
            <a:prstGeom prst="rect">
              <a:avLst/>
            </a:prstGeom>
            <a:solidFill>
              <a:schemeClr val="lt2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36" name="Rectangle 24">
              <a:extLst>
                <a:ext uri="{FF2B5EF4-FFF2-40B4-BE49-F238E27FC236}">
                  <a16:creationId xmlns:a16="http://schemas.microsoft.com/office/drawing/2014/main" id="{FB3A2133-6B74-59A8-D2E1-9190B128C4FD}"/>
                </a:ext>
              </a:extLst>
            </p:cNvPr>
            <p:cNvSpPr/>
            <p:nvPr/>
          </p:nvSpPr>
          <p:spPr>
            <a:xfrm>
              <a:off x="956358" y="4448320"/>
              <a:ext cx="1582387" cy="465386"/>
            </a:xfrm>
            <a:prstGeom prst="rect">
              <a:avLst/>
            </a:prstGeom>
            <a:solidFill>
              <a:schemeClr val="lt2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37" name="Rectangle 25">
              <a:extLst>
                <a:ext uri="{FF2B5EF4-FFF2-40B4-BE49-F238E27FC236}">
                  <a16:creationId xmlns:a16="http://schemas.microsoft.com/office/drawing/2014/main" id="{30310F82-8BE5-6C16-15B6-BE27DB269DFD}"/>
                </a:ext>
              </a:extLst>
            </p:cNvPr>
            <p:cNvSpPr/>
            <p:nvPr/>
          </p:nvSpPr>
          <p:spPr>
            <a:xfrm>
              <a:off x="956358" y="4913706"/>
              <a:ext cx="1582387" cy="465386"/>
            </a:xfrm>
            <a:prstGeom prst="rect">
              <a:avLst/>
            </a:prstGeom>
            <a:solidFill>
              <a:schemeClr val="lt2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38" name="Rectangle 27">
              <a:extLst>
                <a:ext uri="{FF2B5EF4-FFF2-40B4-BE49-F238E27FC236}">
                  <a16:creationId xmlns:a16="http://schemas.microsoft.com/office/drawing/2014/main" id="{B81D46B8-5DA1-2763-E1CF-86FC115AD7BE}"/>
                </a:ext>
              </a:extLst>
            </p:cNvPr>
            <p:cNvSpPr/>
            <p:nvPr/>
          </p:nvSpPr>
          <p:spPr>
            <a:xfrm>
              <a:off x="956358" y="5379092"/>
              <a:ext cx="1582387" cy="465386"/>
            </a:xfrm>
            <a:prstGeom prst="rect">
              <a:avLst/>
            </a:prstGeom>
            <a:solidFill>
              <a:schemeClr val="lt2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39" name="TextBox 28">
              <a:extLst>
                <a:ext uri="{FF2B5EF4-FFF2-40B4-BE49-F238E27FC236}">
                  <a16:creationId xmlns:a16="http://schemas.microsoft.com/office/drawing/2014/main" id="{CA0AFA3C-BC70-4834-8730-95C76AFB27CC}"/>
                </a:ext>
              </a:extLst>
            </p:cNvPr>
            <p:cNvSpPr txBox="1"/>
            <p:nvPr/>
          </p:nvSpPr>
          <p:spPr>
            <a:xfrm>
              <a:off x="1332254" y="2692328"/>
              <a:ext cx="830600" cy="258410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de-DE" sz="1600" b="1" dirty="0">
                  <a:solidFill>
                    <a:schemeClr val="dk1"/>
                  </a:solidFill>
                  <a:ea typeface="League Spartan" charset="0"/>
                  <a:cs typeface="Poppins" pitchFamily="2" charset="77"/>
                </a:rPr>
                <a:t>Monday</a:t>
              </a:r>
            </a:p>
          </p:txBody>
        </p:sp>
        <p:sp>
          <p:nvSpPr>
            <p:cNvPr id="40" name="TextBox 29">
              <a:extLst>
                <a:ext uri="{FF2B5EF4-FFF2-40B4-BE49-F238E27FC236}">
                  <a16:creationId xmlns:a16="http://schemas.microsoft.com/office/drawing/2014/main" id="{1D3331FB-773A-69F4-6D1F-7B097A764A69}"/>
                </a:ext>
              </a:extLst>
            </p:cNvPr>
            <p:cNvSpPr txBox="1"/>
            <p:nvPr/>
          </p:nvSpPr>
          <p:spPr>
            <a:xfrm>
              <a:off x="1343366" y="3155649"/>
              <a:ext cx="808378" cy="258410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de-DE" sz="1600" b="1" dirty="0">
                  <a:solidFill>
                    <a:schemeClr val="dk1"/>
                  </a:solidFill>
                  <a:ea typeface="League Spartan" charset="0"/>
                  <a:cs typeface="Poppins" pitchFamily="2" charset="77"/>
                </a:rPr>
                <a:t>Tuesday</a:t>
              </a:r>
            </a:p>
          </p:txBody>
        </p:sp>
        <p:sp>
          <p:nvSpPr>
            <p:cNvPr id="41" name="TextBox 31">
              <a:extLst>
                <a:ext uri="{FF2B5EF4-FFF2-40B4-BE49-F238E27FC236}">
                  <a16:creationId xmlns:a16="http://schemas.microsoft.com/office/drawing/2014/main" id="{59F43BCC-38F4-CE5F-224D-F9384B5DFE46}"/>
                </a:ext>
              </a:extLst>
            </p:cNvPr>
            <p:cNvSpPr txBox="1"/>
            <p:nvPr/>
          </p:nvSpPr>
          <p:spPr>
            <a:xfrm>
              <a:off x="1195343" y="3618970"/>
              <a:ext cx="1104419" cy="258410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de-DE" sz="1600" b="1" dirty="0">
                  <a:solidFill>
                    <a:schemeClr val="dk1"/>
                  </a:solidFill>
                  <a:ea typeface="League Spartan" charset="0"/>
                  <a:cs typeface="Poppins" pitchFamily="2" charset="77"/>
                </a:rPr>
                <a:t>Wednesday</a:t>
              </a:r>
            </a:p>
          </p:txBody>
        </p:sp>
        <p:sp>
          <p:nvSpPr>
            <p:cNvPr id="42" name="TextBox 32">
              <a:extLst>
                <a:ext uri="{FF2B5EF4-FFF2-40B4-BE49-F238E27FC236}">
                  <a16:creationId xmlns:a16="http://schemas.microsoft.com/office/drawing/2014/main" id="{9C678949-38FA-9ABB-CE81-9400A88C34FA}"/>
                </a:ext>
              </a:extLst>
            </p:cNvPr>
            <p:cNvSpPr txBox="1"/>
            <p:nvPr/>
          </p:nvSpPr>
          <p:spPr>
            <a:xfrm>
              <a:off x="1295488" y="4086422"/>
              <a:ext cx="904132" cy="258410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de-DE" sz="1600" b="1" dirty="0" err="1">
                  <a:solidFill>
                    <a:schemeClr val="dk1"/>
                  </a:solidFill>
                  <a:ea typeface="League Spartan" charset="0"/>
                  <a:cs typeface="Poppins" pitchFamily="2" charset="77"/>
                </a:rPr>
                <a:t>Thursday</a:t>
              </a:r>
              <a:endParaRPr lang="de-DE" sz="1600" b="1" dirty="0">
                <a:solidFill>
                  <a:schemeClr val="dk1"/>
                </a:solidFill>
                <a:ea typeface="League Spartan" charset="0"/>
                <a:cs typeface="Poppins" pitchFamily="2" charset="77"/>
              </a:endParaRPr>
            </a:p>
          </p:txBody>
        </p:sp>
        <p:sp>
          <p:nvSpPr>
            <p:cNvPr id="43" name="TextBox 33">
              <a:extLst>
                <a:ext uri="{FF2B5EF4-FFF2-40B4-BE49-F238E27FC236}">
                  <a16:creationId xmlns:a16="http://schemas.microsoft.com/office/drawing/2014/main" id="{EB6C9762-2753-C8DF-3844-27885FCADE2C}"/>
                </a:ext>
              </a:extLst>
            </p:cNvPr>
            <p:cNvSpPr txBox="1"/>
            <p:nvPr/>
          </p:nvSpPr>
          <p:spPr>
            <a:xfrm>
              <a:off x="1421853" y="4551808"/>
              <a:ext cx="651398" cy="258410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de-DE" sz="1600" b="1" dirty="0">
                  <a:solidFill>
                    <a:schemeClr val="dk1"/>
                  </a:solidFill>
                  <a:ea typeface="League Spartan" charset="0"/>
                  <a:cs typeface="Poppins" pitchFamily="2" charset="77"/>
                </a:rPr>
                <a:t>Friday</a:t>
              </a:r>
            </a:p>
          </p:txBody>
        </p:sp>
        <p:sp>
          <p:nvSpPr>
            <p:cNvPr id="44" name="TextBox 34">
              <a:extLst>
                <a:ext uri="{FF2B5EF4-FFF2-40B4-BE49-F238E27FC236}">
                  <a16:creationId xmlns:a16="http://schemas.microsoft.com/office/drawing/2014/main" id="{A1A96415-6702-E390-1AFC-6B60ADFEA984}"/>
                </a:ext>
              </a:extLst>
            </p:cNvPr>
            <p:cNvSpPr txBox="1"/>
            <p:nvPr/>
          </p:nvSpPr>
          <p:spPr>
            <a:xfrm>
              <a:off x="1313258" y="5017194"/>
              <a:ext cx="868590" cy="258410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de-DE" sz="1600" b="1" dirty="0">
                  <a:solidFill>
                    <a:schemeClr val="dk1"/>
                  </a:solidFill>
                  <a:ea typeface="League Spartan" charset="0"/>
                  <a:cs typeface="Poppins" pitchFamily="2" charset="77"/>
                </a:rPr>
                <a:t>Saturday</a:t>
              </a:r>
            </a:p>
          </p:txBody>
        </p:sp>
        <p:sp>
          <p:nvSpPr>
            <p:cNvPr id="45" name="TextBox 35">
              <a:extLst>
                <a:ext uri="{FF2B5EF4-FFF2-40B4-BE49-F238E27FC236}">
                  <a16:creationId xmlns:a16="http://schemas.microsoft.com/office/drawing/2014/main" id="{0C2CA2B4-EAF9-1A32-324D-C5C31B3AE483}"/>
                </a:ext>
              </a:extLst>
            </p:cNvPr>
            <p:cNvSpPr txBox="1"/>
            <p:nvPr/>
          </p:nvSpPr>
          <p:spPr>
            <a:xfrm>
              <a:off x="1366601" y="5482581"/>
              <a:ext cx="761906" cy="258410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de-DE" sz="1600" b="1" dirty="0">
                  <a:solidFill>
                    <a:schemeClr val="dk1"/>
                  </a:solidFill>
                  <a:ea typeface="League Spartan" charset="0"/>
                  <a:cs typeface="Poppins" pitchFamily="2" charset="77"/>
                </a:rPr>
                <a:t>Sunday</a:t>
              </a:r>
            </a:p>
          </p:txBody>
        </p:sp>
        <p:sp>
          <p:nvSpPr>
            <p:cNvPr id="46" name="Rectangle 38">
              <a:extLst>
                <a:ext uri="{FF2B5EF4-FFF2-40B4-BE49-F238E27FC236}">
                  <a16:creationId xmlns:a16="http://schemas.microsoft.com/office/drawing/2014/main" id="{D33F9BAB-39C9-A831-63C2-779887334794}"/>
                </a:ext>
              </a:extLst>
            </p:cNvPr>
            <p:cNvSpPr/>
            <p:nvPr/>
          </p:nvSpPr>
          <p:spPr>
            <a:xfrm>
              <a:off x="2538745" y="2586774"/>
              <a:ext cx="1392641" cy="465386"/>
            </a:xfrm>
            <a:prstGeom prst="rect">
              <a:avLst/>
            </a:prstGeom>
            <a:noFill/>
            <a:ln w="38100" cap="flat" cmpd="sng" algn="ctr">
              <a:solidFill>
                <a:schemeClr val="l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47" name="Rectangle 39">
              <a:extLst>
                <a:ext uri="{FF2B5EF4-FFF2-40B4-BE49-F238E27FC236}">
                  <a16:creationId xmlns:a16="http://schemas.microsoft.com/office/drawing/2014/main" id="{FA470CD3-60C2-D2BB-7C91-C0C03BE14AC6}"/>
                </a:ext>
              </a:extLst>
            </p:cNvPr>
            <p:cNvSpPr/>
            <p:nvPr/>
          </p:nvSpPr>
          <p:spPr>
            <a:xfrm>
              <a:off x="2538745" y="3052160"/>
              <a:ext cx="1392641" cy="465386"/>
            </a:xfrm>
            <a:prstGeom prst="rect">
              <a:avLst/>
            </a:prstGeom>
            <a:noFill/>
            <a:ln w="38100" cap="flat" cmpd="sng" algn="ctr">
              <a:solidFill>
                <a:schemeClr val="l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48" name="Rectangle 40">
              <a:extLst>
                <a:ext uri="{FF2B5EF4-FFF2-40B4-BE49-F238E27FC236}">
                  <a16:creationId xmlns:a16="http://schemas.microsoft.com/office/drawing/2014/main" id="{09865495-CF3E-915E-21FA-D4131E87D81B}"/>
                </a:ext>
              </a:extLst>
            </p:cNvPr>
            <p:cNvSpPr/>
            <p:nvPr/>
          </p:nvSpPr>
          <p:spPr>
            <a:xfrm>
              <a:off x="2538745" y="3517546"/>
              <a:ext cx="1392641" cy="465386"/>
            </a:xfrm>
            <a:prstGeom prst="rect">
              <a:avLst/>
            </a:prstGeom>
            <a:noFill/>
            <a:ln w="38100" cap="flat" cmpd="sng" algn="ctr">
              <a:solidFill>
                <a:schemeClr val="l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49" name="Rectangle 41">
              <a:extLst>
                <a:ext uri="{FF2B5EF4-FFF2-40B4-BE49-F238E27FC236}">
                  <a16:creationId xmlns:a16="http://schemas.microsoft.com/office/drawing/2014/main" id="{0EAD1348-3F1D-92C8-0619-B948B584C4F3}"/>
                </a:ext>
              </a:extLst>
            </p:cNvPr>
            <p:cNvSpPr/>
            <p:nvPr/>
          </p:nvSpPr>
          <p:spPr>
            <a:xfrm>
              <a:off x="2538745" y="3982933"/>
              <a:ext cx="1392641" cy="465386"/>
            </a:xfrm>
            <a:prstGeom prst="rect">
              <a:avLst/>
            </a:prstGeom>
            <a:noFill/>
            <a:ln w="38100" cap="flat" cmpd="sng" algn="ctr">
              <a:solidFill>
                <a:schemeClr val="l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50" name="Rectangle 42">
              <a:extLst>
                <a:ext uri="{FF2B5EF4-FFF2-40B4-BE49-F238E27FC236}">
                  <a16:creationId xmlns:a16="http://schemas.microsoft.com/office/drawing/2014/main" id="{B73E8835-B359-F688-B13C-D677AFDF6A11}"/>
                </a:ext>
              </a:extLst>
            </p:cNvPr>
            <p:cNvSpPr/>
            <p:nvPr/>
          </p:nvSpPr>
          <p:spPr>
            <a:xfrm>
              <a:off x="2538745" y="4448320"/>
              <a:ext cx="1392641" cy="465386"/>
            </a:xfrm>
            <a:prstGeom prst="rect">
              <a:avLst/>
            </a:prstGeom>
            <a:noFill/>
            <a:ln w="38100" cap="flat" cmpd="sng" algn="ctr">
              <a:solidFill>
                <a:schemeClr val="l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51" name="Rectangle 43">
              <a:extLst>
                <a:ext uri="{FF2B5EF4-FFF2-40B4-BE49-F238E27FC236}">
                  <a16:creationId xmlns:a16="http://schemas.microsoft.com/office/drawing/2014/main" id="{4AB0C106-86FE-F0B2-BC2D-BA6E88CF5FB0}"/>
                </a:ext>
              </a:extLst>
            </p:cNvPr>
            <p:cNvSpPr/>
            <p:nvPr/>
          </p:nvSpPr>
          <p:spPr>
            <a:xfrm>
              <a:off x="2538745" y="4913706"/>
              <a:ext cx="1392641" cy="465386"/>
            </a:xfrm>
            <a:prstGeom prst="rect">
              <a:avLst/>
            </a:prstGeom>
            <a:noFill/>
            <a:ln w="38100" cap="flat" cmpd="sng" algn="ctr">
              <a:solidFill>
                <a:schemeClr val="l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52" name="Rectangle 44">
              <a:extLst>
                <a:ext uri="{FF2B5EF4-FFF2-40B4-BE49-F238E27FC236}">
                  <a16:creationId xmlns:a16="http://schemas.microsoft.com/office/drawing/2014/main" id="{C67EB714-3182-4AF7-4781-4D89950D0E31}"/>
                </a:ext>
              </a:extLst>
            </p:cNvPr>
            <p:cNvSpPr/>
            <p:nvPr/>
          </p:nvSpPr>
          <p:spPr>
            <a:xfrm>
              <a:off x="2538745" y="5379092"/>
              <a:ext cx="1392641" cy="465386"/>
            </a:xfrm>
            <a:prstGeom prst="rect">
              <a:avLst/>
            </a:prstGeom>
            <a:noFill/>
            <a:ln w="38100" cap="flat" cmpd="sng" algn="ctr">
              <a:solidFill>
                <a:schemeClr val="l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53" name="Rectangle 46">
              <a:extLst>
                <a:ext uri="{FF2B5EF4-FFF2-40B4-BE49-F238E27FC236}">
                  <a16:creationId xmlns:a16="http://schemas.microsoft.com/office/drawing/2014/main" id="{CF49FC8F-E56C-EE6C-EA03-AEC362685A74}"/>
                </a:ext>
              </a:extLst>
            </p:cNvPr>
            <p:cNvSpPr/>
            <p:nvPr/>
          </p:nvSpPr>
          <p:spPr>
            <a:xfrm>
              <a:off x="3931384" y="2586774"/>
              <a:ext cx="1392641" cy="465386"/>
            </a:xfrm>
            <a:prstGeom prst="rect">
              <a:avLst/>
            </a:prstGeom>
            <a:noFill/>
            <a:ln w="38100" cap="flat" cmpd="sng" algn="ctr">
              <a:solidFill>
                <a:schemeClr val="l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54" name="Rectangle 47">
              <a:extLst>
                <a:ext uri="{FF2B5EF4-FFF2-40B4-BE49-F238E27FC236}">
                  <a16:creationId xmlns:a16="http://schemas.microsoft.com/office/drawing/2014/main" id="{89020BD1-73DF-EBC9-BF2E-83278F78A014}"/>
                </a:ext>
              </a:extLst>
            </p:cNvPr>
            <p:cNvSpPr/>
            <p:nvPr/>
          </p:nvSpPr>
          <p:spPr>
            <a:xfrm>
              <a:off x="3931384" y="3052160"/>
              <a:ext cx="1392641" cy="465386"/>
            </a:xfrm>
            <a:prstGeom prst="rect">
              <a:avLst/>
            </a:prstGeom>
            <a:noFill/>
            <a:ln w="38100" cap="flat" cmpd="sng" algn="ctr">
              <a:solidFill>
                <a:schemeClr val="l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55" name="Rectangle 48">
              <a:extLst>
                <a:ext uri="{FF2B5EF4-FFF2-40B4-BE49-F238E27FC236}">
                  <a16:creationId xmlns:a16="http://schemas.microsoft.com/office/drawing/2014/main" id="{80774687-AF7F-E041-B224-1D3B98B421D5}"/>
                </a:ext>
              </a:extLst>
            </p:cNvPr>
            <p:cNvSpPr/>
            <p:nvPr/>
          </p:nvSpPr>
          <p:spPr>
            <a:xfrm>
              <a:off x="3931384" y="3517546"/>
              <a:ext cx="1392641" cy="465386"/>
            </a:xfrm>
            <a:prstGeom prst="rect">
              <a:avLst/>
            </a:prstGeom>
            <a:noFill/>
            <a:ln w="38100" cap="flat" cmpd="sng" algn="ctr">
              <a:solidFill>
                <a:schemeClr val="l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56" name="Rectangle 49">
              <a:extLst>
                <a:ext uri="{FF2B5EF4-FFF2-40B4-BE49-F238E27FC236}">
                  <a16:creationId xmlns:a16="http://schemas.microsoft.com/office/drawing/2014/main" id="{86E03BDF-2A92-C0DA-3C60-B7187DBC2640}"/>
                </a:ext>
              </a:extLst>
            </p:cNvPr>
            <p:cNvSpPr/>
            <p:nvPr/>
          </p:nvSpPr>
          <p:spPr>
            <a:xfrm>
              <a:off x="3931384" y="3982933"/>
              <a:ext cx="1392641" cy="465386"/>
            </a:xfrm>
            <a:prstGeom prst="rect">
              <a:avLst/>
            </a:prstGeom>
            <a:noFill/>
            <a:ln w="38100" cap="flat" cmpd="sng" algn="ctr">
              <a:solidFill>
                <a:schemeClr val="l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57" name="Rectangle 50">
              <a:extLst>
                <a:ext uri="{FF2B5EF4-FFF2-40B4-BE49-F238E27FC236}">
                  <a16:creationId xmlns:a16="http://schemas.microsoft.com/office/drawing/2014/main" id="{0AB54F33-E8EB-A8CE-6CB2-67FDFDFD0969}"/>
                </a:ext>
              </a:extLst>
            </p:cNvPr>
            <p:cNvSpPr/>
            <p:nvPr/>
          </p:nvSpPr>
          <p:spPr>
            <a:xfrm>
              <a:off x="3931384" y="4448320"/>
              <a:ext cx="1392641" cy="465386"/>
            </a:xfrm>
            <a:prstGeom prst="rect">
              <a:avLst/>
            </a:prstGeom>
            <a:noFill/>
            <a:ln w="38100" cap="flat" cmpd="sng" algn="ctr">
              <a:solidFill>
                <a:schemeClr val="l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58" name="Rectangle 51">
              <a:extLst>
                <a:ext uri="{FF2B5EF4-FFF2-40B4-BE49-F238E27FC236}">
                  <a16:creationId xmlns:a16="http://schemas.microsoft.com/office/drawing/2014/main" id="{6EC88B72-8E54-BC59-682B-CC7EAF5D6E40}"/>
                </a:ext>
              </a:extLst>
            </p:cNvPr>
            <p:cNvSpPr/>
            <p:nvPr/>
          </p:nvSpPr>
          <p:spPr>
            <a:xfrm>
              <a:off x="3931384" y="4913706"/>
              <a:ext cx="1392641" cy="465386"/>
            </a:xfrm>
            <a:prstGeom prst="rect">
              <a:avLst/>
            </a:prstGeom>
            <a:noFill/>
            <a:ln w="38100" cap="flat" cmpd="sng" algn="ctr">
              <a:solidFill>
                <a:schemeClr val="l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59" name="Rectangle 52">
              <a:extLst>
                <a:ext uri="{FF2B5EF4-FFF2-40B4-BE49-F238E27FC236}">
                  <a16:creationId xmlns:a16="http://schemas.microsoft.com/office/drawing/2014/main" id="{4E95AEA2-DEDE-63B0-3E01-0F8810F53A3D}"/>
                </a:ext>
              </a:extLst>
            </p:cNvPr>
            <p:cNvSpPr/>
            <p:nvPr/>
          </p:nvSpPr>
          <p:spPr>
            <a:xfrm>
              <a:off x="3931384" y="5379092"/>
              <a:ext cx="1392641" cy="465386"/>
            </a:xfrm>
            <a:prstGeom prst="rect">
              <a:avLst/>
            </a:prstGeom>
            <a:noFill/>
            <a:ln w="38100" cap="flat" cmpd="sng" algn="ctr">
              <a:solidFill>
                <a:schemeClr val="l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82" name="Textfeld 81">
              <a:extLst>
                <a:ext uri="{FF2B5EF4-FFF2-40B4-BE49-F238E27FC236}">
                  <a16:creationId xmlns:a16="http://schemas.microsoft.com/office/drawing/2014/main" id="{818FB26D-ACE9-CDE7-9F48-11F38220FBA1}"/>
                </a:ext>
              </a:extLst>
            </p:cNvPr>
            <p:cNvSpPr txBox="1"/>
            <p:nvPr/>
          </p:nvSpPr>
          <p:spPr>
            <a:xfrm>
              <a:off x="2691829" y="2743725"/>
              <a:ext cx="1377111" cy="424759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de-DE" sz="1600" b="0" i="0" u="none" dirty="0" err="1"/>
            </a:p>
          </p:txBody>
        </p:sp>
        <p:sp>
          <p:nvSpPr>
            <p:cNvPr id="83" name="Textfeld 82">
              <a:extLst>
                <a:ext uri="{FF2B5EF4-FFF2-40B4-BE49-F238E27FC236}">
                  <a16:creationId xmlns:a16="http://schemas.microsoft.com/office/drawing/2014/main" id="{6FFE5691-1A54-E301-E46D-92324B624307}"/>
                </a:ext>
              </a:extLst>
            </p:cNvPr>
            <p:cNvSpPr txBox="1"/>
            <p:nvPr/>
          </p:nvSpPr>
          <p:spPr>
            <a:xfrm>
              <a:off x="2549854" y="4023560"/>
              <a:ext cx="1377111" cy="424759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de-DE" sz="1600" b="0" i="0" u="none" dirty="0" err="1"/>
            </a:p>
          </p:txBody>
        </p:sp>
        <p:sp>
          <p:nvSpPr>
            <p:cNvPr id="84" name="TextBox 28">
              <a:extLst>
                <a:ext uri="{FF2B5EF4-FFF2-40B4-BE49-F238E27FC236}">
                  <a16:creationId xmlns:a16="http://schemas.microsoft.com/office/drawing/2014/main" id="{15C68B2F-0951-C560-2348-8CA1B238056F}"/>
                </a:ext>
              </a:extLst>
            </p:cNvPr>
            <p:cNvSpPr txBox="1"/>
            <p:nvPr/>
          </p:nvSpPr>
          <p:spPr>
            <a:xfrm>
              <a:off x="2847905" y="2648055"/>
              <a:ext cx="774571" cy="338554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de-DE" sz="1600" b="1" dirty="0">
                  <a:solidFill>
                    <a:schemeClr val="dk1"/>
                  </a:solidFill>
                  <a:ea typeface="League Spartan" charset="0"/>
                  <a:cs typeface="Poppins" pitchFamily="2" charset="77"/>
                </a:rPr>
                <a:t>4.44 %</a:t>
              </a:r>
            </a:p>
          </p:txBody>
        </p:sp>
        <p:sp>
          <p:nvSpPr>
            <p:cNvPr id="85" name="TextBox 29">
              <a:extLst>
                <a:ext uri="{FF2B5EF4-FFF2-40B4-BE49-F238E27FC236}">
                  <a16:creationId xmlns:a16="http://schemas.microsoft.com/office/drawing/2014/main" id="{C51C8829-F2F3-C0CB-E175-2417494B392D}"/>
                </a:ext>
              </a:extLst>
            </p:cNvPr>
            <p:cNvSpPr txBox="1"/>
            <p:nvPr/>
          </p:nvSpPr>
          <p:spPr>
            <a:xfrm>
              <a:off x="2852715" y="3111376"/>
              <a:ext cx="764954" cy="338554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de-DE" sz="1600" b="1" dirty="0">
                  <a:solidFill>
                    <a:schemeClr val="dk1"/>
                  </a:solidFill>
                  <a:ea typeface="League Spartan" charset="0"/>
                  <a:cs typeface="Poppins" pitchFamily="2" charset="77"/>
                </a:rPr>
                <a:t>2.96 %</a:t>
              </a:r>
            </a:p>
          </p:txBody>
        </p:sp>
        <p:sp>
          <p:nvSpPr>
            <p:cNvPr id="86" name="TextBox 31">
              <a:extLst>
                <a:ext uri="{FF2B5EF4-FFF2-40B4-BE49-F238E27FC236}">
                  <a16:creationId xmlns:a16="http://schemas.microsoft.com/office/drawing/2014/main" id="{BA460E26-2F12-2781-98DF-9D9D13609D37}"/>
                </a:ext>
              </a:extLst>
            </p:cNvPr>
            <p:cNvSpPr txBox="1"/>
            <p:nvPr/>
          </p:nvSpPr>
          <p:spPr>
            <a:xfrm>
              <a:off x="2852713" y="3574698"/>
              <a:ext cx="764953" cy="338554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de-DE" sz="1600" b="1" dirty="0">
                  <a:solidFill>
                    <a:schemeClr val="dk1"/>
                  </a:solidFill>
                  <a:ea typeface="League Spartan" charset="0"/>
                  <a:cs typeface="Poppins" pitchFamily="2" charset="77"/>
                </a:rPr>
                <a:t>2.74 %</a:t>
              </a:r>
            </a:p>
          </p:txBody>
        </p:sp>
        <p:sp>
          <p:nvSpPr>
            <p:cNvPr id="87" name="TextBox 32">
              <a:extLst>
                <a:ext uri="{FF2B5EF4-FFF2-40B4-BE49-F238E27FC236}">
                  <a16:creationId xmlns:a16="http://schemas.microsoft.com/office/drawing/2014/main" id="{108E7D74-A86E-0CCD-533B-C9CE8E4B58BE}"/>
                </a:ext>
              </a:extLst>
            </p:cNvPr>
            <p:cNvSpPr txBox="1"/>
            <p:nvPr/>
          </p:nvSpPr>
          <p:spPr>
            <a:xfrm>
              <a:off x="2870348" y="4042149"/>
              <a:ext cx="729687" cy="338554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de-DE" sz="1600" b="1" dirty="0">
                  <a:solidFill>
                    <a:schemeClr val="dk1"/>
                  </a:solidFill>
                  <a:ea typeface="League Spartan" charset="0"/>
                  <a:cs typeface="Poppins" pitchFamily="2" charset="77"/>
                </a:rPr>
                <a:t>3.17 %</a:t>
              </a:r>
            </a:p>
          </p:txBody>
        </p:sp>
        <p:sp>
          <p:nvSpPr>
            <p:cNvPr id="88" name="TextBox 33">
              <a:extLst>
                <a:ext uri="{FF2B5EF4-FFF2-40B4-BE49-F238E27FC236}">
                  <a16:creationId xmlns:a16="http://schemas.microsoft.com/office/drawing/2014/main" id="{8BBC4861-AAB1-CBF8-C214-9F297E8775E0}"/>
                </a:ext>
              </a:extLst>
            </p:cNvPr>
            <p:cNvSpPr txBox="1"/>
            <p:nvPr/>
          </p:nvSpPr>
          <p:spPr>
            <a:xfrm>
              <a:off x="2852713" y="4507536"/>
              <a:ext cx="764954" cy="338554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de-DE" sz="1600" b="1" dirty="0">
                  <a:solidFill>
                    <a:schemeClr val="dk1"/>
                  </a:solidFill>
                  <a:ea typeface="League Spartan" charset="0"/>
                  <a:cs typeface="Poppins" pitchFamily="2" charset="77"/>
                </a:rPr>
                <a:t>3.35 %</a:t>
              </a:r>
            </a:p>
          </p:txBody>
        </p:sp>
        <p:sp>
          <p:nvSpPr>
            <p:cNvPr id="89" name="TextBox 34">
              <a:extLst>
                <a:ext uri="{FF2B5EF4-FFF2-40B4-BE49-F238E27FC236}">
                  <a16:creationId xmlns:a16="http://schemas.microsoft.com/office/drawing/2014/main" id="{825A795E-62C6-2517-D168-E2F222B9EB7C}"/>
                </a:ext>
              </a:extLst>
            </p:cNvPr>
            <p:cNvSpPr txBox="1"/>
            <p:nvPr/>
          </p:nvSpPr>
          <p:spPr>
            <a:xfrm>
              <a:off x="2852713" y="4972922"/>
              <a:ext cx="764953" cy="338554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de-DE" sz="1600" b="1" dirty="0">
                  <a:solidFill>
                    <a:schemeClr val="dk1"/>
                  </a:solidFill>
                  <a:ea typeface="League Spartan" charset="0"/>
                  <a:cs typeface="Poppins" pitchFamily="2" charset="77"/>
                </a:rPr>
                <a:t>4.07 %</a:t>
              </a:r>
            </a:p>
          </p:txBody>
        </p:sp>
        <p:sp>
          <p:nvSpPr>
            <p:cNvPr id="90" name="TextBox 35">
              <a:extLst>
                <a:ext uri="{FF2B5EF4-FFF2-40B4-BE49-F238E27FC236}">
                  <a16:creationId xmlns:a16="http://schemas.microsoft.com/office/drawing/2014/main" id="{422AC727-5D3D-3B5F-FB73-28F9176264EF}"/>
                </a:ext>
              </a:extLst>
            </p:cNvPr>
            <p:cNvSpPr txBox="1"/>
            <p:nvPr/>
          </p:nvSpPr>
          <p:spPr>
            <a:xfrm>
              <a:off x="2852713" y="5438309"/>
              <a:ext cx="764954" cy="338554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de-DE" sz="1600" b="1" dirty="0">
                  <a:solidFill>
                    <a:schemeClr val="dk1"/>
                  </a:solidFill>
                  <a:ea typeface="League Spartan" charset="0"/>
                  <a:cs typeface="Poppins" pitchFamily="2" charset="77"/>
                </a:rPr>
                <a:t>5.99 %</a:t>
              </a:r>
            </a:p>
          </p:txBody>
        </p:sp>
        <p:sp>
          <p:nvSpPr>
            <p:cNvPr id="91" name="TextBox 28">
              <a:extLst>
                <a:ext uri="{FF2B5EF4-FFF2-40B4-BE49-F238E27FC236}">
                  <a16:creationId xmlns:a16="http://schemas.microsoft.com/office/drawing/2014/main" id="{EDD17356-7B4F-356A-F622-61646BF6B750}"/>
                </a:ext>
              </a:extLst>
            </p:cNvPr>
            <p:cNvSpPr txBox="1"/>
            <p:nvPr/>
          </p:nvSpPr>
          <p:spPr>
            <a:xfrm>
              <a:off x="4240251" y="2648055"/>
              <a:ext cx="764954" cy="338554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de-DE" sz="1600" b="1" dirty="0">
                  <a:solidFill>
                    <a:schemeClr val="dk1"/>
                  </a:solidFill>
                  <a:ea typeface="League Spartan" charset="0"/>
                  <a:cs typeface="Poppins" pitchFamily="2" charset="77"/>
                </a:rPr>
                <a:t>8.09 %</a:t>
              </a:r>
            </a:p>
          </p:txBody>
        </p:sp>
        <p:sp>
          <p:nvSpPr>
            <p:cNvPr id="92" name="TextBox 29">
              <a:extLst>
                <a:ext uri="{FF2B5EF4-FFF2-40B4-BE49-F238E27FC236}">
                  <a16:creationId xmlns:a16="http://schemas.microsoft.com/office/drawing/2014/main" id="{C71BEE44-40FA-0AFF-6574-BFD3D0CDFCF2}"/>
                </a:ext>
              </a:extLst>
            </p:cNvPr>
            <p:cNvSpPr txBox="1"/>
            <p:nvPr/>
          </p:nvSpPr>
          <p:spPr>
            <a:xfrm>
              <a:off x="4238652" y="3111376"/>
              <a:ext cx="768160" cy="338554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de-DE" sz="1600" b="1" dirty="0">
                  <a:solidFill>
                    <a:schemeClr val="dk1"/>
                  </a:solidFill>
                  <a:ea typeface="League Spartan" charset="0"/>
                  <a:cs typeface="Poppins" pitchFamily="2" charset="77"/>
                </a:rPr>
                <a:t>3.42 %</a:t>
              </a:r>
            </a:p>
          </p:txBody>
        </p:sp>
        <p:sp>
          <p:nvSpPr>
            <p:cNvPr id="93" name="TextBox 31">
              <a:extLst>
                <a:ext uri="{FF2B5EF4-FFF2-40B4-BE49-F238E27FC236}">
                  <a16:creationId xmlns:a16="http://schemas.microsoft.com/office/drawing/2014/main" id="{5D2F5B72-3350-99B7-CE27-D063A0EBA4AF}"/>
                </a:ext>
              </a:extLst>
            </p:cNvPr>
            <p:cNvSpPr txBox="1"/>
            <p:nvPr/>
          </p:nvSpPr>
          <p:spPr>
            <a:xfrm>
              <a:off x="4240251" y="3574698"/>
              <a:ext cx="764954" cy="338554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de-DE" sz="1600" b="1" dirty="0">
                  <a:solidFill>
                    <a:schemeClr val="dk1"/>
                  </a:solidFill>
                  <a:ea typeface="League Spartan" charset="0"/>
                  <a:cs typeface="Poppins" pitchFamily="2" charset="77"/>
                </a:rPr>
                <a:t>3.52 %	</a:t>
              </a:r>
            </a:p>
          </p:txBody>
        </p:sp>
        <p:sp>
          <p:nvSpPr>
            <p:cNvPr id="94" name="TextBox 32">
              <a:extLst>
                <a:ext uri="{FF2B5EF4-FFF2-40B4-BE49-F238E27FC236}">
                  <a16:creationId xmlns:a16="http://schemas.microsoft.com/office/drawing/2014/main" id="{66A71B3D-6F75-7ACD-B2FD-41DE2FA8629A}"/>
                </a:ext>
              </a:extLst>
            </p:cNvPr>
            <p:cNvSpPr txBox="1"/>
            <p:nvPr/>
          </p:nvSpPr>
          <p:spPr>
            <a:xfrm>
              <a:off x="4254680" y="4042149"/>
              <a:ext cx="736100" cy="338554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de-DE" sz="1600" b="1" dirty="0">
                  <a:solidFill>
                    <a:schemeClr val="dk1"/>
                  </a:solidFill>
                  <a:ea typeface="League Spartan" charset="0"/>
                  <a:cs typeface="Poppins" pitchFamily="2" charset="77"/>
                </a:rPr>
                <a:t>3.41 %</a:t>
              </a:r>
            </a:p>
          </p:txBody>
        </p:sp>
        <p:sp>
          <p:nvSpPr>
            <p:cNvPr id="95" name="TextBox 33">
              <a:extLst>
                <a:ext uri="{FF2B5EF4-FFF2-40B4-BE49-F238E27FC236}">
                  <a16:creationId xmlns:a16="http://schemas.microsoft.com/office/drawing/2014/main" id="{4A3B751C-2F20-1F46-A282-BDFC124DF5B0}"/>
                </a:ext>
              </a:extLst>
            </p:cNvPr>
            <p:cNvSpPr txBox="1"/>
            <p:nvPr/>
          </p:nvSpPr>
          <p:spPr>
            <a:xfrm>
              <a:off x="4257885" y="4507536"/>
              <a:ext cx="729688" cy="338554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de-DE" sz="1600" b="1" dirty="0">
                  <a:solidFill>
                    <a:schemeClr val="dk1"/>
                  </a:solidFill>
                  <a:ea typeface="League Spartan" charset="0"/>
                  <a:cs typeface="Poppins" pitchFamily="2" charset="77"/>
                </a:rPr>
                <a:t>3.71 %</a:t>
              </a:r>
            </a:p>
          </p:txBody>
        </p:sp>
        <p:sp>
          <p:nvSpPr>
            <p:cNvPr id="96" name="TextBox 34">
              <a:extLst>
                <a:ext uri="{FF2B5EF4-FFF2-40B4-BE49-F238E27FC236}">
                  <a16:creationId xmlns:a16="http://schemas.microsoft.com/office/drawing/2014/main" id="{586ED1DC-92D3-F875-E302-D659CD67A942}"/>
                </a:ext>
              </a:extLst>
            </p:cNvPr>
            <p:cNvSpPr txBox="1"/>
            <p:nvPr/>
          </p:nvSpPr>
          <p:spPr>
            <a:xfrm>
              <a:off x="4241854" y="4972922"/>
              <a:ext cx="761747" cy="338554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de-DE" sz="1600" b="1" dirty="0">
                  <a:solidFill>
                    <a:schemeClr val="dk1"/>
                  </a:solidFill>
                  <a:ea typeface="League Spartan" charset="0"/>
                  <a:cs typeface="Poppins" pitchFamily="2" charset="77"/>
                </a:rPr>
                <a:t>4.77 %</a:t>
              </a:r>
            </a:p>
          </p:txBody>
        </p:sp>
        <p:sp>
          <p:nvSpPr>
            <p:cNvPr id="97" name="TextBox 35">
              <a:extLst>
                <a:ext uri="{FF2B5EF4-FFF2-40B4-BE49-F238E27FC236}">
                  <a16:creationId xmlns:a16="http://schemas.microsoft.com/office/drawing/2014/main" id="{3A1CCF6D-A273-688F-DB3B-50FA0A9CE43B}"/>
                </a:ext>
              </a:extLst>
            </p:cNvPr>
            <p:cNvSpPr txBox="1"/>
            <p:nvPr/>
          </p:nvSpPr>
          <p:spPr>
            <a:xfrm>
              <a:off x="4293151" y="5438309"/>
              <a:ext cx="659156" cy="338554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de-DE" sz="1600" b="1" dirty="0">
                  <a:solidFill>
                    <a:schemeClr val="dk1"/>
                  </a:solidFill>
                  <a:ea typeface="League Spartan" charset="0"/>
                  <a:cs typeface="Poppins" pitchFamily="2" charset="77"/>
                </a:rPr>
                <a:t>9.3 %</a:t>
              </a:r>
            </a:p>
          </p:txBody>
        </p:sp>
        <p:sp>
          <p:nvSpPr>
            <p:cNvPr id="99" name="Rectangle 27">
              <a:extLst>
                <a:ext uri="{FF2B5EF4-FFF2-40B4-BE49-F238E27FC236}">
                  <a16:creationId xmlns:a16="http://schemas.microsoft.com/office/drawing/2014/main" id="{6F35DD0D-1926-B161-CB07-DBF798B0A0EB}"/>
                </a:ext>
              </a:extLst>
            </p:cNvPr>
            <p:cNvSpPr/>
            <p:nvPr/>
          </p:nvSpPr>
          <p:spPr>
            <a:xfrm>
              <a:off x="956358" y="5836079"/>
              <a:ext cx="1582387" cy="465386"/>
            </a:xfrm>
            <a:prstGeom prst="rect">
              <a:avLst/>
            </a:prstGeom>
            <a:solidFill>
              <a:schemeClr val="lt2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100" name="TextBox 35">
              <a:extLst>
                <a:ext uri="{FF2B5EF4-FFF2-40B4-BE49-F238E27FC236}">
                  <a16:creationId xmlns:a16="http://schemas.microsoft.com/office/drawing/2014/main" id="{312DCDB6-8BB8-3340-16B9-3FED80461022}"/>
                </a:ext>
              </a:extLst>
            </p:cNvPr>
            <p:cNvSpPr txBox="1"/>
            <p:nvPr/>
          </p:nvSpPr>
          <p:spPr>
            <a:xfrm>
              <a:off x="1331596" y="5926209"/>
              <a:ext cx="831913" cy="285127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de-DE" sz="1600" b="1" dirty="0">
                  <a:solidFill>
                    <a:schemeClr val="dk1"/>
                  </a:solidFill>
                  <a:ea typeface="League Spartan" charset="0"/>
                  <a:cs typeface="Poppins" pitchFamily="2" charset="77"/>
                </a:rPr>
                <a:t>Average</a:t>
              </a:r>
            </a:p>
          </p:txBody>
        </p:sp>
        <p:sp>
          <p:nvSpPr>
            <p:cNvPr id="101" name="Rectangle 44">
              <a:extLst>
                <a:ext uri="{FF2B5EF4-FFF2-40B4-BE49-F238E27FC236}">
                  <a16:creationId xmlns:a16="http://schemas.microsoft.com/office/drawing/2014/main" id="{F40392E4-34FC-C2F7-74FC-B22623217761}"/>
                </a:ext>
              </a:extLst>
            </p:cNvPr>
            <p:cNvSpPr/>
            <p:nvPr/>
          </p:nvSpPr>
          <p:spPr>
            <a:xfrm>
              <a:off x="2538745" y="5836079"/>
              <a:ext cx="1392641" cy="465386"/>
            </a:xfrm>
            <a:prstGeom prst="rect">
              <a:avLst/>
            </a:prstGeom>
            <a:noFill/>
            <a:ln w="38100" cap="flat" cmpd="sng" algn="ctr">
              <a:solidFill>
                <a:schemeClr val="l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102" name="Rectangle 52">
              <a:extLst>
                <a:ext uri="{FF2B5EF4-FFF2-40B4-BE49-F238E27FC236}">
                  <a16:creationId xmlns:a16="http://schemas.microsoft.com/office/drawing/2014/main" id="{BE3F01D1-7E33-C613-9321-D9F426C8CC68}"/>
                </a:ext>
              </a:extLst>
            </p:cNvPr>
            <p:cNvSpPr/>
            <p:nvPr/>
          </p:nvSpPr>
          <p:spPr>
            <a:xfrm>
              <a:off x="3931384" y="5836079"/>
              <a:ext cx="1392641" cy="465386"/>
            </a:xfrm>
            <a:prstGeom prst="rect">
              <a:avLst/>
            </a:prstGeom>
            <a:noFill/>
            <a:ln w="38100" cap="flat" cmpd="sng" algn="ctr">
              <a:solidFill>
                <a:schemeClr val="l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900" dirty="0"/>
            </a:p>
          </p:txBody>
        </p:sp>
        <p:sp>
          <p:nvSpPr>
            <p:cNvPr id="103" name="TextBox 35">
              <a:extLst>
                <a:ext uri="{FF2B5EF4-FFF2-40B4-BE49-F238E27FC236}">
                  <a16:creationId xmlns:a16="http://schemas.microsoft.com/office/drawing/2014/main" id="{5523D0DB-FF8B-FEEE-3549-5440B3CF8345}"/>
                </a:ext>
              </a:extLst>
            </p:cNvPr>
            <p:cNvSpPr txBox="1"/>
            <p:nvPr/>
          </p:nvSpPr>
          <p:spPr>
            <a:xfrm>
              <a:off x="2852713" y="5895295"/>
              <a:ext cx="764954" cy="338554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de-DE" sz="1600" b="1" dirty="0">
                  <a:solidFill>
                    <a:schemeClr val="dk1"/>
                  </a:solidFill>
                  <a:ea typeface="League Spartan" charset="0"/>
                  <a:cs typeface="Poppins" pitchFamily="2" charset="77"/>
                </a:rPr>
                <a:t>3.83 %</a:t>
              </a:r>
            </a:p>
          </p:txBody>
        </p:sp>
        <p:sp>
          <p:nvSpPr>
            <p:cNvPr id="104" name="TextBox 35">
              <a:extLst>
                <a:ext uri="{FF2B5EF4-FFF2-40B4-BE49-F238E27FC236}">
                  <a16:creationId xmlns:a16="http://schemas.microsoft.com/office/drawing/2014/main" id="{FA2B4D77-AD8C-BA08-E861-3123F37C95B7}"/>
                </a:ext>
              </a:extLst>
            </p:cNvPr>
            <p:cNvSpPr txBox="1"/>
            <p:nvPr/>
          </p:nvSpPr>
          <p:spPr>
            <a:xfrm>
              <a:off x="4257886" y="5895295"/>
              <a:ext cx="729687" cy="338554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de-DE" sz="1600" b="1" dirty="0">
                  <a:solidFill>
                    <a:schemeClr val="dk1"/>
                  </a:solidFill>
                  <a:ea typeface="League Spartan" charset="0"/>
                  <a:cs typeface="Poppins" pitchFamily="2" charset="77"/>
                </a:rPr>
                <a:t>5.17 %</a:t>
              </a: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89687576-1F2D-E1E7-4308-94D1523A6337}"/>
                </a:ext>
              </a:extLst>
            </p:cNvPr>
            <p:cNvSpPr/>
            <p:nvPr/>
          </p:nvSpPr>
          <p:spPr>
            <a:xfrm>
              <a:off x="956359" y="1395856"/>
              <a:ext cx="4367666" cy="445886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7200" tIns="97200" rIns="97200" bIns="97200" rtlCol="0" anchor="ctr"/>
            <a:lstStyle/>
            <a:p>
              <a:pPr algn="ctr" defTabSz="486000"/>
              <a:r>
                <a:rPr lang="de-DE" sz="1600" b="1" dirty="0" err="1">
                  <a:solidFill>
                    <a:schemeClr val="tx1"/>
                  </a:solidFill>
                </a:rPr>
                <a:t>Weekday</a:t>
              </a:r>
              <a:r>
                <a:rPr lang="de-DE" sz="1600" b="1" dirty="0">
                  <a:solidFill>
                    <a:schemeClr val="tx1"/>
                  </a:solidFill>
                </a:rPr>
                <a:t> </a:t>
              </a:r>
              <a:r>
                <a:rPr lang="de-DE" sz="1600" b="1" dirty="0" err="1">
                  <a:solidFill>
                    <a:schemeClr val="tx1"/>
                  </a:solidFill>
                </a:rPr>
                <a:t>training</a:t>
              </a:r>
              <a:r>
                <a:rPr lang="de-DE" sz="1600" b="1" dirty="0">
                  <a:solidFill>
                    <a:schemeClr val="tx1"/>
                  </a:solidFill>
                </a:rPr>
                <a:t> </a:t>
              </a:r>
              <a:r>
                <a:rPr lang="de-DE" sz="1600" b="1" dirty="0" err="1">
                  <a:solidFill>
                    <a:schemeClr val="tx1"/>
                  </a:solidFill>
                </a:rPr>
                <a:t>method</a:t>
              </a:r>
              <a:endParaRPr lang="de-DE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67" name="Gruppieren 66">
            <a:extLst>
              <a:ext uri="{FF2B5EF4-FFF2-40B4-BE49-F238E27FC236}">
                <a16:creationId xmlns:a16="http://schemas.microsoft.com/office/drawing/2014/main" id="{5EB34118-4147-FE3D-986F-B4D16E3A5510}"/>
              </a:ext>
            </a:extLst>
          </p:cNvPr>
          <p:cNvGrpSpPr/>
          <p:nvPr/>
        </p:nvGrpSpPr>
        <p:grpSpPr>
          <a:xfrm>
            <a:off x="5789519" y="1395856"/>
            <a:ext cx="5944077" cy="4905609"/>
            <a:chOff x="6294021" y="1395856"/>
            <a:chExt cx="5439575" cy="4905609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AD378574-62A8-9721-D907-137CC53AE8E6}"/>
                </a:ext>
              </a:extLst>
            </p:cNvPr>
            <p:cNvSpPr/>
            <p:nvPr/>
          </p:nvSpPr>
          <p:spPr>
            <a:xfrm>
              <a:off x="6294021" y="1395856"/>
              <a:ext cx="5439575" cy="445886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7200" tIns="97200" rIns="97200" bIns="97200" rtlCol="0" anchor="ctr"/>
            <a:lstStyle/>
            <a:p>
              <a:pPr algn="ctr" defTabSz="486000"/>
              <a:r>
                <a:rPr lang="de-DE" sz="1600" b="1" dirty="0" err="1">
                  <a:solidFill>
                    <a:schemeClr val="tx1"/>
                  </a:solidFill>
                </a:rPr>
                <a:t>Hourly</a:t>
              </a:r>
              <a:r>
                <a:rPr lang="de-DE" sz="1600" b="1" dirty="0">
                  <a:solidFill>
                    <a:schemeClr val="tx1"/>
                  </a:solidFill>
                </a:rPr>
                <a:t> </a:t>
              </a:r>
              <a:r>
                <a:rPr lang="de-DE" sz="1600" b="1" dirty="0" err="1">
                  <a:solidFill>
                    <a:schemeClr val="tx1"/>
                  </a:solidFill>
                </a:rPr>
                <a:t>training</a:t>
              </a:r>
              <a:r>
                <a:rPr lang="de-DE" sz="1600" b="1" dirty="0">
                  <a:solidFill>
                    <a:schemeClr val="tx1"/>
                  </a:solidFill>
                </a:rPr>
                <a:t> </a:t>
              </a:r>
              <a:r>
                <a:rPr lang="de-DE" sz="1600" b="1" dirty="0" err="1">
                  <a:solidFill>
                    <a:schemeClr val="tx1"/>
                  </a:solidFill>
                </a:rPr>
                <a:t>method</a:t>
              </a:r>
              <a:endParaRPr lang="de-DE" sz="1600" b="1" dirty="0">
                <a:solidFill>
                  <a:schemeClr val="tx1"/>
                </a:solidFill>
              </a:endParaRPr>
            </a:p>
          </p:txBody>
        </p:sp>
        <p:grpSp>
          <p:nvGrpSpPr>
            <p:cNvPr id="65" name="Gruppieren 64">
              <a:extLst>
                <a:ext uri="{FF2B5EF4-FFF2-40B4-BE49-F238E27FC236}">
                  <a16:creationId xmlns:a16="http://schemas.microsoft.com/office/drawing/2014/main" id="{5989254C-4A5B-E158-549B-320817826B40}"/>
                </a:ext>
              </a:extLst>
            </p:cNvPr>
            <p:cNvGrpSpPr/>
            <p:nvPr/>
          </p:nvGrpSpPr>
          <p:grpSpPr>
            <a:xfrm>
              <a:off x="6294021" y="5814689"/>
              <a:ext cx="5434674" cy="486776"/>
              <a:chOff x="6298921" y="5572851"/>
              <a:chExt cx="4728915" cy="486776"/>
            </a:xfrm>
          </p:grpSpPr>
          <p:sp>
            <p:nvSpPr>
              <p:cNvPr id="60" name="Rechteck 59">
                <a:extLst>
                  <a:ext uri="{FF2B5EF4-FFF2-40B4-BE49-F238E27FC236}">
                    <a16:creationId xmlns:a16="http://schemas.microsoft.com/office/drawing/2014/main" id="{7A7B77BE-9759-2D01-90A1-D79061C63DE3}"/>
                  </a:ext>
                </a:extLst>
              </p:cNvPr>
              <p:cNvSpPr/>
              <p:nvPr/>
            </p:nvSpPr>
            <p:spPr>
              <a:xfrm>
                <a:off x="7312858" y="5578021"/>
                <a:ext cx="1857489" cy="238218"/>
              </a:xfrm>
              <a:prstGeom prst="rect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7200" tIns="97200" rIns="97200" bIns="97200" rtlCol="0" anchor="ctr"/>
              <a:lstStyle/>
              <a:p>
                <a:pPr algn="ctr" defTabSz="486000"/>
                <a:r>
                  <a:rPr lang="de-DE" sz="1600" b="1" dirty="0"/>
                  <a:t>Random Forest</a:t>
                </a:r>
              </a:p>
            </p:txBody>
          </p:sp>
          <p:sp>
            <p:nvSpPr>
              <p:cNvPr id="61" name="Rechteck 60">
                <a:extLst>
                  <a:ext uri="{FF2B5EF4-FFF2-40B4-BE49-F238E27FC236}">
                    <a16:creationId xmlns:a16="http://schemas.microsoft.com/office/drawing/2014/main" id="{003DB445-1B04-06AB-5C97-2A280DAB0AF5}"/>
                  </a:ext>
                </a:extLst>
              </p:cNvPr>
              <p:cNvSpPr/>
              <p:nvPr/>
            </p:nvSpPr>
            <p:spPr>
              <a:xfrm>
                <a:off x="9170347" y="5572851"/>
                <a:ext cx="1857489" cy="238218"/>
              </a:xfrm>
              <a:prstGeom prst="rect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7200" tIns="97200" rIns="97200" bIns="97200" rtlCol="0" anchor="ctr"/>
              <a:lstStyle/>
              <a:p>
                <a:pPr algn="ctr" defTabSz="486000"/>
                <a:r>
                  <a:rPr lang="de-DE" sz="1600" b="1" dirty="0" err="1"/>
                  <a:t>Boosted</a:t>
                </a:r>
                <a:r>
                  <a:rPr lang="de-DE" sz="1600" b="1" dirty="0"/>
                  <a:t> </a:t>
                </a:r>
                <a:r>
                  <a:rPr lang="de-DE" sz="1600" b="1" dirty="0" err="1"/>
                  <a:t>Tree</a:t>
                </a:r>
                <a:endParaRPr lang="de-DE" sz="1600" b="1" dirty="0"/>
              </a:p>
            </p:txBody>
          </p:sp>
          <p:sp>
            <p:nvSpPr>
              <p:cNvPr id="62" name="Rechteck 61">
                <a:extLst>
                  <a:ext uri="{FF2B5EF4-FFF2-40B4-BE49-F238E27FC236}">
                    <a16:creationId xmlns:a16="http://schemas.microsoft.com/office/drawing/2014/main" id="{61043C36-806B-647E-0423-43351AA2D667}"/>
                  </a:ext>
                </a:extLst>
              </p:cNvPr>
              <p:cNvSpPr/>
              <p:nvPr/>
            </p:nvSpPr>
            <p:spPr>
              <a:xfrm>
                <a:off x="6298921" y="5821409"/>
                <a:ext cx="1013937" cy="238218"/>
              </a:xfrm>
              <a:prstGeom prst="rect">
                <a:avLst/>
              </a:prstGeom>
              <a:solidFill>
                <a:schemeClr val="lt2"/>
              </a:solidFill>
              <a:ln w="9525" cap="flat" cmpd="sng" algn="ctr">
                <a:solidFill>
                  <a:schemeClr val="accent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7200" tIns="97200" rIns="97200" bIns="97200" rtlCol="0" anchor="ctr"/>
              <a:lstStyle/>
              <a:p>
                <a:pPr algn="ctr" defTabSz="486000"/>
                <a:r>
                  <a:rPr lang="de-DE" sz="1600" b="1" dirty="0">
                    <a:solidFill>
                      <a:schemeClr val="dk1"/>
                    </a:solidFill>
                  </a:rPr>
                  <a:t>Average</a:t>
                </a:r>
              </a:p>
            </p:txBody>
          </p:sp>
          <p:sp>
            <p:nvSpPr>
              <p:cNvPr id="63" name="Rechteck 62">
                <a:extLst>
                  <a:ext uri="{FF2B5EF4-FFF2-40B4-BE49-F238E27FC236}">
                    <a16:creationId xmlns:a16="http://schemas.microsoft.com/office/drawing/2014/main" id="{0645C694-9ACC-AE5C-6ED5-B43D907151B5}"/>
                  </a:ext>
                </a:extLst>
              </p:cNvPr>
              <p:cNvSpPr/>
              <p:nvPr/>
            </p:nvSpPr>
            <p:spPr>
              <a:xfrm>
                <a:off x="7312857" y="5821409"/>
                <a:ext cx="1857489" cy="238218"/>
              </a:xfrm>
              <a:prstGeom prst="rect">
                <a:avLst/>
              </a:prstGeom>
              <a:solidFill>
                <a:schemeClr val="lt2"/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7200" tIns="97200" rIns="97200" bIns="97200" rtlCol="0" anchor="ctr"/>
              <a:lstStyle/>
              <a:p>
                <a:pPr algn="ctr" defTabSz="486000"/>
                <a:r>
                  <a:rPr lang="de-DE" sz="1600" b="1" dirty="0">
                    <a:solidFill>
                      <a:schemeClr val="dk1"/>
                    </a:solidFill>
                  </a:rPr>
                  <a:t>5.8 %</a:t>
                </a:r>
              </a:p>
            </p:txBody>
          </p:sp>
          <p:sp>
            <p:nvSpPr>
              <p:cNvPr id="64" name="Rechteck 63">
                <a:extLst>
                  <a:ext uri="{FF2B5EF4-FFF2-40B4-BE49-F238E27FC236}">
                    <a16:creationId xmlns:a16="http://schemas.microsoft.com/office/drawing/2014/main" id="{8C07B3BF-F7AD-6E29-EE8A-92A64ED78E46}"/>
                  </a:ext>
                </a:extLst>
              </p:cNvPr>
              <p:cNvSpPr/>
              <p:nvPr/>
            </p:nvSpPr>
            <p:spPr>
              <a:xfrm>
                <a:off x="9170347" y="5821409"/>
                <a:ext cx="1857489" cy="238218"/>
              </a:xfrm>
              <a:prstGeom prst="rect">
                <a:avLst/>
              </a:prstGeom>
              <a:solidFill>
                <a:schemeClr val="lt2"/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7200" tIns="97200" rIns="97200" bIns="97200" rtlCol="0" anchor="ctr"/>
              <a:lstStyle/>
              <a:p>
                <a:pPr algn="ctr" defTabSz="486000"/>
                <a:r>
                  <a:rPr lang="de-DE" sz="1600" b="1" dirty="0">
                    <a:solidFill>
                      <a:schemeClr val="dk1"/>
                    </a:solidFill>
                  </a:rPr>
                  <a:t>5.96 %</a:t>
                </a:r>
              </a:p>
            </p:txBody>
          </p:sp>
        </p:grpSp>
      </p:grpSp>
      <p:pic>
        <p:nvPicPr>
          <p:cNvPr id="8" name="Grafik 7">
            <a:extLst>
              <a:ext uri="{FF2B5EF4-FFF2-40B4-BE49-F238E27FC236}">
                <a16:creationId xmlns:a16="http://schemas.microsoft.com/office/drawing/2014/main" id="{91175443-5A8A-4678-BC22-8701018486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89519" y="1935707"/>
            <a:ext cx="5956308" cy="3779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16943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E3C16B-D2C1-1458-0395-5A3180BBCE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600" b="1" i="0" u="none" dirty="0">
                <a:solidFill>
                  <a:schemeClr val="accent1"/>
                </a:solidFill>
              </a:rPr>
              <a:t>Features</a:t>
            </a:r>
            <a:endParaRPr lang="de-DE" dirty="0"/>
          </a:p>
        </p:txBody>
      </p:sp>
      <p:pic>
        <p:nvPicPr>
          <p:cNvPr id="3" name="Grafik 2" descr="Fernstudium Mathematik Silhouette">
            <a:extLst>
              <a:ext uri="{FF2B5EF4-FFF2-40B4-BE49-F238E27FC236}">
                <a16:creationId xmlns:a16="http://schemas.microsoft.com/office/drawing/2014/main" id="{15FF2C1D-D9A9-41C9-9B73-CA0D0896CC7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509283" y="6116999"/>
            <a:ext cx="540000" cy="540000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1CDC821A-4D5A-FF8E-A742-492D04CE32D9}"/>
              </a:ext>
            </a:extLst>
          </p:cNvPr>
          <p:cNvSpPr txBox="1"/>
          <p:nvPr/>
        </p:nvSpPr>
        <p:spPr>
          <a:xfrm>
            <a:off x="458400" y="1066800"/>
            <a:ext cx="1701140" cy="1044102"/>
          </a:xfrm>
          <a:prstGeom prst="rect">
            <a:avLst/>
          </a:prstGeom>
          <a:solidFill>
            <a:schemeClr val="bg2"/>
          </a:solidFill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de-DE" altLang="de-DE" sz="1100" b="1" dirty="0" err="1">
                <a:latin typeface="Arial" panose="020B0604020202020204" pitchFamily="34" charset="0"/>
              </a:rPr>
              <a:t>Calender</a:t>
            </a:r>
            <a:r>
              <a:rPr lang="de-DE" altLang="de-DE" sz="1100" b="1" dirty="0">
                <a:latin typeface="Arial" panose="020B0604020202020204" pitchFamily="34" charset="0"/>
              </a:rPr>
              <a:t> </a:t>
            </a:r>
            <a:r>
              <a:rPr lang="de-DE" altLang="de-DE" sz="1100" b="1" dirty="0" err="1">
                <a:latin typeface="Arial" panose="020B0604020202020204" pitchFamily="34" charset="0"/>
              </a:rPr>
              <a:t>data</a:t>
            </a:r>
            <a:endParaRPr kumimoji="0" lang="de-DE" altLang="de-DE" sz="11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YEAR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WEEKDAY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MONTH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HOUR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DUMMY_WEEKDAY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100" b="0" i="0" u="none" dirty="0" err="1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E8B61D3D-D775-C2E7-D5B2-2962E27C56DE}"/>
              </a:ext>
            </a:extLst>
          </p:cNvPr>
          <p:cNvSpPr txBox="1"/>
          <p:nvPr/>
        </p:nvSpPr>
        <p:spPr>
          <a:xfrm>
            <a:off x="458400" y="2188723"/>
            <a:ext cx="1701140" cy="1416608"/>
          </a:xfrm>
          <a:prstGeom prst="rect">
            <a:avLst/>
          </a:prstGeom>
          <a:solidFill>
            <a:schemeClr val="bg2"/>
          </a:solidFill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Day </a:t>
            </a:r>
            <a:r>
              <a:rPr kumimoji="0" lang="de-DE" altLang="de-DE" sz="11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head</a:t>
            </a:r>
            <a:r>
              <a:rPr kumimoji="0" lang="de-DE" altLang="de-DE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de-DE" altLang="de-DE" sz="11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information</a:t>
            </a:r>
            <a:endParaRPr kumimoji="0" lang="de-DE" altLang="de-DE" sz="11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DA_PRC_DAY_BEFOR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DA_AV_PRC_3_DAY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DA_PRC_SAME_DAY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DA_VOL_DAY_BEFOR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DA_VOL_SAME_DAY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DA_AV_VOL_3_DAYS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2800" b="0" i="0" u="none" dirty="0" err="1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8F7416A5-855B-1939-9308-B1CDA8338F64}"/>
              </a:ext>
            </a:extLst>
          </p:cNvPr>
          <p:cNvSpPr txBox="1"/>
          <p:nvPr/>
        </p:nvSpPr>
        <p:spPr>
          <a:xfrm>
            <a:off x="2238561" y="1066800"/>
            <a:ext cx="1817872" cy="2538531"/>
          </a:xfrm>
          <a:prstGeom prst="rect">
            <a:avLst/>
          </a:prstGeom>
          <a:solidFill>
            <a:schemeClr val="bg2"/>
          </a:solidFill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de-DE" altLang="de-DE" sz="11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lanned</a:t>
            </a:r>
            <a:r>
              <a:rPr kumimoji="0" lang="de-DE" altLang="de-DE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de-DE" altLang="de-DE" sz="11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roduction</a:t>
            </a:r>
            <a:r>
              <a:rPr kumimoji="0" lang="de-DE" altLang="de-DE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de-DE" altLang="de-DE" sz="11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for</a:t>
            </a:r>
            <a:r>
              <a:rPr kumimoji="0" lang="de-DE" altLang="de-DE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de-DE" altLang="de-DE" sz="1100" b="1" dirty="0">
                <a:latin typeface="Arial" panose="020B0604020202020204" pitchFamily="34" charset="0"/>
              </a:rPr>
              <a:t>different </a:t>
            </a:r>
            <a:r>
              <a:rPr lang="de-DE" altLang="de-DE" sz="1100" b="1" dirty="0" err="1">
                <a:latin typeface="Arial" panose="020B0604020202020204" pitchFamily="34" charset="0"/>
              </a:rPr>
              <a:t>production</a:t>
            </a:r>
            <a:r>
              <a:rPr lang="de-DE" altLang="de-DE" sz="1100" b="1" dirty="0">
                <a:latin typeface="Arial" panose="020B0604020202020204" pitchFamily="34" charset="0"/>
              </a:rPr>
              <a:t> </a:t>
            </a:r>
            <a:r>
              <a:rPr lang="de-DE" altLang="de-DE" sz="1100" b="1" dirty="0" err="1">
                <a:latin typeface="Arial" panose="020B0604020202020204" pitchFamily="34" charset="0"/>
              </a:rPr>
              <a:t>types</a:t>
            </a:r>
            <a:endParaRPr kumimoji="0" lang="de-DE" altLang="de-DE" sz="11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L_PR_TOTAL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L_PR_GA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L_PR_WIND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L_PR_LIGNIT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L_PR_BC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L_PR_IC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L_PR_OIL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L_PR_GEO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L_PR_HYDRO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L_PR_NAPHTA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L_PR_BIO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L_PR_RIVER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L_PR_OTHER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2800" b="0" i="0" u="none" dirty="0" err="1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C92806C-C5A5-874E-7721-5CBBF1FE0498}"/>
              </a:ext>
            </a:extLst>
          </p:cNvPr>
          <p:cNvSpPr txBox="1"/>
          <p:nvPr/>
        </p:nvSpPr>
        <p:spPr>
          <a:xfrm>
            <a:off x="4135454" y="1066800"/>
            <a:ext cx="4288699" cy="5472599"/>
          </a:xfrm>
          <a:prstGeom prst="rect">
            <a:avLst/>
          </a:prstGeom>
          <a:solidFill>
            <a:schemeClr val="bg2"/>
          </a:solidFill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de-DE" altLang="de-DE" sz="11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Difference</a:t>
            </a:r>
            <a:r>
              <a:rPr kumimoji="0" lang="de-DE" altLang="de-DE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de-DE" altLang="de-DE" sz="11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between</a:t>
            </a:r>
            <a:r>
              <a:rPr kumimoji="0" lang="de-DE" altLang="de-DE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total </a:t>
            </a:r>
            <a:r>
              <a:rPr kumimoji="0" lang="de-DE" altLang="de-DE" sz="11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roduction</a:t>
            </a:r>
            <a:r>
              <a:rPr kumimoji="0" lang="de-DE" altLang="de-DE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and real </a:t>
            </a:r>
            <a:r>
              <a:rPr kumimoji="0" lang="de-DE" altLang="de-DE" sz="11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roduction</a:t>
            </a:r>
            <a:r>
              <a:rPr kumimoji="0" lang="de-DE" altLang="de-DE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de-DE" altLang="de-DE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H </a:t>
            </a:r>
            <a:r>
              <a:rPr kumimoji="0" lang="de-DE" altLang="de-DE" sz="11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hours</a:t>
            </a:r>
            <a:r>
              <a:rPr lang="de-DE" altLang="de-DE" sz="1100" b="1" dirty="0">
                <a:latin typeface="Arial" panose="020B0604020202020204" pitchFamily="34" charset="0"/>
              </a:rPr>
              <a:t> </a:t>
            </a:r>
            <a:r>
              <a:rPr kumimoji="0" lang="de-DE" altLang="de-DE" sz="11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rior</a:t>
            </a:r>
            <a:r>
              <a:rPr kumimoji="0" lang="de-DE" altLang="de-DE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de-DE" altLang="de-DE" sz="11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to</a:t>
            </a:r>
            <a:r>
              <a:rPr kumimoji="0" lang="de-DE" altLang="de-DE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de-DE" altLang="de-DE" sz="11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our</a:t>
            </a:r>
            <a:r>
              <a:rPr kumimoji="0" lang="de-DE" altLang="de-DE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de-DE" altLang="de-DE" sz="11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delivery</a:t>
            </a:r>
            <a:r>
              <a:rPr kumimoji="0" lang="de-DE" altLang="de-DE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dat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DIFFERENZ_PR_INJ_TOTAL_{H}_h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DIFFERENZ_PR_INJ_GAS_{H}_h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DIFFERENZ_PR_INJ_WIND_{H}_h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DIFFERENZ_PR_INJ_LIGNITE_{H}_h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DIFFERENZ_PR_INJ_BC_{H}_h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DIFFERENZ_PR_INJ_IC_{H}_h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DIFFERENZ_PR_INJ_OIL_{H}_h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DIFFERENZ_PR_INJ_GEO_{H}_h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DIFFERENZ_PR_INJ_HYDRO_{H}_h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DIFFERENZ_PR_INJ_NAPHTA_{H}_h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DIFFERENZ_PR_INJ_BIO_{H}_h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DIFFERENZ_PR_INJ_RIVER_{H}_h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DIFFERENZ_PR_INJ_OTHER_{H}_h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de-DE" altLang="de-DE" sz="1100" dirty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de-DE" altLang="de-DE" sz="1100" b="1" dirty="0" err="1">
                <a:latin typeface="Arial" panose="020B0604020202020204" pitchFamily="34" charset="0"/>
              </a:rPr>
              <a:t>Averaged</a:t>
            </a:r>
            <a:r>
              <a:rPr lang="de-DE" altLang="de-DE" sz="1100" b="1" dirty="0">
                <a:latin typeface="Arial" panose="020B0604020202020204" pitchFamily="34" charset="0"/>
              </a:rPr>
              <a:t> </a:t>
            </a:r>
            <a:r>
              <a:rPr lang="de-DE" altLang="de-DE" sz="1100" b="1" dirty="0" err="1">
                <a:latin typeface="Arial" panose="020B0604020202020204" pitchFamily="34" charset="0"/>
              </a:rPr>
              <a:t>difference</a:t>
            </a:r>
            <a:r>
              <a:rPr lang="de-DE" altLang="de-DE" sz="1100" b="1" dirty="0">
                <a:latin typeface="Arial" panose="020B0604020202020204" pitchFamily="34" charset="0"/>
              </a:rPr>
              <a:t> </a:t>
            </a:r>
            <a:r>
              <a:rPr lang="de-DE" altLang="de-DE" sz="1100" b="1" dirty="0" err="1">
                <a:latin typeface="Arial" panose="020B0604020202020204" pitchFamily="34" charset="0"/>
              </a:rPr>
              <a:t>from</a:t>
            </a:r>
            <a:r>
              <a:rPr lang="de-DE" altLang="de-DE" sz="1100" b="1" dirty="0">
                <a:latin typeface="Arial" panose="020B0604020202020204" pitchFamily="34" charset="0"/>
              </a:rPr>
              <a:t> last 3 </a:t>
            </a:r>
            <a:r>
              <a:rPr lang="de-DE" altLang="de-DE" sz="1100" b="1" dirty="0" err="1">
                <a:latin typeface="Arial" panose="020B0604020202020204" pitchFamily="34" charset="0"/>
              </a:rPr>
              <a:t>hours</a:t>
            </a:r>
            <a:r>
              <a:rPr lang="de-DE" altLang="de-DE" sz="1100" b="1" dirty="0">
                <a:latin typeface="Arial" panose="020B0604020202020204" pitchFamily="34" charset="0"/>
              </a:rPr>
              <a:t> H </a:t>
            </a:r>
            <a:r>
              <a:rPr lang="de-DE" altLang="de-DE" sz="1100" b="1" dirty="0" err="1">
                <a:latin typeface="Arial" panose="020B0604020202020204" pitchFamily="34" charset="0"/>
              </a:rPr>
              <a:t>hours</a:t>
            </a:r>
            <a:r>
              <a:rPr lang="de-DE" altLang="de-DE" sz="1100" b="1" dirty="0">
                <a:latin typeface="Arial" panose="020B0604020202020204" pitchFamily="34" charset="0"/>
              </a:rPr>
              <a:t> </a:t>
            </a:r>
            <a:r>
              <a:rPr lang="de-DE" altLang="de-DE" sz="1100" b="1" dirty="0" err="1">
                <a:latin typeface="Arial" panose="020B0604020202020204" pitchFamily="34" charset="0"/>
              </a:rPr>
              <a:t>prior</a:t>
            </a:r>
            <a:r>
              <a:rPr lang="de-DE" altLang="de-DE" sz="1100" b="1" dirty="0">
                <a:latin typeface="Arial" panose="020B0604020202020204" pitchFamily="34" charset="0"/>
              </a:rPr>
              <a:t> </a:t>
            </a:r>
            <a:r>
              <a:rPr lang="de-DE" altLang="de-DE" sz="1100" b="1" dirty="0" err="1">
                <a:latin typeface="Arial" panose="020B0604020202020204" pitchFamily="34" charset="0"/>
              </a:rPr>
              <a:t>to</a:t>
            </a:r>
            <a:r>
              <a:rPr lang="de-DE" altLang="de-DE" sz="1100" b="1" dirty="0">
                <a:latin typeface="Arial" panose="020B0604020202020204" pitchFamily="34" charset="0"/>
              </a:rPr>
              <a:t> del. dat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ROLLING_WINDOW_DIFFERENZ_PR_INJ_TOTAL_{H}_h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ROLLING_WINDOW_DIFFERENZ_PR_INJ_GAS_{H}_h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ROLLING_WINDOW_DIFFERENZ_PR_INJ_WIND_{H}_h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ROLLING_WINDOW_DIFFERENZ_PR_INJ_LIGNITE_{H}_h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ROLLING_WINDOW_DIFFERENZ_PR_INJ_BC_{H}_h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ROLLING_WINDOW_DIFFERENZ_PR_INJ_IC_{H}_h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ROLLING_WINDOW_DIFFERENZ_PR_INJ_OIL_{H}_h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ROLLING_WINDOW_DIFFERENZ_PR_INJ_GEO_{H}_h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ROLLING_WINDOW_DIFFERENZ_PR_INJ_HYDRO_{H}_h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ROLLING_WINDOW_DIFFERENZ_PR_INJ_NAPHTA_{H}_h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ROLLING_WINDOW_DIFFERENZ_PR_INJ_BIO_{H}_h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ROLLING_WINDOW_DIFFERENZ_PR_INJ_RIVER_{H}_h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ROLLING_WINDOW_DIFFERENZ_PR_INJ_OTHER_{H}_h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de-DE" altLang="de-DE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2800" b="0" i="0" u="none" dirty="0" err="1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1DF45B8A-51CB-E271-9FE1-41EA1463582D}"/>
              </a:ext>
            </a:extLst>
          </p:cNvPr>
          <p:cNvSpPr txBox="1"/>
          <p:nvPr/>
        </p:nvSpPr>
        <p:spPr>
          <a:xfrm>
            <a:off x="458400" y="3683151"/>
            <a:ext cx="3598033" cy="1555599"/>
          </a:xfrm>
          <a:prstGeom prst="rect">
            <a:avLst/>
          </a:prstGeom>
          <a:solidFill>
            <a:schemeClr val="bg2"/>
          </a:solidFill>
        </p:spPr>
        <p:txBody>
          <a:bodyPr vert="horz" wrap="none" lIns="0" tIns="0" rIns="0" bIns="0" rtlCol="0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100" b="1" dirty="0">
                <a:latin typeface="Arial" panose="020B0604020202020204" pitchFamily="34" charset="0"/>
              </a:rPr>
              <a:t>Balance </a:t>
            </a:r>
            <a:r>
              <a:rPr lang="de-DE" altLang="de-DE" sz="1100" b="1" dirty="0" err="1">
                <a:latin typeface="Arial" panose="020B0604020202020204" pitchFamily="34" charset="0"/>
              </a:rPr>
              <a:t>market</a:t>
            </a:r>
            <a:r>
              <a:rPr lang="de-DE" altLang="de-DE" sz="1100" b="1" dirty="0">
                <a:latin typeface="Arial" panose="020B0604020202020204" pitchFamily="34" charset="0"/>
              </a:rPr>
              <a:t> </a:t>
            </a:r>
            <a:r>
              <a:rPr lang="de-DE" altLang="de-DE" sz="1100" b="1" dirty="0" err="1">
                <a:latin typeface="Arial" panose="020B0604020202020204" pitchFamily="34" charset="0"/>
              </a:rPr>
              <a:t>data</a:t>
            </a:r>
            <a:endParaRPr lang="de-DE" altLang="de-DE" sz="1100" b="1" dirty="0">
              <a:latin typeface="Arial" panose="020B060402020202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de-DE" altLang="de-DE" sz="1100" dirty="0">
                <a:latin typeface="Arial" panose="020B0604020202020204" pitchFamily="34" charset="0"/>
              </a:rPr>
              <a:t>SYSTEM_DIRECTION_{H}_h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de-DE" altLang="de-DE" sz="1100" dirty="0">
                <a:latin typeface="Arial" panose="020B0604020202020204" pitchFamily="34" charset="0"/>
              </a:rPr>
              <a:t>ROLLING_WINDOW_PAST_SYS_DIR_{H}_h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de-DE" altLang="de-DE" sz="1100" dirty="0">
                <a:latin typeface="Arial" panose="020B0604020202020204" pitchFamily="34" charset="0"/>
              </a:rPr>
              <a:t>UP_REG_{H}_h</a:t>
            </a:r>
            <a:r>
              <a:rPr kumimoji="0" lang="de-DE" altLang="de-DE" sz="11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_0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UP_REG_{H}_h_1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UP_REG_{H}_h_2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DOWN_REG_{H}_h_0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DOWN_REG_{H}_h_1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DOWN_REG_{H}_h_2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100" b="0" i="0" u="none" dirty="0" err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F1360907-E33E-F164-E49E-2BC99516CEEC}"/>
              </a:ext>
            </a:extLst>
          </p:cNvPr>
          <p:cNvSpPr txBox="1"/>
          <p:nvPr/>
        </p:nvSpPr>
        <p:spPr>
          <a:xfrm>
            <a:off x="458399" y="5316570"/>
            <a:ext cx="3598033" cy="1222829"/>
          </a:xfrm>
          <a:prstGeom prst="rect">
            <a:avLst/>
          </a:prstGeom>
          <a:solidFill>
            <a:schemeClr val="bg2"/>
          </a:solidFill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de-DE" altLang="de-DE" sz="11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Failure</a:t>
            </a:r>
            <a:r>
              <a:rPr kumimoji="0" lang="de-DE" altLang="de-DE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Information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L_FI_LOAD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UNPL_FI_LOAD_{H}_h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ROLLING_WINDOW</a:t>
            </a:r>
            <a:r>
              <a:rPr kumimoji="0" lang="de-DE" altLang="de-DE" sz="11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_UNPL_FI_LOAD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{H}_h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OWER_FI_{H}_h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ROLLING_WINDOW</a:t>
            </a:r>
            <a:r>
              <a:rPr kumimoji="0" lang="de-DE" altLang="de-DE" sz="11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_POWER_FI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{H}_h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100" b="0" i="0" u="non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100" b="0" i="0" u="none" dirty="0" err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C497A0D4-3C72-D0DC-E768-E3C421600722}"/>
              </a:ext>
            </a:extLst>
          </p:cNvPr>
          <p:cNvSpPr txBox="1"/>
          <p:nvPr/>
        </p:nvSpPr>
        <p:spPr>
          <a:xfrm>
            <a:off x="8503174" y="1066799"/>
            <a:ext cx="3230426" cy="1598579"/>
          </a:xfrm>
          <a:prstGeom prst="rect">
            <a:avLst/>
          </a:prstGeom>
          <a:solidFill>
            <a:schemeClr val="bg2"/>
          </a:solidFill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de-DE" altLang="de-DE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Trading </a:t>
            </a:r>
            <a:r>
              <a:rPr kumimoji="0" lang="de-DE" altLang="de-DE" sz="11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data</a:t>
            </a:r>
            <a:endParaRPr kumimoji="0" lang="de-DE" altLang="de-DE" sz="11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TRADE_COUNT_{H}_h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TRADE_VOLATILITY_{H}_h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TRADE_VOLUME_{H}_h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RE_ID3_{H}_h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V_TRADE_COUNT_{H}_h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V_TRADE_VOLATILITY_{H}_h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V_TRADE_VOLUME_{H}_h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V_PRE_ID3_{H}_h 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100" b="0" i="0" u="none" dirty="0" err="1"/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FA7A5527-1214-BFEE-C213-ED0EB5135D42}"/>
              </a:ext>
            </a:extLst>
          </p:cNvPr>
          <p:cNvSpPr txBox="1"/>
          <p:nvPr/>
        </p:nvSpPr>
        <p:spPr>
          <a:xfrm>
            <a:off x="8503174" y="2713167"/>
            <a:ext cx="3230426" cy="1907471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de-DE" altLang="de-DE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dditiona</a:t>
            </a:r>
            <a:r>
              <a:rPr lang="de-DE" altLang="de-DE" sz="1100" b="1" dirty="0">
                <a:latin typeface="Arial" panose="020B0604020202020204" pitchFamily="34" charset="0"/>
                <a:cs typeface="Arial" panose="020B0604020202020204" pitchFamily="34" charset="0"/>
              </a:rPr>
              <a:t>l </a:t>
            </a:r>
            <a:r>
              <a:rPr lang="de-DE" altLang="de-DE" sz="1100" b="1" dirty="0" err="1">
                <a:latin typeface="Arial" panose="020B0604020202020204" pitchFamily="34" charset="0"/>
                <a:cs typeface="Arial" panose="020B0604020202020204" pitchFamily="34" charset="0"/>
              </a:rPr>
              <a:t>injection</a:t>
            </a:r>
            <a:r>
              <a:rPr lang="de-DE" altLang="de-DE" sz="11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altLang="de-DE" sz="1100" b="1" dirty="0" err="1">
                <a:latin typeface="Arial" panose="020B0604020202020204" pitchFamily="34" charset="0"/>
                <a:cs typeface="Arial" panose="020B0604020202020204" pitchFamily="34" charset="0"/>
              </a:rPr>
              <a:t>data</a:t>
            </a:r>
            <a:endParaRPr kumimoji="0" lang="de-DE" altLang="de-DE" sz="11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J_SUN_{H}_h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J_ASPHAL_{H}_h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J_LNG_{H}_h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J_II_{H}_h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J_IE_{H}_h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ROLLING_WINDOW_INJ_SUN_{H}_h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ROLLING_WINDOW_INJ_ASPHAL_{H}_h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ROLLING_WINDOW_INJ_LNG_{H}_h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ROLLING_WINDOW_INJ_II_{H}_h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ROLLING_WINDOW_INJ_IE_{H}_h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100" b="0" i="0" u="non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100" b="0" i="0" u="none" dirty="0" err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113BD534-90C3-67EE-E7BA-7313D3729282}"/>
              </a:ext>
            </a:extLst>
          </p:cNvPr>
          <p:cNvSpPr txBox="1"/>
          <p:nvPr/>
        </p:nvSpPr>
        <p:spPr>
          <a:xfrm>
            <a:off x="8503173" y="4668427"/>
            <a:ext cx="3230425" cy="1870972"/>
          </a:xfrm>
          <a:prstGeom prst="rect">
            <a:avLst/>
          </a:prstGeom>
          <a:solidFill>
            <a:schemeClr val="bg2"/>
          </a:solidFill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de-DE" altLang="de-DE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Wind </a:t>
            </a:r>
            <a:r>
              <a:rPr kumimoji="0" lang="de-DE" altLang="de-DE" sz="11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data</a:t>
            </a:r>
            <a:endParaRPr kumimoji="0" lang="de-DE" altLang="de-DE" sz="11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FORECAST_LOAD_SAME_DAY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ROLLING_WINDOW</a:t>
            </a:r>
            <a:r>
              <a:rPr kumimoji="0" lang="de-DE" altLang="de-DE" sz="11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_DIFF_LOAD</a:t>
            </a: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{H}_h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DIFF_FOR_GEN_WPP_{H}_h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GENERATION_WPP_{H}_h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FORECAST_WPP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100" b="0" i="0" u="none" dirty="0" err="1"/>
          </a:p>
        </p:txBody>
      </p:sp>
    </p:spTree>
    <p:extLst>
      <p:ext uri="{BB962C8B-B14F-4D97-AF65-F5344CB8AC3E}">
        <p14:creationId xmlns:p14="http://schemas.microsoft.com/office/powerpoint/2010/main" val="416491384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E3C16B-D2C1-1458-0395-5A3180BBCE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600" b="1" i="0" u="none" dirty="0">
                <a:solidFill>
                  <a:schemeClr val="accent1"/>
                </a:solidFill>
              </a:rPr>
              <a:t>Feature </a:t>
            </a:r>
            <a:r>
              <a:rPr lang="de-DE" sz="3600" b="1" i="0" u="none" dirty="0" err="1">
                <a:solidFill>
                  <a:schemeClr val="accent1"/>
                </a:solidFill>
              </a:rPr>
              <a:t>importance</a:t>
            </a:r>
            <a:r>
              <a:rPr lang="de-DE" sz="3600" b="1" i="0" u="none" dirty="0">
                <a:solidFill>
                  <a:schemeClr val="accent1"/>
                </a:solidFill>
              </a:rPr>
              <a:t> </a:t>
            </a:r>
            <a:r>
              <a:rPr lang="de-DE" sz="1400" b="1" i="0" u="none" dirty="0">
                <a:solidFill>
                  <a:schemeClr val="accent1"/>
                </a:solidFill>
              </a:rPr>
              <a:t>(Tuesday, RF, </a:t>
            </a:r>
            <a:r>
              <a:rPr lang="de-DE" sz="1400" b="1" i="0" u="none" dirty="0" err="1">
                <a:solidFill>
                  <a:schemeClr val="accent1"/>
                </a:solidFill>
              </a:rPr>
              <a:t>test</a:t>
            </a:r>
            <a:r>
              <a:rPr lang="de-DE" sz="1400" b="1" i="0" u="none" dirty="0">
                <a:solidFill>
                  <a:schemeClr val="accent1"/>
                </a:solidFill>
              </a:rPr>
              <a:t> </a:t>
            </a:r>
            <a:r>
              <a:rPr lang="de-DE" sz="1400" b="1" i="0" u="none" dirty="0" err="1">
                <a:solidFill>
                  <a:schemeClr val="accent1"/>
                </a:solidFill>
              </a:rPr>
              <a:t>size</a:t>
            </a:r>
            <a:r>
              <a:rPr lang="de-DE" sz="1400" b="1" i="0" u="none" dirty="0">
                <a:solidFill>
                  <a:schemeClr val="accent1"/>
                </a:solidFill>
              </a:rPr>
              <a:t>: 0.2, </a:t>
            </a:r>
            <a:r>
              <a:rPr lang="de-DE" sz="1400" b="1" i="0" u="none" dirty="0" err="1">
                <a:solidFill>
                  <a:schemeClr val="accent1"/>
                </a:solidFill>
              </a:rPr>
              <a:t>estimators</a:t>
            </a:r>
            <a:r>
              <a:rPr lang="de-DE" sz="1400" b="1" i="0" u="none" dirty="0">
                <a:solidFill>
                  <a:schemeClr val="accent1"/>
                </a:solidFill>
              </a:rPr>
              <a:t>: 100, </a:t>
            </a:r>
            <a:r>
              <a:rPr lang="de-DE" sz="1400" b="1" i="0" u="none" dirty="0" err="1">
                <a:solidFill>
                  <a:schemeClr val="accent1"/>
                </a:solidFill>
              </a:rPr>
              <a:t>max_depth</a:t>
            </a:r>
            <a:r>
              <a:rPr lang="de-DE" sz="1400" b="1" i="0" u="none" dirty="0">
                <a:solidFill>
                  <a:schemeClr val="accent1"/>
                </a:solidFill>
              </a:rPr>
              <a:t>: 10, </a:t>
            </a:r>
            <a:r>
              <a:rPr lang="de-DE" sz="1400" b="1" i="0" u="none" dirty="0" err="1">
                <a:solidFill>
                  <a:schemeClr val="accent1"/>
                </a:solidFill>
              </a:rPr>
              <a:t>min_samples_leaf</a:t>
            </a:r>
            <a:r>
              <a:rPr lang="de-DE" sz="1400" b="1" dirty="0">
                <a:solidFill>
                  <a:schemeClr val="accent1"/>
                </a:solidFill>
              </a:rPr>
              <a:t>: 2)</a:t>
            </a:r>
            <a:r>
              <a:rPr lang="de-DE" sz="1400" b="1" i="0" u="none" dirty="0">
                <a:solidFill>
                  <a:schemeClr val="accent1"/>
                </a:solidFill>
              </a:rPr>
              <a:t> </a:t>
            </a:r>
            <a:endParaRPr lang="de-DE" sz="1400" dirty="0"/>
          </a:p>
        </p:txBody>
      </p:sp>
      <p:graphicFrame>
        <p:nvGraphicFramePr>
          <p:cNvPr id="3" name="Tabelle 2">
            <a:extLst>
              <a:ext uri="{FF2B5EF4-FFF2-40B4-BE49-F238E27FC236}">
                <a16:creationId xmlns:a16="http://schemas.microsoft.com/office/drawing/2014/main" id="{A67A6E2A-5837-A139-B134-05528235FC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6159322"/>
              </p:ext>
            </p:extLst>
          </p:nvPr>
        </p:nvGraphicFramePr>
        <p:xfrm>
          <a:off x="3580404" y="901801"/>
          <a:ext cx="5031191" cy="5943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87685">
                  <a:extLst>
                    <a:ext uri="{9D8B030D-6E8A-4147-A177-3AD203B41FA5}">
                      <a16:colId xmlns:a16="http://schemas.microsoft.com/office/drawing/2014/main" val="3725193823"/>
                    </a:ext>
                  </a:extLst>
                </a:gridCol>
                <a:gridCol w="1043506">
                  <a:extLst>
                    <a:ext uri="{9D8B030D-6E8A-4147-A177-3AD203B41FA5}">
                      <a16:colId xmlns:a16="http://schemas.microsoft.com/office/drawing/2014/main" val="530464718"/>
                    </a:ext>
                  </a:extLst>
                </a:gridCol>
              </a:tblGrid>
              <a:tr h="415636">
                <a:tc>
                  <a:txBody>
                    <a:bodyPr/>
                    <a:lstStyle/>
                    <a:p>
                      <a:pPr algn="l"/>
                      <a:r>
                        <a:rPr lang="de-DE" sz="1200" dirty="0">
                          <a:effectLst/>
                        </a:rPr>
                        <a:t>Feature </a:t>
                      </a:r>
                      <a:r>
                        <a:rPr lang="de-DE" sz="1200" dirty="0" err="1">
                          <a:effectLst/>
                        </a:rPr>
                        <a:t>names</a:t>
                      </a:r>
                      <a:endParaRPr lang="de-DE" sz="1200" dirty="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200" dirty="0">
                          <a:effectLst/>
                        </a:rPr>
                        <a:t>Relative </a:t>
                      </a:r>
                      <a:r>
                        <a:rPr lang="de-DE" sz="1200" dirty="0" err="1">
                          <a:effectLst/>
                        </a:rPr>
                        <a:t>percentage</a:t>
                      </a:r>
                      <a:endParaRPr lang="de-DE" sz="1200" dirty="0">
                        <a:effectLst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69399826"/>
                  </a:ext>
                </a:extLst>
              </a:tr>
              <a:tr h="249382">
                <a:tc>
                  <a:txBody>
                    <a:bodyPr/>
                    <a:lstStyle/>
                    <a:p>
                      <a:pPr algn="l"/>
                      <a:r>
                        <a:rPr lang="de-DE" sz="1200" dirty="0">
                          <a:effectLst/>
                        </a:rPr>
                        <a:t>PRE_ID3_3_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200" dirty="0">
                          <a:solidFill>
                            <a:srgbClr val="FF0000"/>
                          </a:solidFill>
                          <a:effectLst/>
                        </a:rPr>
                        <a:t>0.99257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10798017"/>
                  </a:ext>
                </a:extLst>
              </a:tr>
              <a:tr h="249382"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effectLst/>
                        </a:rPr>
                        <a:t>DOWN_REG_3_h_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200">
                          <a:effectLst/>
                        </a:rPr>
                        <a:t>0.00095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83040505"/>
                  </a:ext>
                </a:extLst>
              </a:tr>
              <a:tr h="249382">
                <a:tc>
                  <a:txBody>
                    <a:bodyPr/>
                    <a:lstStyle/>
                    <a:p>
                      <a:pPr algn="l"/>
                      <a:r>
                        <a:rPr lang="de-DE" sz="1200" dirty="0">
                          <a:effectLst/>
                        </a:rPr>
                        <a:t>TRADE_VOLATILITY_3_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200" dirty="0">
                          <a:effectLst/>
                        </a:rPr>
                        <a:t>0.00057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21649706"/>
                  </a:ext>
                </a:extLst>
              </a:tr>
              <a:tr h="249382">
                <a:tc>
                  <a:txBody>
                    <a:bodyPr/>
                    <a:lstStyle/>
                    <a:p>
                      <a:pPr algn="l"/>
                      <a:r>
                        <a:rPr lang="de-DE" sz="1200" dirty="0">
                          <a:effectLst/>
                        </a:rPr>
                        <a:t>DA_PRC_SAME_DA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200">
                          <a:effectLst/>
                        </a:rPr>
                        <a:t>0.00053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53734168"/>
                  </a:ext>
                </a:extLst>
              </a:tr>
              <a:tr h="249382">
                <a:tc>
                  <a:txBody>
                    <a:bodyPr/>
                    <a:lstStyle/>
                    <a:p>
                      <a:pPr algn="l"/>
                      <a:r>
                        <a:rPr lang="de-DE" sz="1200" dirty="0">
                          <a:effectLst/>
                        </a:rPr>
                        <a:t>DA_VOL_SAME_DA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200">
                          <a:effectLst/>
                        </a:rPr>
                        <a:t>0.00045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60869904"/>
                  </a:ext>
                </a:extLst>
              </a:tr>
              <a:tr h="249382">
                <a:tc>
                  <a:txBody>
                    <a:bodyPr/>
                    <a:lstStyle/>
                    <a:p>
                      <a:pPr algn="l"/>
                      <a:r>
                        <a:rPr lang="de-DE" sz="1200">
                          <a:effectLst/>
                        </a:rPr>
                        <a:t>PL_PR_BI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200" dirty="0">
                          <a:effectLst/>
                        </a:rPr>
                        <a:t>0.00030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35998824"/>
                  </a:ext>
                </a:extLst>
              </a:tr>
              <a:tr h="249382">
                <a:tc>
                  <a:txBody>
                    <a:bodyPr/>
                    <a:lstStyle/>
                    <a:p>
                      <a:pPr algn="l"/>
                      <a:r>
                        <a:rPr lang="de-DE" sz="1200">
                          <a:effectLst/>
                        </a:rPr>
                        <a:t>UP_REG_3_h_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200">
                          <a:effectLst/>
                        </a:rPr>
                        <a:t>0.00028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22083608"/>
                  </a:ext>
                </a:extLst>
              </a:tr>
              <a:tr h="249382">
                <a:tc>
                  <a:txBody>
                    <a:bodyPr/>
                    <a:lstStyle/>
                    <a:p>
                      <a:pPr algn="l"/>
                      <a:r>
                        <a:rPr lang="de-DE" sz="1200">
                          <a:effectLst/>
                        </a:rPr>
                        <a:t>PL_PR_GA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200" dirty="0">
                          <a:effectLst/>
                        </a:rPr>
                        <a:t>0.00026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67210867"/>
                  </a:ext>
                </a:extLst>
              </a:tr>
              <a:tr h="249382">
                <a:tc>
                  <a:txBody>
                    <a:bodyPr/>
                    <a:lstStyle/>
                    <a:p>
                      <a:pPr algn="l"/>
                      <a:r>
                        <a:rPr lang="de-DE" sz="1200">
                          <a:effectLst/>
                        </a:rPr>
                        <a:t>DIFF_FOR_GEN_WPP_3_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200">
                          <a:effectLst/>
                        </a:rPr>
                        <a:t>0.00023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95768518"/>
                  </a:ext>
                </a:extLst>
              </a:tr>
              <a:tr h="249382">
                <a:tc>
                  <a:txBody>
                    <a:bodyPr/>
                    <a:lstStyle/>
                    <a:p>
                      <a:pPr algn="l"/>
                      <a:r>
                        <a:rPr lang="de-DE" sz="1200">
                          <a:effectLst/>
                        </a:rPr>
                        <a:t>PL_PR_I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200" dirty="0">
                          <a:effectLst/>
                        </a:rPr>
                        <a:t>0.00018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50948212"/>
                  </a:ext>
                </a:extLst>
              </a:tr>
              <a:tr h="249382"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effectLst/>
                        </a:rPr>
                        <a:t>ROLLING_WINDOW_DIFFERENZ_PR_INJ_OTHER_3_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200" dirty="0">
                          <a:effectLst/>
                        </a:rPr>
                        <a:t>0.00016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91847279"/>
                  </a:ext>
                </a:extLst>
              </a:tr>
              <a:tr h="249382"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effectLst/>
                        </a:rPr>
                        <a:t>AV_TRADE_VOLATILITY_3_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200" dirty="0">
                          <a:effectLst/>
                        </a:rPr>
                        <a:t>0.00013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78236401"/>
                  </a:ext>
                </a:extLst>
              </a:tr>
              <a:tr h="249382"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effectLst/>
                        </a:rPr>
                        <a:t>ROLLING_WINDOW_PAST_3_h_SYSTEM_DIRECTION_3_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200" dirty="0">
                          <a:effectLst/>
                        </a:rPr>
                        <a:t>0.00013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87570618"/>
                  </a:ext>
                </a:extLst>
              </a:tr>
              <a:tr h="249382">
                <a:tc>
                  <a:txBody>
                    <a:bodyPr/>
                    <a:lstStyle/>
                    <a:p>
                      <a:pPr algn="l"/>
                      <a:r>
                        <a:rPr lang="de-DE" sz="1200">
                          <a:effectLst/>
                        </a:rPr>
                        <a:t>DA_VOL_DAY_BEFO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200" dirty="0">
                          <a:effectLst/>
                        </a:rPr>
                        <a:t>0.00012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89623771"/>
                  </a:ext>
                </a:extLst>
              </a:tr>
              <a:tr h="249382">
                <a:tc>
                  <a:txBody>
                    <a:bodyPr/>
                    <a:lstStyle/>
                    <a:p>
                      <a:pPr algn="l"/>
                      <a:r>
                        <a:rPr lang="de-DE" sz="1200">
                          <a:effectLst/>
                        </a:rPr>
                        <a:t>SYSTEM_DIRECTION_3_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200" dirty="0">
                          <a:effectLst/>
                        </a:rPr>
                        <a:t>0.00011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39036888"/>
                  </a:ext>
                </a:extLst>
              </a:tr>
              <a:tr h="249382">
                <a:tc>
                  <a:txBody>
                    <a:bodyPr/>
                    <a:lstStyle/>
                    <a:p>
                      <a:pPr algn="l"/>
                      <a:r>
                        <a:rPr lang="de-DE" sz="1200">
                          <a:effectLst/>
                        </a:rPr>
                        <a:t>PL_PR_LIGNI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200" dirty="0">
                          <a:effectLst/>
                        </a:rPr>
                        <a:t>0.000107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80062230"/>
                  </a:ext>
                </a:extLst>
              </a:tr>
              <a:tr h="249382">
                <a:tc>
                  <a:txBody>
                    <a:bodyPr/>
                    <a:lstStyle/>
                    <a:p>
                      <a:pPr algn="l"/>
                      <a:r>
                        <a:rPr lang="de-DE" sz="1200">
                          <a:effectLst/>
                        </a:rPr>
                        <a:t>DA_PRC_DAY_BEFO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200" dirty="0">
                          <a:effectLst/>
                        </a:rPr>
                        <a:t>0.00010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77831906"/>
                  </a:ext>
                </a:extLst>
              </a:tr>
              <a:tr h="249382"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effectLst/>
                        </a:rPr>
                        <a:t>ROLLING_WINDOW_PAST_3_h_POWER_FI_3_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200" dirty="0">
                          <a:effectLst/>
                        </a:rPr>
                        <a:t>0.00010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52843293"/>
                  </a:ext>
                </a:extLst>
              </a:tr>
              <a:tr h="249382">
                <a:tc>
                  <a:txBody>
                    <a:bodyPr/>
                    <a:lstStyle/>
                    <a:p>
                      <a:pPr algn="l"/>
                      <a:r>
                        <a:rPr lang="nb-NO" sz="1200">
                          <a:effectLst/>
                        </a:rPr>
                        <a:t>DA_AV_PRC_3_DAY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200" dirty="0">
                          <a:effectLst/>
                        </a:rPr>
                        <a:t>0.000097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78511823"/>
                  </a:ext>
                </a:extLst>
              </a:tr>
              <a:tr h="249382">
                <a:tc>
                  <a:txBody>
                    <a:bodyPr/>
                    <a:lstStyle/>
                    <a:p>
                      <a:pPr algn="l"/>
                      <a:r>
                        <a:rPr lang="nb-NO" sz="1200" dirty="0">
                          <a:effectLst/>
                        </a:rPr>
                        <a:t>DA_AV_VOL_3_DAY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200" dirty="0">
                          <a:effectLst/>
                        </a:rPr>
                        <a:t>0.00009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276211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4705222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648BB84-D328-4410-B0AF-878602E0C0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402" y="318601"/>
            <a:ext cx="11275199" cy="583200"/>
          </a:xfrm>
        </p:spPr>
        <p:txBody>
          <a:bodyPr/>
          <a:lstStyle/>
          <a:p>
            <a:r>
              <a:rPr lang="de-DE" sz="3600" b="1" i="0" u="none" dirty="0">
                <a:solidFill>
                  <a:schemeClr val="accent1"/>
                </a:solidFill>
              </a:rPr>
              <a:t>Sources</a:t>
            </a:r>
            <a:endParaRPr lang="de-DE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F0E3B46A-5602-5615-4F3F-1C217DFCB313}"/>
              </a:ext>
            </a:extLst>
          </p:cNvPr>
          <p:cNvSpPr txBox="1"/>
          <p:nvPr/>
        </p:nvSpPr>
        <p:spPr>
          <a:xfrm>
            <a:off x="1771650" y="1638300"/>
            <a:ext cx="914400" cy="914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0" i="0" u="none" dirty="0"/>
              <a:t>[1] </a:t>
            </a:r>
            <a:r>
              <a:rPr lang="en-US" sz="1600" dirty="0">
                <a:hlinkClick r:id="rId4"/>
              </a:rPr>
              <a:t>Electricity Market Report 2023 – Analysis – IEA</a:t>
            </a:r>
            <a:endParaRPr lang="en-US" sz="1600" dirty="0"/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b="0" i="0" u="none" dirty="0"/>
              <a:t>[2] </a:t>
            </a:r>
            <a:r>
              <a:rPr lang="en-US" sz="1600" dirty="0">
                <a:hlinkClick r:id="rId5"/>
              </a:rPr>
              <a:t>Research on energy efficiency, CO2 emissions, energy consumption, forecast (enerdata.net)</a:t>
            </a:r>
            <a:endParaRPr lang="en-US" sz="1600" dirty="0"/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b="0" i="0" u="none" dirty="0"/>
              <a:t>[3] </a:t>
            </a:r>
            <a:r>
              <a:rPr lang="en-US" sz="1600" dirty="0">
                <a:hlinkClick r:id="rId6"/>
              </a:rPr>
              <a:t>Overview of the Turkish Electricity Market (pwc.com.tr)</a:t>
            </a:r>
            <a:endParaRPr lang="de-DE" sz="1600" b="0" i="0" u="none" dirty="0" err="1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46647737"/>
      </p:ext>
    </p:extLst>
  </p:cSld>
  <p:clrMapOvr>
    <a:masterClrMapping/>
  </p:clrMapOvr>
  <p:transition spd="slow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Magnifying glass 02">
            <a:extLst>
              <a:ext uri="{FF2B5EF4-FFF2-40B4-BE49-F238E27FC236}">
                <a16:creationId xmlns:a16="http://schemas.microsoft.com/office/drawing/2014/main" id="{A7E72363-5358-317C-E6C4-F5654EDAA6DE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>
          <a:xfrm>
            <a:off x="490668" y="1214941"/>
            <a:ext cx="360000" cy="360000"/>
            <a:chOff x="2811687" y="3640192"/>
            <a:chExt cx="592500" cy="592500"/>
          </a:xfrm>
          <a:solidFill>
            <a:schemeClr val="tx1"/>
          </a:solidFill>
        </p:grpSpPr>
        <p:sp>
          <p:nvSpPr>
            <p:cNvPr id="7" name="MIO_PICTOGRAM_PART2">
              <a:extLst>
                <a:ext uri="{FF2B5EF4-FFF2-40B4-BE49-F238E27FC236}">
                  <a16:creationId xmlns:a16="http://schemas.microsoft.com/office/drawing/2014/main" id="{635430B7-2D6F-9D7D-8E57-BF11A9E5CC46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>
            <a:xfrm>
              <a:off x="2811687" y="3640192"/>
              <a:ext cx="592500" cy="592500"/>
            </a:xfrm>
            <a:custGeom>
              <a:avLst/>
              <a:gdLst>
                <a:gd name="connsiteX0" fmla="*/ 363941 w 444375"/>
                <a:gd name="connsiteY0" fmla="*/ 308253 h 444375"/>
                <a:gd name="connsiteX1" fmla="*/ 329066 w 444375"/>
                <a:gd name="connsiteY1" fmla="*/ 297566 h 444375"/>
                <a:gd name="connsiteX2" fmla="*/ 303753 w 444375"/>
                <a:gd name="connsiteY2" fmla="*/ 272816 h 444375"/>
                <a:gd name="connsiteX3" fmla="*/ 338628 w 444375"/>
                <a:gd name="connsiteY3" fmla="*/ 170441 h 444375"/>
                <a:gd name="connsiteX4" fmla="*/ 169878 w 444375"/>
                <a:gd name="connsiteY4" fmla="*/ 3 h 444375"/>
                <a:gd name="connsiteX5" fmla="*/ 3 w 444375"/>
                <a:gd name="connsiteY5" fmla="*/ 168753 h 444375"/>
                <a:gd name="connsiteX6" fmla="*/ 168753 w 444375"/>
                <a:gd name="connsiteY6" fmla="*/ 338628 h 444375"/>
                <a:gd name="connsiteX7" fmla="*/ 272253 w 444375"/>
                <a:gd name="connsiteY7" fmla="*/ 303753 h 444375"/>
                <a:gd name="connsiteX8" fmla="*/ 297003 w 444375"/>
                <a:gd name="connsiteY8" fmla="*/ 328503 h 444375"/>
                <a:gd name="connsiteX9" fmla="*/ 307691 w 444375"/>
                <a:gd name="connsiteY9" fmla="*/ 363941 h 444375"/>
                <a:gd name="connsiteX10" fmla="*/ 378003 w 444375"/>
                <a:gd name="connsiteY10" fmla="*/ 434253 h 444375"/>
                <a:gd name="connsiteX11" fmla="*/ 433691 w 444375"/>
                <a:gd name="connsiteY11" fmla="*/ 434253 h 444375"/>
                <a:gd name="connsiteX12" fmla="*/ 433691 w 444375"/>
                <a:gd name="connsiteY12" fmla="*/ 378566 h 444375"/>
                <a:gd name="connsiteX13" fmla="*/ 363941 w 444375"/>
                <a:gd name="connsiteY13" fmla="*/ 308253 h 444375"/>
                <a:gd name="connsiteX14" fmla="*/ 169878 w 444375"/>
                <a:gd name="connsiteY14" fmla="*/ 304878 h 444375"/>
                <a:gd name="connsiteX15" fmla="*/ 34878 w 444375"/>
                <a:gd name="connsiteY15" fmla="*/ 169878 h 444375"/>
                <a:gd name="connsiteX16" fmla="*/ 169878 w 444375"/>
                <a:gd name="connsiteY16" fmla="*/ 34878 h 444375"/>
                <a:gd name="connsiteX17" fmla="*/ 304878 w 444375"/>
                <a:gd name="connsiteY17" fmla="*/ 169878 h 444375"/>
                <a:gd name="connsiteX18" fmla="*/ 169878 w 444375"/>
                <a:gd name="connsiteY18" fmla="*/ 304878 h 444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44375" h="444375">
                  <a:moveTo>
                    <a:pt x="363941" y="308253"/>
                  </a:moveTo>
                  <a:cubicBezTo>
                    <a:pt x="354941" y="299253"/>
                    <a:pt x="341441" y="294753"/>
                    <a:pt x="329066" y="297566"/>
                  </a:cubicBezTo>
                  <a:lnTo>
                    <a:pt x="303753" y="272816"/>
                  </a:lnTo>
                  <a:cubicBezTo>
                    <a:pt x="326253" y="243566"/>
                    <a:pt x="338628" y="207566"/>
                    <a:pt x="338628" y="170441"/>
                  </a:cubicBezTo>
                  <a:cubicBezTo>
                    <a:pt x="339191" y="76503"/>
                    <a:pt x="263253" y="566"/>
                    <a:pt x="169878" y="3"/>
                  </a:cubicBezTo>
                  <a:cubicBezTo>
                    <a:pt x="76503" y="-559"/>
                    <a:pt x="566" y="75378"/>
                    <a:pt x="3" y="168753"/>
                  </a:cubicBezTo>
                  <a:cubicBezTo>
                    <a:pt x="-559" y="262128"/>
                    <a:pt x="75378" y="338066"/>
                    <a:pt x="168753" y="338628"/>
                  </a:cubicBezTo>
                  <a:cubicBezTo>
                    <a:pt x="205878" y="338628"/>
                    <a:pt x="242441" y="326253"/>
                    <a:pt x="272253" y="303753"/>
                  </a:cubicBezTo>
                  <a:lnTo>
                    <a:pt x="297003" y="328503"/>
                  </a:lnTo>
                  <a:cubicBezTo>
                    <a:pt x="294753" y="341441"/>
                    <a:pt x="298691" y="354378"/>
                    <a:pt x="307691" y="363941"/>
                  </a:cubicBezTo>
                  <a:lnTo>
                    <a:pt x="378003" y="434253"/>
                  </a:lnTo>
                  <a:cubicBezTo>
                    <a:pt x="393191" y="449441"/>
                    <a:pt x="418503" y="449441"/>
                    <a:pt x="433691" y="434253"/>
                  </a:cubicBezTo>
                  <a:cubicBezTo>
                    <a:pt x="448878" y="419066"/>
                    <a:pt x="448878" y="393753"/>
                    <a:pt x="433691" y="378566"/>
                  </a:cubicBezTo>
                  <a:lnTo>
                    <a:pt x="363941" y="308253"/>
                  </a:lnTo>
                  <a:close/>
                  <a:moveTo>
                    <a:pt x="169878" y="304878"/>
                  </a:moveTo>
                  <a:cubicBezTo>
                    <a:pt x="95066" y="304878"/>
                    <a:pt x="34878" y="244691"/>
                    <a:pt x="34878" y="169878"/>
                  </a:cubicBezTo>
                  <a:cubicBezTo>
                    <a:pt x="34878" y="95066"/>
                    <a:pt x="95066" y="34878"/>
                    <a:pt x="169878" y="34878"/>
                  </a:cubicBezTo>
                  <a:cubicBezTo>
                    <a:pt x="244691" y="34878"/>
                    <a:pt x="304878" y="95066"/>
                    <a:pt x="304878" y="169878"/>
                  </a:cubicBezTo>
                  <a:cubicBezTo>
                    <a:pt x="304878" y="244128"/>
                    <a:pt x="244128" y="304878"/>
                    <a:pt x="169878" y="304878"/>
                  </a:cubicBezTo>
                  <a:close/>
                </a:path>
              </a:pathLst>
            </a:custGeom>
            <a:grpFill/>
            <a:ln w="55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cs typeface="Segoe UI Light"/>
              </a:endParaRPr>
            </a:p>
          </p:txBody>
        </p:sp>
        <p:sp>
          <p:nvSpPr>
            <p:cNvPr id="8" name="MIO_PICTOGRAM_PART1">
              <a:extLst>
                <a:ext uri="{FF2B5EF4-FFF2-40B4-BE49-F238E27FC236}">
                  <a16:creationId xmlns:a16="http://schemas.microsoft.com/office/drawing/2014/main" id="{F984D076-AE1A-86B7-4642-FB35C3EEB901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>
              <a:off x="2876942" y="3751659"/>
              <a:ext cx="322500" cy="232500"/>
            </a:xfrm>
            <a:custGeom>
              <a:avLst/>
              <a:gdLst>
                <a:gd name="connsiteX0" fmla="*/ 241875 w 241875"/>
                <a:gd name="connsiteY0" fmla="*/ 77841 h 174375"/>
                <a:gd name="connsiteX1" fmla="*/ 209813 w 241875"/>
                <a:gd name="connsiteY1" fmla="*/ 77841 h 174375"/>
                <a:gd name="connsiteX2" fmla="*/ 202500 w 241875"/>
                <a:gd name="connsiteY2" fmla="*/ 82341 h 174375"/>
                <a:gd name="connsiteX3" fmla="*/ 181125 w 241875"/>
                <a:gd name="connsiteY3" fmla="*/ 105403 h 174375"/>
                <a:gd name="connsiteX4" fmla="*/ 163125 w 241875"/>
                <a:gd name="connsiteY4" fmla="*/ 42966 h 174375"/>
                <a:gd name="connsiteX5" fmla="*/ 150750 w 241875"/>
                <a:gd name="connsiteY5" fmla="*/ 36216 h 174375"/>
                <a:gd name="connsiteX6" fmla="*/ 144000 w 241875"/>
                <a:gd name="connsiteY6" fmla="*/ 42403 h 174375"/>
                <a:gd name="connsiteX7" fmla="*/ 110250 w 241875"/>
                <a:gd name="connsiteY7" fmla="*/ 131841 h 174375"/>
                <a:gd name="connsiteX8" fmla="*/ 87188 w 241875"/>
                <a:gd name="connsiteY8" fmla="*/ 8091 h 174375"/>
                <a:gd name="connsiteX9" fmla="*/ 75938 w 241875"/>
                <a:gd name="connsiteY9" fmla="*/ 216 h 174375"/>
                <a:gd name="connsiteX10" fmla="*/ 68063 w 241875"/>
                <a:gd name="connsiteY10" fmla="*/ 6966 h 174375"/>
                <a:gd name="connsiteX11" fmla="*/ 43875 w 241875"/>
                <a:gd name="connsiteY11" fmla="*/ 77841 h 174375"/>
                <a:gd name="connsiteX12" fmla="*/ 0 w 241875"/>
                <a:gd name="connsiteY12" fmla="*/ 77841 h 174375"/>
                <a:gd name="connsiteX13" fmla="*/ 0 w 241875"/>
                <a:gd name="connsiteY13" fmla="*/ 100341 h 174375"/>
                <a:gd name="connsiteX14" fmla="*/ 51188 w 241875"/>
                <a:gd name="connsiteY14" fmla="*/ 100341 h 174375"/>
                <a:gd name="connsiteX15" fmla="*/ 60750 w 241875"/>
                <a:gd name="connsiteY15" fmla="*/ 91903 h 174375"/>
                <a:gd name="connsiteX16" fmla="*/ 74812 w 241875"/>
                <a:gd name="connsiteY16" fmla="*/ 49153 h 174375"/>
                <a:gd name="connsiteX17" fmla="*/ 97312 w 241875"/>
                <a:gd name="connsiteY17" fmla="*/ 170091 h 174375"/>
                <a:gd name="connsiteX18" fmla="*/ 106313 w 241875"/>
                <a:gd name="connsiteY18" fmla="*/ 177966 h 174375"/>
                <a:gd name="connsiteX19" fmla="*/ 107437 w 241875"/>
                <a:gd name="connsiteY19" fmla="*/ 177966 h 174375"/>
                <a:gd name="connsiteX20" fmla="*/ 117000 w 241875"/>
                <a:gd name="connsiteY20" fmla="*/ 171778 h 174375"/>
                <a:gd name="connsiteX21" fmla="*/ 153000 w 241875"/>
                <a:gd name="connsiteY21" fmla="*/ 77278 h 174375"/>
                <a:gd name="connsiteX22" fmla="*/ 167625 w 241875"/>
                <a:gd name="connsiteY22" fmla="*/ 127903 h 174375"/>
                <a:gd name="connsiteX23" fmla="*/ 180000 w 241875"/>
                <a:gd name="connsiteY23" fmla="*/ 134653 h 174375"/>
                <a:gd name="connsiteX24" fmla="*/ 184500 w 241875"/>
                <a:gd name="connsiteY24" fmla="*/ 131841 h 174375"/>
                <a:gd name="connsiteX25" fmla="*/ 214875 w 241875"/>
                <a:gd name="connsiteY25" fmla="*/ 100341 h 174375"/>
                <a:gd name="connsiteX26" fmla="*/ 242437 w 241875"/>
                <a:gd name="connsiteY26" fmla="*/ 100341 h 174375"/>
                <a:gd name="connsiteX27" fmla="*/ 242437 w 241875"/>
                <a:gd name="connsiteY27" fmla="*/ 77841 h 174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41875" h="174375">
                  <a:moveTo>
                    <a:pt x="241875" y="77841"/>
                  </a:moveTo>
                  <a:lnTo>
                    <a:pt x="209813" y="77841"/>
                  </a:lnTo>
                  <a:cubicBezTo>
                    <a:pt x="207000" y="78403"/>
                    <a:pt x="204188" y="80091"/>
                    <a:pt x="202500" y="82341"/>
                  </a:cubicBezTo>
                  <a:lnTo>
                    <a:pt x="181125" y="105403"/>
                  </a:lnTo>
                  <a:lnTo>
                    <a:pt x="163125" y="42966"/>
                  </a:lnTo>
                  <a:cubicBezTo>
                    <a:pt x="161438" y="37903"/>
                    <a:pt x="155813" y="34528"/>
                    <a:pt x="150750" y="36216"/>
                  </a:cubicBezTo>
                  <a:cubicBezTo>
                    <a:pt x="147938" y="37341"/>
                    <a:pt x="145125" y="39028"/>
                    <a:pt x="144000" y="42403"/>
                  </a:cubicBezTo>
                  <a:lnTo>
                    <a:pt x="110250" y="131841"/>
                  </a:lnTo>
                  <a:lnTo>
                    <a:pt x="87188" y="8091"/>
                  </a:lnTo>
                  <a:cubicBezTo>
                    <a:pt x="86062" y="2466"/>
                    <a:pt x="81000" y="-909"/>
                    <a:pt x="75938" y="216"/>
                  </a:cubicBezTo>
                  <a:cubicBezTo>
                    <a:pt x="72563" y="778"/>
                    <a:pt x="69750" y="3591"/>
                    <a:pt x="68063" y="6966"/>
                  </a:cubicBezTo>
                  <a:lnTo>
                    <a:pt x="43875" y="77841"/>
                  </a:lnTo>
                  <a:lnTo>
                    <a:pt x="0" y="77841"/>
                  </a:lnTo>
                  <a:lnTo>
                    <a:pt x="0" y="100341"/>
                  </a:lnTo>
                  <a:lnTo>
                    <a:pt x="51188" y="100341"/>
                  </a:lnTo>
                  <a:cubicBezTo>
                    <a:pt x="55687" y="99778"/>
                    <a:pt x="59625" y="96403"/>
                    <a:pt x="60750" y="91903"/>
                  </a:cubicBezTo>
                  <a:lnTo>
                    <a:pt x="74812" y="49153"/>
                  </a:lnTo>
                  <a:lnTo>
                    <a:pt x="97312" y="170091"/>
                  </a:lnTo>
                  <a:cubicBezTo>
                    <a:pt x="97875" y="174591"/>
                    <a:pt x="101812" y="177966"/>
                    <a:pt x="106313" y="177966"/>
                  </a:cubicBezTo>
                  <a:lnTo>
                    <a:pt x="107437" y="177966"/>
                  </a:lnTo>
                  <a:cubicBezTo>
                    <a:pt x="111375" y="177966"/>
                    <a:pt x="115313" y="175716"/>
                    <a:pt x="117000" y="171778"/>
                  </a:cubicBezTo>
                  <a:lnTo>
                    <a:pt x="153000" y="77278"/>
                  </a:lnTo>
                  <a:lnTo>
                    <a:pt x="167625" y="127903"/>
                  </a:lnTo>
                  <a:cubicBezTo>
                    <a:pt x="169312" y="132966"/>
                    <a:pt x="174375" y="136341"/>
                    <a:pt x="180000" y="134653"/>
                  </a:cubicBezTo>
                  <a:cubicBezTo>
                    <a:pt x="181688" y="134091"/>
                    <a:pt x="183375" y="132966"/>
                    <a:pt x="184500" y="131841"/>
                  </a:cubicBezTo>
                  <a:lnTo>
                    <a:pt x="214875" y="100341"/>
                  </a:lnTo>
                  <a:lnTo>
                    <a:pt x="242437" y="100341"/>
                  </a:lnTo>
                  <a:lnTo>
                    <a:pt x="242437" y="77841"/>
                  </a:lnTo>
                  <a:close/>
                </a:path>
              </a:pathLst>
            </a:custGeom>
            <a:grpFill/>
            <a:ln w="55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cs typeface="Segoe UI Light"/>
              </a:endParaRPr>
            </a:p>
          </p:txBody>
        </p:sp>
      </p:grpSp>
      <p:sp>
        <p:nvSpPr>
          <p:cNvPr id="10" name="Textfeld 9">
            <a:extLst>
              <a:ext uri="{FF2B5EF4-FFF2-40B4-BE49-F238E27FC236}">
                <a16:creationId xmlns:a16="http://schemas.microsoft.com/office/drawing/2014/main" id="{0E0D5A66-3AFC-2FE5-E2F9-B3F69F372DDA}"/>
              </a:ext>
            </a:extLst>
          </p:cNvPr>
          <p:cNvSpPr txBox="1"/>
          <p:nvPr/>
        </p:nvSpPr>
        <p:spPr>
          <a:xfrm>
            <a:off x="1036320" y="1275016"/>
            <a:ext cx="914400" cy="914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/>
              <a:t>Forecast </a:t>
            </a:r>
            <a:r>
              <a:rPr lang="de-DE" sz="1600" dirty="0" err="1"/>
              <a:t>the</a:t>
            </a:r>
            <a:r>
              <a:rPr lang="de-DE" sz="1600" dirty="0"/>
              <a:t> ID3 </a:t>
            </a:r>
            <a:r>
              <a:rPr lang="de-DE" sz="1600" dirty="0" err="1"/>
              <a:t>price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turkish</a:t>
            </a:r>
            <a:r>
              <a:rPr lang="de-DE" sz="1600" dirty="0"/>
              <a:t> </a:t>
            </a:r>
            <a:r>
              <a:rPr lang="de-DE" sz="1600" dirty="0" err="1"/>
              <a:t>intraday</a:t>
            </a:r>
            <a:r>
              <a:rPr lang="de-DE" sz="1600" dirty="0"/>
              <a:t> </a:t>
            </a:r>
            <a:r>
              <a:rPr lang="de-DE" sz="1600" dirty="0" err="1"/>
              <a:t>electricity</a:t>
            </a:r>
            <a:r>
              <a:rPr lang="de-DE" sz="1600" dirty="0"/>
              <a:t> </a:t>
            </a:r>
            <a:r>
              <a:rPr lang="de-DE" sz="1600" dirty="0" err="1"/>
              <a:t>market</a:t>
            </a:r>
            <a:endParaRPr lang="de-DE" sz="1600" b="0" i="0" u="none" dirty="0"/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EFA65F0A-182F-6ACB-69DB-C5DCB89055B7}"/>
              </a:ext>
            </a:extLst>
          </p:cNvPr>
          <p:cNvCxnSpPr/>
          <p:nvPr/>
        </p:nvCxnSpPr>
        <p:spPr>
          <a:xfrm>
            <a:off x="448291" y="1778000"/>
            <a:ext cx="11295417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12">
            <a:extLst>
              <a:ext uri="{FF2B5EF4-FFF2-40B4-BE49-F238E27FC236}">
                <a16:creationId xmlns:a16="http://schemas.microsoft.com/office/drawing/2014/main" id="{31B8F1B5-00BE-E400-46BF-D3AD8D86B25E}"/>
              </a:ext>
            </a:extLst>
          </p:cNvPr>
          <p:cNvSpPr txBox="1"/>
          <p:nvPr/>
        </p:nvSpPr>
        <p:spPr>
          <a:xfrm>
            <a:off x="5396873" y="2009416"/>
            <a:ext cx="1398254" cy="288601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i="0" u="none" dirty="0"/>
              <a:t>Intraday </a:t>
            </a:r>
            <a:r>
              <a:rPr lang="de-DE" sz="1600" b="1" i="0" u="none" dirty="0" err="1"/>
              <a:t>market</a:t>
            </a:r>
            <a:endParaRPr lang="de-DE" sz="1600" b="1" i="0" u="none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E494C531-CACC-A0A5-84CE-C7E038CC7614}"/>
              </a:ext>
            </a:extLst>
          </p:cNvPr>
          <p:cNvGrpSpPr/>
          <p:nvPr/>
        </p:nvGrpSpPr>
        <p:grpSpPr>
          <a:xfrm>
            <a:off x="1155751" y="2546914"/>
            <a:ext cx="3100354" cy="2405000"/>
            <a:chOff x="1155751" y="2546914"/>
            <a:chExt cx="3100354" cy="2405000"/>
          </a:xfrm>
        </p:grpSpPr>
        <p:sp>
          <p:nvSpPr>
            <p:cNvPr id="2" name="Textfeld 1">
              <a:extLst>
                <a:ext uri="{FF2B5EF4-FFF2-40B4-BE49-F238E27FC236}">
                  <a16:creationId xmlns:a16="http://schemas.microsoft.com/office/drawing/2014/main" id="{0C73BE61-068C-09A4-EEF2-E9A830EB4C48}"/>
                </a:ext>
              </a:extLst>
            </p:cNvPr>
            <p:cNvSpPr txBox="1"/>
            <p:nvPr/>
          </p:nvSpPr>
          <p:spPr>
            <a:xfrm>
              <a:off x="1155751" y="2546914"/>
              <a:ext cx="914400" cy="914400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0" i="0" u="none" dirty="0"/>
                <a:t>Producer A </a:t>
              </a:r>
              <a:r>
                <a:rPr lang="de-DE" sz="1600" b="0" i="0" u="none" dirty="0" err="1"/>
                <a:t>sells</a:t>
              </a:r>
              <a:r>
                <a:rPr lang="de-DE" sz="1600" b="0" i="0" u="none" dirty="0"/>
                <a:t> 10 MW/h </a:t>
              </a:r>
              <a:r>
                <a:rPr lang="de-DE" sz="1600" b="0" i="0" u="none" dirty="0" err="1"/>
                <a:t>for</a:t>
              </a:r>
              <a:r>
                <a:rPr lang="de-DE" sz="1600" b="0" i="0" u="none" dirty="0"/>
                <a:t> 1 </a:t>
              </a:r>
              <a:r>
                <a:rPr lang="de-DE" sz="1600" b="0" i="0" u="none" dirty="0" err="1"/>
                <a:t>pm</a:t>
              </a:r>
              <a:r>
                <a:rPr lang="de-DE" sz="1600" b="0" i="0" u="none" dirty="0"/>
                <a:t> – 2 </a:t>
              </a:r>
              <a:r>
                <a:rPr lang="de-DE" sz="1600" b="0" i="0" u="none" dirty="0" err="1"/>
                <a:t>pm</a:t>
              </a:r>
              <a:endParaRPr lang="de-DE" sz="1600" b="0" i="0" u="none" dirty="0"/>
            </a:p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dirty="0"/>
                <a:t>in </a:t>
              </a:r>
              <a:r>
                <a:rPr lang="de-DE" sz="1600" dirty="0" err="1"/>
                <a:t>the</a:t>
              </a:r>
              <a:r>
                <a:rPr lang="de-DE" sz="1600" dirty="0"/>
                <a:t> </a:t>
              </a:r>
              <a:r>
                <a:rPr lang="de-DE" sz="1600" b="1" dirty="0"/>
                <a:t>Day </a:t>
              </a:r>
              <a:r>
                <a:rPr lang="de-DE" sz="1600" b="1" dirty="0" err="1"/>
                <a:t>Ahead</a:t>
              </a:r>
              <a:r>
                <a:rPr lang="de-DE" sz="1600" b="1" dirty="0"/>
                <a:t> Market</a:t>
              </a:r>
              <a:endParaRPr lang="de-DE" sz="1600" b="1" i="0" u="none" dirty="0"/>
            </a:p>
          </p:txBody>
        </p:sp>
        <p:cxnSp>
          <p:nvCxnSpPr>
            <p:cNvPr id="3" name="Gerader Verbinder 2">
              <a:extLst>
                <a:ext uri="{FF2B5EF4-FFF2-40B4-BE49-F238E27FC236}">
                  <a16:creationId xmlns:a16="http://schemas.microsoft.com/office/drawing/2014/main" id="{FDAC25F3-73DD-CA62-9F30-B425319FAB1D}"/>
                </a:ext>
              </a:extLst>
            </p:cNvPr>
            <p:cNvCxnSpPr>
              <a:cxnSpLocks/>
            </p:cNvCxnSpPr>
            <p:nvPr/>
          </p:nvCxnSpPr>
          <p:spPr>
            <a:xfrm>
              <a:off x="1560458" y="3526158"/>
              <a:ext cx="2340047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Gerader Verbinder 3">
              <a:extLst>
                <a:ext uri="{FF2B5EF4-FFF2-40B4-BE49-F238E27FC236}">
                  <a16:creationId xmlns:a16="http://schemas.microsoft.com/office/drawing/2014/main" id="{0BEB0B52-8C84-A441-BDE2-33CF7E68849D}"/>
                </a:ext>
              </a:extLst>
            </p:cNvPr>
            <p:cNvCxnSpPr>
              <a:cxnSpLocks/>
            </p:cNvCxnSpPr>
            <p:nvPr/>
          </p:nvCxnSpPr>
          <p:spPr>
            <a:xfrm>
              <a:off x="1945836" y="3146837"/>
              <a:ext cx="0" cy="257515"/>
            </a:xfrm>
            <a:prstGeom prst="line">
              <a:avLst/>
            </a:prstGeom>
            <a:ln w="12700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AE5DCE1D-B192-AACA-8BAD-9BC49368A524}"/>
                </a:ext>
              </a:extLst>
            </p:cNvPr>
            <p:cNvCxnSpPr>
              <a:cxnSpLocks/>
            </p:cNvCxnSpPr>
            <p:nvPr/>
          </p:nvCxnSpPr>
          <p:spPr>
            <a:xfrm>
              <a:off x="3567454" y="3647960"/>
              <a:ext cx="0" cy="382796"/>
            </a:xfrm>
            <a:prstGeom prst="line">
              <a:avLst/>
            </a:prstGeom>
            <a:ln w="12700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Ellipse 10">
              <a:extLst>
                <a:ext uri="{FF2B5EF4-FFF2-40B4-BE49-F238E27FC236}">
                  <a16:creationId xmlns:a16="http://schemas.microsoft.com/office/drawing/2014/main" id="{956CF6EC-D2D2-14CC-E895-A78BB7DB768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821688" y="3404356"/>
              <a:ext cx="248298" cy="243604"/>
            </a:xfrm>
            <a:prstGeom prst="ellipse">
              <a:avLst/>
            </a:prstGeom>
            <a:solidFill>
              <a:schemeClr val="lt1"/>
            </a:solidFill>
            <a:ln w="12700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indent="0" algn="ctr">
                <a:lnSpc>
                  <a:spcPct val="120000"/>
                </a:lnSpc>
                <a:spcBef>
                  <a:spcPts val="500"/>
                </a:spcBef>
                <a:buFont typeface="Arial" panose="020B0604020202020204" pitchFamily="34" charset="0"/>
                <a:buNone/>
              </a:pPr>
              <a:endParaRPr lang="de-DE" sz="1600" dirty="0">
                <a:solidFill>
                  <a:schemeClr val="bg1"/>
                </a:solidFill>
              </a:endParaRPr>
            </a:p>
          </p:txBody>
        </p:sp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BB3760F4-24DC-5CB3-1BB1-870CD9BF6D0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443305" y="3404356"/>
              <a:ext cx="248298" cy="243604"/>
            </a:xfrm>
            <a:prstGeom prst="ellipse">
              <a:avLst/>
            </a:prstGeom>
            <a:solidFill>
              <a:schemeClr val="lt1"/>
            </a:solidFill>
            <a:ln w="12700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indent="0" algn="ctr">
                <a:lnSpc>
                  <a:spcPct val="120000"/>
                </a:lnSpc>
                <a:spcBef>
                  <a:spcPts val="500"/>
                </a:spcBef>
                <a:buFont typeface="Arial" panose="020B0604020202020204" pitchFamily="34" charset="0"/>
                <a:buNone/>
              </a:pPr>
              <a:endParaRPr lang="de-DE" sz="1600" dirty="0">
                <a:solidFill>
                  <a:schemeClr val="bg1"/>
                </a:solidFill>
              </a:endParaRPr>
            </a:p>
          </p:txBody>
        </p:sp>
        <p:pic>
          <p:nvPicPr>
            <p:cNvPr id="16" name="Grafik 15" descr="Windkraftanlagen Silhouette">
              <a:extLst>
                <a:ext uri="{FF2B5EF4-FFF2-40B4-BE49-F238E27FC236}">
                  <a16:creationId xmlns:a16="http://schemas.microsoft.com/office/drawing/2014/main" id="{F88DE854-C161-9907-4F3C-F883E1D5E2E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757504" y="4030756"/>
              <a:ext cx="457201" cy="457201"/>
            </a:xfrm>
            <a:prstGeom prst="rect">
              <a:avLst/>
            </a:prstGeom>
          </p:spPr>
        </p:pic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DB32FC12-12DC-A022-3842-3824626B4304}"/>
                </a:ext>
              </a:extLst>
            </p:cNvPr>
            <p:cNvSpPr txBox="1"/>
            <p:nvPr/>
          </p:nvSpPr>
          <p:spPr>
            <a:xfrm>
              <a:off x="3341705" y="4037514"/>
              <a:ext cx="914400" cy="914400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dirty="0"/>
                <a:t>Wind </a:t>
              </a:r>
              <a:r>
                <a:rPr lang="de-DE" sz="1600" dirty="0" err="1"/>
                <a:t>is</a:t>
              </a:r>
              <a:r>
                <a:rPr lang="de-DE" sz="1600" dirty="0"/>
                <a:t> not </a:t>
              </a:r>
              <a:r>
                <a:rPr lang="de-DE" sz="1600" dirty="0" err="1"/>
                <a:t>that</a:t>
              </a:r>
              <a:r>
                <a:rPr lang="de-DE" sz="1600" dirty="0"/>
                <a:t> strong, </a:t>
              </a:r>
            </a:p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0" i="0" u="none" dirty="0"/>
                <a:t>Pro</a:t>
              </a:r>
              <a:r>
                <a:rPr lang="de-DE" sz="1600" dirty="0"/>
                <a:t>ducer A will </a:t>
              </a:r>
              <a:r>
                <a:rPr lang="de-DE" sz="1600" dirty="0" err="1"/>
                <a:t>only</a:t>
              </a:r>
              <a:r>
                <a:rPr lang="de-DE" sz="1600" dirty="0"/>
                <a:t> </a:t>
              </a:r>
              <a:r>
                <a:rPr lang="de-DE" sz="1600" dirty="0" err="1"/>
                <a:t>produce</a:t>
              </a:r>
              <a:r>
                <a:rPr lang="de-DE" sz="1600" dirty="0"/>
                <a:t> 9 MW/h</a:t>
              </a:r>
            </a:p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de-DE" sz="1600" b="0" i="0" u="none" dirty="0"/>
            </a:p>
          </p:txBody>
        </p:sp>
      </p:grpSp>
      <p:pic>
        <p:nvPicPr>
          <p:cNvPr id="18" name="Grafik 17" descr="Pfeil nach rechts mit einfarbiger Füllung">
            <a:extLst>
              <a:ext uri="{FF2B5EF4-FFF2-40B4-BE49-F238E27FC236}">
                <a16:creationId xmlns:a16="http://schemas.microsoft.com/office/drawing/2014/main" id="{38B8C0DA-08DA-C6A5-0F62-4CBBE983607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34160" y="3220669"/>
            <a:ext cx="610978" cy="610978"/>
          </a:xfrm>
          <a:prstGeom prst="rect">
            <a:avLst/>
          </a:prstGeom>
        </p:spPr>
      </p:pic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30554D5A-D3EA-352F-1805-EAE93582A1BC}"/>
              </a:ext>
            </a:extLst>
          </p:cNvPr>
          <p:cNvGrpSpPr/>
          <p:nvPr/>
        </p:nvGrpSpPr>
        <p:grpSpPr>
          <a:xfrm>
            <a:off x="7623194" y="3251787"/>
            <a:ext cx="3126456" cy="540000"/>
            <a:chOff x="7623194" y="3251787"/>
            <a:chExt cx="3126456" cy="540000"/>
          </a:xfrm>
        </p:grpSpPr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7FD5FA0D-2537-AF08-EC1F-9EFE3525D413}"/>
                </a:ext>
              </a:extLst>
            </p:cNvPr>
            <p:cNvSpPr txBox="1"/>
            <p:nvPr/>
          </p:nvSpPr>
          <p:spPr>
            <a:xfrm>
              <a:off x="7623194" y="3399984"/>
              <a:ext cx="2274641" cy="243606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0" i="0" u="none" dirty="0"/>
                <a:t>Needs </a:t>
              </a:r>
              <a:r>
                <a:rPr lang="de-DE" sz="1600" b="0" i="0" u="none" dirty="0" err="1"/>
                <a:t>to</a:t>
              </a:r>
              <a:r>
                <a:rPr lang="de-DE" sz="1600" b="0" i="0" u="none" dirty="0"/>
                <a:t> </a:t>
              </a:r>
              <a:r>
                <a:rPr lang="de-DE" sz="1600" b="0" i="0" u="none" dirty="0" err="1"/>
                <a:t>buy</a:t>
              </a:r>
              <a:r>
                <a:rPr lang="de-DE" sz="1600" b="0" i="0" u="none" dirty="0"/>
                <a:t> 1 MW/h </a:t>
              </a:r>
            </a:p>
          </p:txBody>
        </p:sp>
        <p:pic>
          <p:nvPicPr>
            <p:cNvPr id="31" name="Grafik 30" descr="Warenkorb Silhouette">
              <a:extLst>
                <a:ext uri="{FF2B5EF4-FFF2-40B4-BE49-F238E27FC236}">
                  <a16:creationId xmlns:a16="http://schemas.microsoft.com/office/drawing/2014/main" id="{3273BABC-202F-191C-70CE-BECF2142B24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0209650" y="3251787"/>
              <a:ext cx="540000" cy="540000"/>
            </a:xfrm>
            <a:prstGeom prst="rect">
              <a:avLst/>
            </a:prstGeom>
          </p:spPr>
        </p:pic>
      </p:grpSp>
      <p:sp>
        <p:nvSpPr>
          <p:cNvPr id="32" name="Textfeld 31">
            <a:extLst>
              <a:ext uri="{FF2B5EF4-FFF2-40B4-BE49-F238E27FC236}">
                <a16:creationId xmlns:a16="http://schemas.microsoft.com/office/drawing/2014/main" id="{7D351C21-6707-2829-105F-A834E13AFCA2}"/>
              </a:ext>
            </a:extLst>
          </p:cNvPr>
          <p:cNvSpPr txBox="1"/>
          <p:nvPr/>
        </p:nvSpPr>
        <p:spPr>
          <a:xfrm>
            <a:off x="490668" y="368749"/>
            <a:ext cx="8068236" cy="914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3600" b="1" i="0" u="none" dirty="0" err="1">
                <a:latin typeface="Segoe UI Semibold (Überschriften)"/>
              </a:rPr>
              <a:t>Introduction</a:t>
            </a:r>
            <a:r>
              <a:rPr lang="de-DE" sz="3600" b="1" i="0" u="none" dirty="0">
                <a:latin typeface="Segoe UI Semibold (Überschriften)"/>
              </a:rPr>
              <a:t> </a:t>
            </a:r>
            <a:r>
              <a:rPr lang="de-DE" sz="3600" b="1" i="0" u="none" dirty="0" err="1">
                <a:latin typeface="Segoe UI Semibold (Überschriften)"/>
              </a:rPr>
              <a:t>to</a:t>
            </a:r>
            <a:r>
              <a:rPr lang="de-DE" sz="3600" b="1" i="0" u="none" dirty="0">
                <a:latin typeface="Segoe UI Semibold (Überschriften)"/>
              </a:rPr>
              <a:t> </a:t>
            </a:r>
            <a:r>
              <a:rPr lang="de-DE" sz="3600" b="1" i="0" u="none" dirty="0" err="1">
                <a:latin typeface="Segoe UI Semibold (Überschriften)"/>
              </a:rPr>
              <a:t>our</a:t>
            </a:r>
            <a:r>
              <a:rPr lang="de-DE" sz="3600" b="1" i="0" u="none" dirty="0">
                <a:latin typeface="Segoe UI Semibold (Überschriften)"/>
              </a:rPr>
              <a:t> </a:t>
            </a:r>
            <a:r>
              <a:rPr lang="de-DE" sz="3600" b="1" i="0" u="none" dirty="0" err="1">
                <a:latin typeface="Segoe UI Semibold (Überschriften)"/>
              </a:rPr>
              <a:t>project</a:t>
            </a:r>
            <a:endParaRPr lang="de-DE" sz="3600" b="1" i="0" u="none" dirty="0">
              <a:latin typeface="Segoe UI Semibold (Überschriften)"/>
            </a:endParaRPr>
          </a:p>
        </p:txBody>
      </p:sp>
    </p:spTree>
    <p:extLst>
      <p:ext uri="{BB962C8B-B14F-4D97-AF65-F5344CB8AC3E}">
        <p14:creationId xmlns:p14="http://schemas.microsoft.com/office/powerpoint/2010/main" val="159629837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0E0D5A66-3AFC-2FE5-E2F9-B3F69F372DDA}"/>
              </a:ext>
            </a:extLst>
          </p:cNvPr>
          <p:cNvSpPr txBox="1"/>
          <p:nvPr/>
        </p:nvSpPr>
        <p:spPr>
          <a:xfrm>
            <a:off x="1036320" y="1275016"/>
            <a:ext cx="914400" cy="914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/>
              <a:t>Forecast </a:t>
            </a:r>
            <a:r>
              <a:rPr lang="de-DE" sz="1600" dirty="0" err="1"/>
              <a:t>the</a:t>
            </a:r>
            <a:r>
              <a:rPr lang="de-DE" sz="1600" dirty="0"/>
              <a:t> ID3 </a:t>
            </a:r>
            <a:r>
              <a:rPr lang="de-DE" sz="1600" dirty="0" err="1"/>
              <a:t>price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turkish</a:t>
            </a:r>
            <a:r>
              <a:rPr lang="de-DE" sz="1600" dirty="0"/>
              <a:t> </a:t>
            </a:r>
            <a:r>
              <a:rPr lang="de-DE" sz="1600" dirty="0" err="1"/>
              <a:t>intraday</a:t>
            </a:r>
            <a:r>
              <a:rPr lang="de-DE" sz="1600" dirty="0"/>
              <a:t> </a:t>
            </a:r>
            <a:r>
              <a:rPr lang="de-DE" sz="1600" dirty="0" err="1"/>
              <a:t>electricity</a:t>
            </a:r>
            <a:r>
              <a:rPr lang="de-DE" sz="1600" dirty="0"/>
              <a:t> </a:t>
            </a:r>
            <a:r>
              <a:rPr lang="de-DE" sz="1600" dirty="0" err="1"/>
              <a:t>market</a:t>
            </a:r>
            <a:endParaRPr lang="de-DE" sz="1600" b="0" i="0" u="none" dirty="0"/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EFA65F0A-182F-6ACB-69DB-C5DCB89055B7}"/>
              </a:ext>
            </a:extLst>
          </p:cNvPr>
          <p:cNvCxnSpPr/>
          <p:nvPr/>
        </p:nvCxnSpPr>
        <p:spPr>
          <a:xfrm>
            <a:off x="448291" y="1778000"/>
            <a:ext cx="11295417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feld 10">
            <a:extLst>
              <a:ext uri="{FF2B5EF4-FFF2-40B4-BE49-F238E27FC236}">
                <a16:creationId xmlns:a16="http://schemas.microsoft.com/office/drawing/2014/main" id="{F156202E-75E8-0AF9-1203-65521B70E471}"/>
              </a:ext>
            </a:extLst>
          </p:cNvPr>
          <p:cNvSpPr txBox="1"/>
          <p:nvPr/>
        </p:nvSpPr>
        <p:spPr>
          <a:xfrm>
            <a:off x="490668" y="368749"/>
            <a:ext cx="8068236" cy="914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3600" b="1" i="0" u="none" dirty="0" err="1">
                <a:latin typeface="Segoe UI Semibold (Überschriften)"/>
              </a:rPr>
              <a:t>Introduction</a:t>
            </a:r>
            <a:r>
              <a:rPr lang="de-DE" sz="3600" b="1" i="0" u="none" dirty="0">
                <a:latin typeface="Segoe UI Semibold (Überschriften)"/>
              </a:rPr>
              <a:t> </a:t>
            </a:r>
            <a:r>
              <a:rPr lang="de-DE" sz="3600" b="1" i="0" u="none" dirty="0" err="1">
                <a:latin typeface="Segoe UI Semibold (Überschriften)"/>
              </a:rPr>
              <a:t>to</a:t>
            </a:r>
            <a:r>
              <a:rPr lang="de-DE" sz="3600" b="1" i="0" u="none" dirty="0">
                <a:latin typeface="Segoe UI Semibold (Überschriften)"/>
              </a:rPr>
              <a:t> </a:t>
            </a:r>
            <a:r>
              <a:rPr lang="de-DE" sz="3600" b="1" i="0" u="none" dirty="0" err="1">
                <a:latin typeface="Segoe UI Semibold (Überschriften)"/>
              </a:rPr>
              <a:t>our</a:t>
            </a:r>
            <a:r>
              <a:rPr lang="de-DE" sz="3600" b="1" i="0" u="none" dirty="0">
                <a:latin typeface="Segoe UI Semibold (Überschriften)"/>
              </a:rPr>
              <a:t> </a:t>
            </a:r>
            <a:r>
              <a:rPr lang="de-DE" sz="3600" b="1" i="0" u="none" dirty="0" err="1">
                <a:latin typeface="Segoe UI Semibold (Überschriften)"/>
              </a:rPr>
              <a:t>project</a:t>
            </a:r>
            <a:endParaRPr lang="de-DE" sz="3600" b="1" i="0" u="none" dirty="0">
              <a:latin typeface="Segoe UI Semibold (Überschriften)"/>
            </a:endParaRPr>
          </a:p>
        </p:txBody>
      </p:sp>
      <p:grpSp>
        <p:nvGrpSpPr>
          <p:cNvPr id="3" name="Magnifying glass 02">
            <a:extLst>
              <a:ext uri="{FF2B5EF4-FFF2-40B4-BE49-F238E27FC236}">
                <a16:creationId xmlns:a16="http://schemas.microsoft.com/office/drawing/2014/main" id="{F6498A76-51B9-5012-7A6D-F81A29E6128C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>
          <a:xfrm>
            <a:off x="490668" y="1214941"/>
            <a:ext cx="360000" cy="360000"/>
            <a:chOff x="2811687" y="3640192"/>
            <a:chExt cx="592500" cy="592500"/>
          </a:xfrm>
          <a:solidFill>
            <a:schemeClr val="tx1"/>
          </a:solidFill>
        </p:grpSpPr>
        <p:sp>
          <p:nvSpPr>
            <p:cNvPr id="4" name="MIO_PICTOGRAM_PART2">
              <a:extLst>
                <a:ext uri="{FF2B5EF4-FFF2-40B4-BE49-F238E27FC236}">
                  <a16:creationId xmlns:a16="http://schemas.microsoft.com/office/drawing/2014/main" id="{339C484E-4C40-DE7E-C565-B11F5455DD67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>
            <a:xfrm>
              <a:off x="2811687" y="3640192"/>
              <a:ext cx="592500" cy="592500"/>
            </a:xfrm>
            <a:custGeom>
              <a:avLst/>
              <a:gdLst>
                <a:gd name="connsiteX0" fmla="*/ 363941 w 444375"/>
                <a:gd name="connsiteY0" fmla="*/ 308253 h 444375"/>
                <a:gd name="connsiteX1" fmla="*/ 329066 w 444375"/>
                <a:gd name="connsiteY1" fmla="*/ 297566 h 444375"/>
                <a:gd name="connsiteX2" fmla="*/ 303753 w 444375"/>
                <a:gd name="connsiteY2" fmla="*/ 272816 h 444375"/>
                <a:gd name="connsiteX3" fmla="*/ 338628 w 444375"/>
                <a:gd name="connsiteY3" fmla="*/ 170441 h 444375"/>
                <a:gd name="connsiteX4" fmla="*/ 169878 w 444375"/>
                <a:gd name="connsiteY4" fmla="*/ 3 h 444375"/>
                <a:gd name="connsiteX5" fmla="*/ 3 w 444375"/>
                <a:gd name="connsiteY5" fmla="*/ 168753 h 444375"/>
                <a:gd name="connsiteX6" fmla="*/ 168753 w 444375"/>
                <a:gd name="connsiteY6" fmla="*/ 338628 h 444375"/>
                <a:gd name="connsiteX7" fmla="*/ 272253 w 444375"/>
                <a:gd name="connsiteY7" fmla="*/ 303753 h 444375"/>
                <a:gd name="connsiteX8" fmla="*/ 297003 w 444375"/>
                <a:gd name="connsiteY8" fmla="*/ 328503 h 444375"/>
                <a:gd name="connsiteX9" fmla="*/ 307691 w 444375"/>
                <a:gd name="connsiteY9" fmla="*/ 363941 h 444375"/>
                <a:gd name="connsiteX10" fmla="*/ 378003 w 444375"/>
                <a:gd name="connsiteY10" fmla="*/ 434253 h 444375"/>
                <a:gd name="connsiteX11" fmla="*/ 433691 w 444375"/>
                <a:gd name="connsiteY11" fmla="*/ 434253 h 444375"/>
                <a:gd name="connsiteX12" fmla="*/ 433691 w 444375"/>
                <a:gd name="connsiteY12" fmla="*/ 378566 h 444375"/>
                <a:gd name="connsiteX13" fmla="*/ 363941 w 444375"/>
                <a:gd name="connsiteY13" fmla="*/ 308253 h 444375"/>
                <a:gd name="connsiteX14" fmla="*/ 169878 w 444375"/>
                <a:gd name="connsiteY14" fmla="*/ 304878 h 444375"/>
                <a:gd name="connsiteX15" fmla="*/ 34878 w 444375"/>
                <a:gd name="connsiteY15" fmla="*/ 169878 h 444375"/>
                <a:gd name="connsiteX16" fmla="*/ 169878 w 444375"/>
                <a:gd name="connsiteY16" fmla="*/ 34878 h 444375"/>
                <a:gd name="connsiteX17" fmla="*/ 304878 w 444375"/>
                <a:gd name="connsiteY17" fmla="*/ 169878 h 444375"/>
                <a:gd name="connsiteX18" fmla="*/ 169878 w 444375"/>
                <a:gd name="connsiteY18" fmla="*/ 304878 h 444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44375" h="444375">
                  <a:moveTo>
                    <a:pt x="363941" y="308253"/>
                  </a:moveTo>
                  <a:cubicBezTo>
                    <a:pt x="354941" y="299253"/>
                    <a:pt x="341441" y="294753"/>
                    <a:pt x="329066" y="297566"/>
                  </a:cubicBezTo>
                  <a:lnTo>
                    <a:pt x="303753" y="272816"/>
                  </a:lnTo>
                  <a:cubicBezTo>
                    <a:pt x="326253" y="243566"/>
                    <a:pt x="338628" y="207566"/>
                    <a:pt x="338628" y="170441"/>
                  </a:cubicBezTo>
                  <a:cubicBezTo>
                    <a:pt x="339191" y="76503"/>
                    <a:pt x="263253" y="566"/>
                    <a:pt x="169878" y="3"/>
                  </a:cubicBezTo>
                  <a:cubicBezTo>
                    <a:pt x="76503" y="-559"/>
                    <a:pt x="566" y="75378"/>
                    <a:pt x="3" y="168753"/>
                  </a:cubicBezTo>
                  <a:cubicBezTo>
                    <a:pt x="-559" y="262128"/>
                    <a:pt x="75378" y="338066"/>
                    <a:pt x="168753" y="338628"/>
                  </a:cubicBezTo>
                  <a:cubicBezTo>
                    <a:pt x="205878" y="338628"/>
                    <a:pt x="242441" y="326253"/>
                    <a:pt x="272253" y="303753"/>
                  </a:cubicBezTo>
                  <a:lnTo>
                    <a:pt x="297003" y="328503"/>
                  </a:lnTo>
                  <a:cubicBezTo>
                    <a:pt x="294753" y="341441"/>
                    <a:pt x="298691" y="354378"/>
                    <a:pt x="307691" y="363941"/>
                  </a:cubicBezTo>
                  <a:lnTo>
                    <a:pt x="378003" y="434253"/>
                  </a:lnTo>
                  <a:cubicBezTo>
                    <a:pt x="393191" y="449441"/>
                    <a:pt x="418503" y="449441"/>
                    <a:pt x="433691" y="434253"/>
                  </a:cubicBezTo>
                  <a:cubicBezTo>
                    <a:pt x="448878" y="419066"/>
                    <a:pt x="448878" y="393753"/>
                    <a:pt x="433691" y="378566"/>
                  </a:cubicBezTo>
                  <a:lnTo>
                    <a:pt x="363941" y="308253"/>
                  </a:lnTo>
                  <a:close/>
                  <a:moveTo>
                    <a:pt x="169878" y="304878"/>
                  </a:moveTo>
                  <a:cubicBezTo>
                    <a:pt x="95066" y="304878"/>
                    <a:pt x="34878" y="244691"/>
                    <a:pt x="34878" y="169878"/>
                  </a:cubicBezTo>
                  <a:cubicBezTo>
                    <a:pt x="34878" y="95066"/>
                    <a:pt x="95066" y="34878"/>
                    <a:pt x="169878" y="34878"/>
                  </a:cubicBezTo>
                  <a:cubicBezTo>
                    <a:pt x="244691" y="34878"/>
                    <a:pt x="304878" y="95066"/>
                    <a:pt x="304878" y="169878"/>
                  </a:cubicBezTo>
                  <a:cubicBezTo>
                    <a:pt x="304878" y="244128"/>
                    <a:pt x="244128" y="304878"/>
                    <a:pt x="169878" y="304878"/>
                  </a:cubicBezTo>
                  <a:close/>
                </a:path>
              </a:pathLst>
            </a:custGeom>
            <a:grpFill/>
            <a:ln w="55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cs typeface="Segoe UI Light"/>
              </a:endParaRPr>
            </a:p>
          </p:txBody>
        </p:sp>
        <p:sp>
          <p:nvSpPr>
            <p:cNvPr id="5" name="MIO_PICTOGRAM_PART1">
              <a:extLst>
                <a:ext uri="{FF2B5EF4-FFF2-40B4-BE49-F238E27FC236}">
                  <a16:creationId xmlns:a16="http://schemas.microsoft.com/office/drawing/2014/main" id="{9B46021B-49AC-9275-2DA6-55AC5D3EE738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>
              <a:off x="2876942" y="3751659"/>
              <a:ext cx="322500" cy="232500"/>
            </a:xfrm>
            <a:custGeom>
              <a:avLst/>
              <a:gdLst>
                <a:gd name="connsiteX0" fmla="*/ 241875 w 241875"/>
                <a:gd name="connsiteY0" fmla="*/ 77841 h 174375"/>
                <a:gd name="connsiteX1" fmla="*/ 209813 w 241875"/>
                <a:gd name="connsiteY1" fmla="*/ 77841 h 174375"/>
                <a:gd name="connsiteX2" fmla="*/ 202500 w 241875"/>
                <a:gd name="connsiteY2" fmla="*/ 82341 h 174375"/>
                <a:gd name="connsiteX3" fmla="*/ 181125 w 241875"/>
                <a:gd name="connsiteY3" fmla="*/ 105403 h 174375"/>
                <a:gd name="connsiteX4" fmla="*/ 163125 w 241875"/>
                <a:gd name="connsiteY4" fmla="*/ 42966 h 174375"/>
                <a:gd name="connsiteX5" fmla="*/ 150750 w 241875"/>
                <a:gd name="connsiteY5" fmla="*/ 36216 h 174375"/>
                <a:gd name="connsiteX6" fmla="*/ 144000 w 241875"/>
                <a:gd name="connsiteY6" fmla="*/ 42403 h 174375"/>
                <a:gd name="connsiteX7" fmla="*/ 110250 w 241875"/>
                <a:gd name="connsiteY7" fmla="*/ 131841 h 174375"/>
                <a:gd name="connsiteX8" fmla="*/ 87188 w 241875"/>
                <a:gd name="connsiteY8" fmla="*/ 8091 h 174375"/>
                <a:gd name="connsiteX9" fmla="*/ 75938 w 241875"/>
                <a:gd name="connsiteY9" fmla="*/ 216 h 174375"/>
                <a:gd name="connsiteX10" fmla="*/ 68063 w 241875"/>
                <a:gd name="connsiteY10" fmla="*/ 6966 h 174375"/>
                <a:gd name="connsiteX11" fmla="*/ 43875 w 241875"/>
                <a:gd name="connsiteY11" fmla="*/ 77841 h 174375"/>
                <a:gd name="connsiteX12" fmla="*/ 0 w 241875"/>
                <a:gd name="connsiteY12" fmla="*/ 77841 h 174375"/>
                <a:gd name="connsiteX13" fmla="*/ 0 w 241875"/>
                <a:gd name="connsiteY13" fmla="*/ 100341 h 174375"/>
                <a:gd name="connsiteX14" fmla="*/ 51188 w 241875"/>
                <a:gd name="connsiteY14" fmla="*/ 100341 h 174375"/>
                <a:gd name="connsiteX15" fmla="*/ 60750 w 241875"/>
                <a:gd name="connsiteY15" fmla="*/ 91903 h 174375"/>
                <a:gd name="connsiteX16" fmla="*/ 74812 w 241875"/>
                <a:gd name="connsiteY16" fmla="*/ 49153 h 174375"/>
                <a:gd name="connsiteX17" fmla="*/ 97312 w 241875"/>
                <a:gd name="connsiteY17" fmla="*/ 170091 h 174375"/>
                <a:gd name="connsiteX18" fmla="*/ 106313 w 241875"/>
                <a:gd name="connsiteY18" fmla="*/ 177966 h 174375"/>
                <a:gd name="connsiteX19" fmla="*/ 107437 w 241875"/>
                <a:gd name="connsiteY19" fmla="*/ 177966 h 174375"/>
                <a:gd name="connsiteX20" fmla="*/ 117000 w 241875"/>
                <a:gd name="connsiteY20" fmla="*/ 171778 h 174375"/>
                <a:gd name="connsiteX21" fmla="*/ 153000 w 241875"/>
                <a:gd name="connsiteY21" fmla="*/ 77278 h 174375"/>
                <a:gd name="connsiteX22" fmla="*/ 167625 w 241875"/>
                <a:gd name="connsiteY22" fmla="*/ 127903 h 174375"/>
                <a:gd name="connsiteX23" fmla="*/ 180000 w 241875"/>
                <a:gd name="connsiteY23" fmla="*/ 134653 h 174375"/>
                <a:gd name="connsiteX24" fmla="*/ 184500 w 241875"/>
                <a:gd name="connsiteY24" fmla="*/ 131841 h 174375"/>
                <a:gd name="connsiteX25" fmla="*/ 214875 w 241875"/>
                <a:gd name="connsiteY25" fmla="*/ 100341 h 174375"/>
                <a:gd name="connsiteX26" fmla="*/ 242437 w 241875"/>
                <a:gd name="connsiteY26" fmla="*/ 100341 h 174375"/>
                <a:gd name="connsiteX27" fmla="*/ 242437 w 241875"/>
                <a:gd name="connsiteY27" fmla="*/ 77841 h 174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41875" h="174375">
                  <a:moveTo>
                    <a:pt x="241875" y="77841"/>
                  </a:moveTo>
                  <a:lnTo>
                    <a:pt x="209813" y="77841"/>
                  </a:lnTo>
                  <a:cubicBezTo>
                    <a:pt x="207000" y="78403"/>
                    <a:pt x="204188" y="80091"/>
                    <a:pt x="202500" y="82341"/>
                  </a:cubicBezTo>
                  <a:lnTo>
                    <a:pt x="181125" y="105403"/>
                  </a:lnTo>
                  <a:lnTo>
                    <a:pt x="163125" y="42966"/>
                  </a:lnTo>
                  <a:cubicBezTo>
                    <a:pt x="161438" y="37903"/>
                    <a:pt x="155813" y="34528"/>
                    <a:pt x="150750" y="36216"/>
                  </a:cubicBezTo>
                  <a:cubicBezTo>
                    <a:pt x="147938" y="37341"/>
                    <a:pt x="145125" y="39028"/>
                    <a:pt x="144000" y="42403"/>
                  </a:cubicBezTo>
                  <a:lnTo>
                    <a:pt x="110250" y="131841"/>
                  </a:lnTo>
                  <a:lnTo>
                    <a:pt x="87188" y="8091"/>
                  </a:lnTo>
                  <a:cubicBezTo>
                    <a:pt x="86062" y="2466"/>
                    <a:pt x="81000" y="-909"/>
                    <a:pt x="75938" y="216"/>
                  </a:cubicBezTo>
                  <a:cubicBezTo>
                    <a:pt x="72563" y="778"/>
                    <a:pt x="69750" y="3591"/>
                    <a:pt x="68063" y="6966"/>
                  </a:cubicBezTo>
                  <a:lnTo>
                    <a:pt x="43875" y="77841"/>
                  </a:lnTo>
                  <a:lnTo>
                    <a:pt x="0" y="77841"/>
                  </a:lnTo>
                  <a:lnTo>
                    <a:pt x="0" y="100341"/>
                  </a:lnTo>
                  <a:lnTo>
                    <a:pt x="51188" y="100341"/>
                  </a:lnTo>
                  <a:cubicBezTo>
                    <a:pt x="55687" y="99778"/>
                    <a:pt x="59625" y="96403"/>
                    <a:pt x="60750" y="91903"/>
                  </a:cubicBezTo>
                  <a:lnTo>
                    <a:pt x="74812" y="49153"/>
                  </a:lnTo>
                  <a:lnTo>
                    <a:pt x="97312" y="170091"/>
                  </a:lnTo>
                  <a:cubicBezTo>
                    <a:pt x="97875" y="174591"/>
                    <a:pt x="101812" y="177966"/>
                    <a:pt x="106313" y="177966"/>
                  </a:cubicBezTo>
                  <a:lnTo>
                    <a:pt x="107437" y="177966"/>
                  </a:lnTo>
                  <a:cubicBezTo>
                    <a:pt x="111375" y="177966"/>
                    <a:pt x="115313" y="175716"/>
                    <a:pt x="117000" y="171778"/>
                  </a:cubicBezTo>
                  <a:lnTo>
                    <a:pt x="153000" y="77278"/>
                  </a:lnTo>
                  <a:lnTo>
                    <a:pt x="167625" y="127903"/>
                  </a:lnTo>
                  <a:cubicBezTo>
                    <a:pt x="169312" y="132966"/>
                    <a:pt x="174375" y="136341"/>
                    <a:pt x="180000" y="134653"/>
                  </a:cubicBezTo>
                  <a:cubicBezTo>
                    <a:pt x="181688" y="134091"/>
                    <a:pt x="183375" y="132966"/>
                    <a:pt x="184500" y="131841"/>
                  </a:cubicBezTo>
                  <a:lnTo>
                    <a:pt x="214875" y="100341"/>
                  </a:lnTo>
                  <a:lnTo>
                    <a:pt x="242437" y="100341"/>
                  </a:lnTo>
                  <a:lnTo>
                    <a:pt x="242437" y="77841"/>
                  </a:lnTo>
                  <a:close/>
                </a:path>
              </a:pathLst>
            </a:custGeom>
            <a:grpFill/>
            <a:ln w="55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cs typeface="Segoe UI Light"/>
              </a:endParaRPr>
            </a:p>
          </p:txBody>
        </p:sp>
      </p:grpSp>
      <p:sp>
        <p:nvSpPr>
          <p:cNvPr id="8" name="Textfeld 7">
            <a:extLst>
              <a:ext uri="{FF2B5EF4-FFF2-40B4-BE49-F238E27FC236}">
                <a16:creationId xmlns:a16="http://schemas.microsoft.com/office/drawing/2014/main" id="{3158F170-0A80-0E78-456C-AE516630B8B5}"/>
              </a:ext>
            </a:extLst>
          </p:cNvPr>
          <p:cNvSpPr txBox="1"/>
          <p:nvPr/>
        </p:nvSpPr>
        <p:spPr>
          <a:xfrm>
            <a:off x="7768000" y="1994928"/>
            <a:ext cx="1080000" cy="3600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i="0" u="none" dirty="0"/>
              <a:t>ID3 </a:t>
            </a:r>
            <a:r>
              <a:rPr lang="de-DE" sz="1600" b="1" i="0" u="none" dirty="0" err="1"/>
              <a:t>price</a:t>
            </a:r>
            <a:endParaRPr lang="de-DE" sz="1600" b="1" i="0" u="none" dirty="0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0DE783E5-306C-A5F2-EA39-B353A1763585}"/>
              </a:ext>
            </a:extLst>
          </p:cNvPr>
          <p:cNvSpPr txBox="1"/>
          <p:nvPr/>
        </p:nvSpPr>
        <p:spPr>
          <a:xfrm>
            <a:off x="1036320" y="1994928"/>
            <a:ext cx="1080000" cy="3600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i="0" u="none" dirty="0"/>
              <a:t>Intraday </a:t>
            </a:r>
            <a:r>
              <a:rPr lang="de-DE" sz="1600" b="1" i="0" u="none" dirty="0" err="1"/>
              <a:t>market</a:t>
            </a:r>
            <a:endParaRPr lang="de-DE" sz="1600" b="1" i="0" u="none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01AB6817-A8D9-A1AD-0293-9F307416C57B}"/>
              </a:ext>
            </a:extLst>
          </p:cNvPr>
          <p:cNvSpPr txBox="1"/>
          <p:nvPr/>
        </p:nvSpPr>
        <p:spPr>
          <a:xfrm>
            <a:off x="2680988" y="1994928"/>
            <a:ext cx="2764771" cy="545071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err="1"/>
              <a:t>b</a:t>
            </a:r>
            <a:r>
              <a:rPr lang="de-DE" sz="1600" b="0" i="0" u="none" dirty="0" err="1"/>
              <a:t>uy</a:t>
            </a:r>
            <a:r>
              <a:rPr lang="de-DE" sz="1600" b="0" i="0" u="none" dirty="0"/>
              <a:t> / </a:t>
            </a:r>
            <a:r>
              <a:rPr lang="de-DE" sz="1600" b="0" i="0" u="none" dirty="0" err="1"/>
              <a:t>sell</a:t>
            </a:r>
            <a:r>
              <a:rPr lang="de-DE" sz="1600" b="0" i="0" u="none" dirty="0"/>
              <a:t> </a:t>
            </a:r>
            <a:r>
              <a:rPr lang="de-DE" sz="1600" b="0" i="0" u="none" dirty="0" err="1"/>
              <a:t>energy</a:t>
            </a:r>
            <a:r>
              <a:rPr lang="de-DE" sz="1600" b="0" i="0" u="none" dirty="0"/>
              <a:t> </a:t>
            </a:r>
            <a:r>
              <a:rPr lang="de-DE" sz="1600" b="0" i="0" u="none" dirty="0" err="1"/>
              <a:t>during</a:t>
            </a:r>
            <a:r>
              <a:rPr lang="de-DE" sz="1600" b="0" i="0" u="none" dirty="0"/>
              <a:t> </a:t>
            </a:r>
            <a:r>
              <a:rPr lang="de-DE" sz="1600" b="0" i="0" u="none" dirty="0" err="1"/>
              <a:t>the</a:t>
            </a:r>
            <a:r>
              <a:rPr lang="de-DE" sz="1600" b="0" i="0" u="none" dirty="0"/>
              <a:t> </a:t>
            </a:r>
            <a:r>
              <a:rPr lang="de-DE" sz="1600" b="0" i="0" u="none" dirty="0" err="1"/>
              <a:t>day</a:t>
            </a:r>
            <a:endParaRPr lang="de-DE" sz="1600" b="0" i="0" u="none" dirty="0"/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0" i="0" u="none" dirty="0" err="1"/>
              <a:t>to</a:t>
            </a:r>
            <a:r>
              <a:rPr lang="de-DE" sz="1600" b="0" i="0" u="none" dirty="0"/>
              <a:t> </a:t>
            </a:r>
            <a:r>
              <a:rPr lang="de-DE" sz="1600" b="0" i="0" u="none" dirty="0" err="1"/>
              <a:t>avoid</a:t>
            </a:r>
            <a:r>
              <a:rPr lang="de-DE" sz="1600" b="0" i="0" u="none" dirty="0"/>
              <a:t> </a:t>
            </a:r>
            <a:r>
              <a:rPr lang="de-DE" sz="1600" b="0" i="0" u="none" dirty="0" err="1"/>
              <a:t>imbalance</a:t>
            </a:r>
            <a:r>
              <a:rPr lang="de-DE" sz="1600" b="0" i="0" u="none" dirty="0"/>
              <a:t> </a:t>
            </a:r>
            <a:r>
              <a:rPr lang="de-DE" sz="1600" b="0" i="0" u="none" dirty="0" err="1"/>
              <a:t>costs</a:t>
            </a:r>
            <a:endParaRPr lang="de-DE" sz="1600" b="0" i="0" u="none" dirty="0"/>
          </a:p>
        </p:txBody>
      </p:sp>
    </p:spTree>
    <p:extLst>
      <p:ext uri="{BB962C8B-B14F-4D97-AF65-F5344CB8AC3E}">
        <p14:creationId xmlns:p14="http://schemas.microsoft.com/office/powerpoint/2010/main" val="34033440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0E0D5A66-3AFC-2FE5-E2F9-B3F69F372DDA}"/>
              </a:ext>
            </a:extLst>
          </p:cNvPr>
          <p:cNvSpPr txBox="1"/>
          <p:nvPr/>
        </p:nvSpPr>
        <p:spPr>
          <a:xfrm>
            <a:off x="1036320" y="1275016"/>
            <a:ext cx="914400" cy="914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/>
              <a:t>Forecast </a:t>
            </a:r>
            <a:r>
              <a:rPr lang="de-DE" sz="1600" dirty="0" err="1"/>
              <a:t>the</a:t>
            </a:r>
            <a:r>
              <a:rPr lang="de-DE" sz="1600" dirty="0"/>
              <a:t> ID3 </a:t>
            </a:r>
            <a:r>
              <a:rPr lang="de-DE" sz="1600" dirty="0" err="1"/>
              <a:t>price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turkish</a:t>
            </a:r>
            <a:r>
              <a:rPr lang="de-DE" sz="1600" dirty="0"/>
              <a:t> </a:t>
            </a:r>
            <a:r>
              <a:rPr lang="de-DE" sz="1600" dirty="0" err="1"/>
              <a:t>intraday</a:t>
            </a:r>
            <a:r>
              <a:rPr lang="de-DE" sz="1600" dirty="0"/>
              <a:t> </a:t>
            </a:r>
            <a:r>
              <a:rPr lang="de-DE" sz="1600" dirty="0" err="1"/>
              <a:t>electricity</a:t>
            </a:r>
            <a:r>
              <a:rPr lang="de-DE" sz="1600" dirty="0"/>
              <a:t> </a:t>
            </a:r>
            <a:r>
              <a:rPr lang="de-DE" sz="1600" dirty="0" err="1"/>
              <a:t>market</a:t>
            </a:r>
            <a:endParaRPr lang="de-DE" sz="1600" b="0" i="0" u="none" dirty="0"/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EFA65F0A-182F-6ACB-69DB-C5DCB89055B7}"/>
              </a:ext>
            </a:extLst>
          </p:cNvPr>
          <p:cNvCxnSpPr/>
          <p:nvPr/>
        </p:nvCxnSpPr>
        <p:spPr>
          <a:xfrm>
            <a:off x="448291" y="1778000"/>
            <a:ext cx="11295417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94041A48-6112-AD21-F82F-B772E5D6BB6C}"/>
              </a:ext>
            </a:extLst>
          </p:cNvPr>
          <p:cNvGrpSpPr/>
          <p:nvPr/>
        </p:nvGrpSpPr>
        <p:grpSpPr>
          <a:xfrm>
            <a:off x="2870450" y="2543860"/>
            <a:ext cx="1525293" cy="1983600"/>
            <a:chOff x="3045860" y="2645460"/>
            <a:chExt cx="1525293" cy="1983600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94684945-8AFB-E54F-FAA6-5D502E8882BA}"/>
                </a:ext>
              </a:extLst>
            </p:cNvPr>
            <p:cNvSpPr/>
            <p:nvPr/>
          </p:nvSpPr>
          <p:spPr>
            <a:xfrm>
              <a:off x="3045860" y="2645460"/>
              <a:ext cx="1525293" cy="198360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7200" tIns="97200" rIns="97200" bIns="97200" rtlCol="0" anchor="ctr"/>
            <a:lstStyle/>
            <a:p>
              <a:pPr algn="ctr" defTabSz="486000"/>
              <a:endParaRPr lang="de-DE" sz="1600" dirty="0">
                <a:solidFill>
                  <a:schemeClr val="tx1"/>
                </a:solidFill>
              </a:endParaRPr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B5114924-A2C7-7FC3-FA61-2C85F82CDAC3}"/>
                </a:ext>
              </a:extLst>
            </p:cNvPr>
            <p:cNvGrpSpPr/>
            <p:nvPr/>
          </p:nvGrpSpPr>
          <p:grpSpPr>
            <a:xfrm>
              <a:off x="3102386" y="2689411"/>
              <a:ext cx="1422400" cy="1681949"/>
              <a:chOff x="2098038" y="2455731"/>
              <a:chExt cx="1422400" cy="1681949"/>
            </a:xfrm>
          </p:grpSpPr>
          <p:pic>
            <p:nvPicPr>
              <p:cNvPr id="3" name="Grafik 2" descr="Benutzer Silhouette">
                <a:extLst>
                  <a:ext uri="{FF2B5EF4-FFF2-40B4-BE49-F238E27FC236}">
                    <a16:creationId xmlns:a16="http://schemas.microsoft.com/office/drawing/2014/main" id="{F16FCDEA-70ED-9961-D759-17DAC3AA5F5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2387600" y="2778761"/>
                <a:ext cx="833119" cy="833119"/>
              </a:xfrm>
              <a:prstGeom prst="rect">
                <a:avLst/>
              </a:prstGeom>
            </p:spPr>
          </p:pic>
          <p:sp>
            <p:nvSpPr>
              <p:cNvPr id="4" name="Textfeld 3">
                <a:extLst>
                  <a:ext uri="{FF2B5EF4-FFF2-40B4-BE49-F238E27FC236}">
                    <a16:creationId xmlns:a16="http://schemas.microsoft.com/office/drawing/2014/main" id="{4DD8443F-DF91-88E3-3120-0EFD8A580F7B}"/>
                  </a:ext>
                </a:extLst>
              </p:cNvPr>
              <p:cNvSpPr txBox="1"/>
              <p:nvPr/>
            </p:nvSpPr>
            <p:spPr>
              <a:xfrm>
                <a:off x="2468880" y="2455731"/>
                <a:ext cx="833119" cy="947849"/>
              </a:xfrm>
              <a:prstGeom prst="rect">
                <a:avLst/>
              </a:prstGeom>
              <a:noFill/>
            </p:spPr>
            <p:txBody>
              <a:bodyPr vert="horz" wrap="none" lIns="0" tIns="0" rIns="0" bIns="0" rtlCol="0">
                <a:noAutofit/>
              </a:bodyPr>
              <a:lstStyle/>
              <a:p>
                <a:pPr algn="l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600" b="1" i="0" u="none" dirty="0"/>
                  <a:t>Producer</a:t>
                </a:r>
              </a:p>
            </p:txBody>
          </p:sp>
          <p:pic>
            <p:nvPicPr>
              <p:cNvPr id="6" name="Grafik 5" descr="Windkraftanlagen Silhouette">
                <a:extLst>
                  <a:ext uri="{FF2B5EF4-FFF2-40B4-BE49-F238E27FC236}">
                    <a16:creationId xmlns:a16="http://schemas.microsoft.com/office/drawing/2014/main" id="{53F290A2-EA6D-332A-2359-B3EDFFD38C3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2098038" y="3611880"/>
                <a:ext cx="457201" cy="457201"/>
              </a:xfrm>
              <a:prstGeom prst="rect">
                <a:avLst/>
              </a:prstGeom>
            </p:spPr>
          </p:pic>
          <p:pic>
            <p:nvPicPr>
              <p:cNvPr id="11" name="Grafik 10" descr="Fabrik Silhouette">
                <a:extLst>
                  <a:ext uri="{FF2B5EF4-FFF2-40B4-BE49-F238E27FC236}">
                    <a16:creationId xmlns:a16="http://schemas.microsoft.com/office/drawing/2014/main" id="{4EFB40D3-547E-43B6-AE4C-EBD889AD15C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2885439" y="3502681"/>
                <a:ext cx="634999" cy="634999"/>
              </a:xfrm>
              <a:prstGeom prst="rect">
                <a:avLst/>
              </a:prstGeom>
            </p:spPr>
          </p:pic>
        </p:grpSp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38981030-2149-632F-4102-E232BC93C0D3}"/>
              </a:ext>
            </a:extLst>
          </p:cNvPr>
          <p:cNvGrpSpPr/>
          <p:nvPr/>
        </p:nvGrpSpPr>
        <p:grpSpPr>
          <a:xfrm>
            <a:off x="7796257" y="2543860"/>
            <a:ext cx="1525293" cy="1983600"/>
            <a:chOff x="7796257" y="2543860"/>
            <a:chExt cx="1525293" cy="1983600"/>
          </a:xfrm>
        </p:grpSpPr>
        <p:grpSp>
          <p:nvGrpSpPr>
            <p:cNvPr id="19" name="Gruppieren 18">
              <a:extLst>
                <a:ext uri="{FF2B5EF4-FFF2-40B4-BE49-F238E27FC236}">
                  <a16:creationId xmlns:a16="http://schemas.microsoft.com/office/drawing/2014/main" id="{F783BF81-8606-6C90-3C24-F905F7FAE9F5}"/>
                </a:ext>
              </a:extLst>
            </p:cNvPr>
            <p:cNvGrpSpPr/>
            <p:nvPr/>
          </p:nvGrpSpPr>
          <p:grpSpPr>
            <a:xfrm>
              <a:off x="7796257" y="2543860"/>
              <a:ext cx="1525293" cy="1983600"/>
              <a:chOff x="3045860" y="2645460"/>
              <a:chExt cx="1525293" cy="1983600"/>
            </a:xfrm>
          </p:grpSpPr>
          <p:sp>
            <p:nvSpPr>
              <p:cNvPr id="20" name="Rechteck 19">
                <a:extLst>
                  <a:ext uri="{FF2B5EF4-FFF2-40B4-BE49-F238E27FC236}">
                    <a16:creationId xmlns:a16="http://schemas.microsoft.com/office/drawing/2014/main" id="{FB19C8B1-7813-98AD-83EC-620FE0099757}"/>
                  </a:ext>
                </a:extLst>
              </p:cNvPr>
              <p:cNvSpPr/>
              <p:nvPr/>
            </p:nvSpPr>
            <p:spPr>
              <a:xfrm>
                <a:off x="3045860" y="2645460"/>
                <a:ext cx="1525293" cy="1983600"/>
              </a:xfrm>
              <a:prstGeom prst="rect">
                <a:avLst/>
              </a:prstGeom>
              <a:solidFill>
                <a:schemeClr val="bg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rgbClr val="666666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7200" tIns="97200" rIns="97200" bIns="97200" rtlCol="0" anchor="ctr"/>
              <a:lstStyle/>
              <a:p>
                <a:pPr algn="ctr" defTabSz="486000"/>
                <a:endParaRPr lang="de-DE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3" name="Textfeld 22">
                <a:extLst>
                  <a:ext uri="{FF2B5EF4-FFF2-40B4-BE49-F238E27FC236}">
                    <a16:creationId xmlns:a16="http://schemas.microsoft.com/office/drawing/2014/main" id="{78762981-F65C-A7CA-4417-9C28D2A92190}"/>
                  </a:ext>
                </a:extLst>
              </p:cNvPr>
              <p:cNvSpPr txBox="1"/>
              <p:nvPr/>
            </p:nvSpPr>
            <p:spPr>
              <a:xfrm>
                <a:off x="3473228" y="2689412"/>
                <a:ext cx="833119" cy="390290"/>
              </a:xfrm>
              <a:prstGeom prst="rect">
                <a:avLst/>
              </a:prstGeom>
              <a:noFill/>
            </p:spPr>
            <p:txBody>
              <a:bodyPr vert="horz" wrap="none" lIns="0" tIns="0" rIns="0" bIns="0" rtlCol="0">
                <a:noAutofit/>
              </a:bodyPr>
              <a:lstStyle/>
              <a:p>
                <a:pPr algn="l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600" b="1" dirty="0"/>
                  <a:t>Market</a:t>
                </a:r>
                <a:endParaRPr lang="de-DE" sz="1600" b="1" i="0" u="none" dirty="0"/>
              </a:p>
            </p:txBody>
          </p:sp>
        </p:grpSp>
        <p:pic>
          <p:nvPicPr>
            <p:cNvPr id="27" name="Grafik 26" descr="Warenkorb Silhouette">
              <a:extLst>
                <a:ext uri="{FF2B5EF4-FFF2-40B4-BE49-F238E27FC236}">
                  <a16:creationId xmlns:a16="http://schemas.microsoft.com/office/drawing/2014/main" id="{A29C65B8-3709-9566-F974-86497F333C6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8198903" y="3159899"/>
              <a:ext cx="720000" cy="720000"/>
            </a:xfrm>
            <a:prstGeom prst="rect">
              <a:avLst/>
            </a:prstGeom>
          </p:spPr>
        </p:pic>
      </p:grpSp>
      <p:sp>
        <p:nvSpPr>
          <p:cNvPr id="30" name="Textfeld 29">
            <a:extLst>
              <a:ext uri="{FF2B5EF4-FFF2-40B4-BE49-F238E27FC236}">
                <a16:creationId xmlns:a16="http://schemas.microsoft.com/office/drawing/2014/main" id="{9B845DA0-11B7-257A-6039-44A3111C1C45}"/>
              </a:ext>
            </a:extLst>
          </p:cNvPr>
          <p:cNvSpPr txBox="1"/>
          <p:nvPr/>
        </p:nvSpPr>
        <p:spPr>
          <a:xfrm>
            <a:off x="5313680" y="4643120"/>
            <a:ext cx="914400" cy="914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600" b="0" i="0" u="none" dirty="0" err="1"/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C3DA468D-BA46-7369-34A3-1C1A3A6E627B}"/>
              </a:ext>
            </a:extLst>
          </p:cNvPr>
          <p:cNvSpPr txBox="1"/>
          <p:nvPr/>
        </p:nvSpPr>
        <p:spPr>
          <a:xfrm>
            <a:off x="4358772" y="4836119"/>
            <a:ext cx="3474455" cy="914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>
            <a:lvl1pPr>
              <a:buClr>
                <a:schemeClr val="accent1"/>
              </a:buClr>
              <a:buFont typeface="Wingdings" panose="05000000000000000000" pitchFamily="2" charset="2"/>
              <a:buChar char="§"/>
            </a:lvl1pPr>
            <a:lvl2pPr>
              <a:buClr>
                <a:schemeClr val="accent1"/>
              </a:buClr>
              <a:buFont typeface="Wingdings" panose="05000000000000000000" pitchFamily="2" charset="2"/>
              <a:buChar char="§"/>
            </a:lvl2pPr>
            <a:lvl3pPr>
              <a:buFont typeface="Symbol" panose="05050102010706020507" pitchFamily="18" charset="2"/>
              <a:buChar char="-"/>
            </a:lvl3pPr>
            <a:lvl4pPr>
              <a:buFont typeface="Symbol" panose="05050102010706020507" pitchFamily="18" charset="2"/>
              <a:buChar char="-"/>
            </a:lvl4pPr>
            <a:lvl5pPr>
              <a:buFont typeface="+mj-lt"/>
              <a:buAutoNum type="arabicPeriod"/>
            </a:lvl5pPr>
            <a:lvl6pPr>
              <a:buFont typeface="+mj-lt"/>
              <a:buAutoNum type="arabicPeriod"/>
            </a:lvl6pPr>
            <a:lvl7pPr>
              <a:buFont typeface="+mj-lt"/>
              <a:buAutoNum type="alphaLcPeriod"/>
            </a:lvl7pPr>
            <a:lvl8pPr>
              <a:buFontTx/>
              <a:buBlip>
                <a:blip r:embed="rId13"/>
              </a:buBlip>
            </a:lvl8pPr>
            <a:lvl9pPr>
              <a:buFont typeface="Wingdings" panose="05000000000000000000" pitchFamily="2" charset="2"/>
              <a:buChar char="û"/>
            </a:lvl9pPr>
          </a:lstStyle>
          <a:p>
            <a:pPr marL="285750" indent="-285750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0" i="0" u="none" dirty="0"/>
              <a:t>Market </a:t>
            </a:r>
            <a:r>
              <a:rPr lang="de-DE" sz="1600" b="0" i="0" u="none" dirty="0" err="1"/>
              <a:t>license</a:t>
            </a:r>
            <a:r>
              <a:rPr lang="de-DE" sz="1600" b="0" i="0" u="none" dirty="0"/>
              <a:t> </a:t>
            </a:r>
            <a:r>
              <a:rPr lang="de-DE" sz="1600" b="0" i="0" u="none" dirty="0" err="1"/>
              <a:t>is</a:t>
            </a:r>
            <a:r>
              <a:rPr lang="de-DE" sz="1600" b="0" i="0" u="none" dirty="0"/>
              <a:t> expensive</a:t>
            </a:r>
          </a:p>
          <a:p>
            <a:pPr marL="285750" indent="-285750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/>
              <a:t>Not </a:t>
            </a:r>
            <a:r>
              <a:rPr lang="de-DE" sz="1600" dirty="0" err="1"/>
              <a:t>necessary</a:t>
            </a:r>
            <a:r>
              <a:rPr lang="de-DE" sz="1600" dirty="0"/>
              <a:t> </a:t>
            </a:r>
            <a:r>
              <a:rPr lang="de-DE" sz="1600" dirty="0" err="1"/>
              <a:t>to</a:t>
            </a:r>
            <a:r>
              <a:rPr lang="de-DE" sz="1600" dirty="0"/>
              <a:t> </a:t>
            </a:r>
            <a:r>
              <a:rPr lang="de-DE" sz="1600" dirty="0" err="1"/>
              <a:t>have</a:t>
            </a:r>
            <a:r>
              <a:rPr lang="de-DE" sz="1600" dirty="0"/>
              <a:t> an own </a:t>
            </a:r>
            <a:r>
              <a:rPr lang="de-DE" sz="1600" dirty="0" err="1"/>
              <a:t>t</a:t>
            </a:r>
            <a:r>
              <a:rPr lang="de-DE" sz="1600" b="0" i="0" u="none" dirty="0" err="1"/>
              <a:t>rader</a:t>
            </a:r>
            <a:br>
              <a:rPr lang="de-DE" sz="1600" dirty="0"/>
            </a:br>
            <a:r>
              <a:rPr lang="de-DE" sz="1600" dirty="0" err="1"/>
              <a:t>when</a:t>
            </a:r>
            <a:r>
              <a:rPr lang="de-DE" sz="1600" dirty="0"/>
              <a:t> </a:t>
            </a:r>
            <a:r>
              <a:rPr lang="de-DE" sz="1600" dirty="0" err="1"/>
              <a:t>you</a:t>
            </a:r>
            <a:r>
              <a:rPr lang="de-DE" sz="1600" dirty="0"/>
              <a:t> </a:t>
            </a:r>
            <a:r>
              <a:rPr lang="de-DE" sz="1600" dirty="0" err="1"/>
              <a:t>are</a:t>
            </a:r>
            <a:r>
              <a:rPr lang="de-DE" sz="1600" dirty="0"/>
              <a:t> a </a:t>
            </a:r>
            <a:r>
              <a:rPr lang="de-DE" sz="1600" dirty="0" err="1"/>
              <a:t>small</a:t>
            </a:r>
            <a:r>
              <a:rPr lang="de-DE" sz="1600" dirty="0"/>
              <a:t> </a:t>
            </a:r>
            <a:r>
              <a:rPr lang="de-DE" sz="1600" dirty="0" err="1"/>
              <a:t>company</a:t>
            </a:r>
            <a:endParaRPr lang="de-DE" sz="1600" b="0" i="0" u="none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7FBB1A96-900D-6D7D-CA3C-26AFDF63E940}"/>
              </a:ext>
            </a:extLst>
          </p:cNvPr>
          <p:cNvSpPr txBox="1"/>
          <p:nvPr/>
        </p:nvSpPr>
        <p:spPr>
          <a:xfrm>
            <a:off x="490668" y="368749"/>
            <a:ext cx="8068236" cy="914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3600" b="1" i="0" u="none" dirty="0" err="1">
                <a:latin typeface="Segoe UI Semibold (Überschriften)"/>
              </a:rPr>
              <a:t>Introduction</a:t>
            </a:r>
            <a:r>
              <a:rPr lang="de-DE" sz="3600" b="1" i="0" u="none" dirty="0">
                <a:latin typeface="Segoe UI Semibold (Überschriften)"/>
              </a:rPr>
              <a:t> </a:t>
            </a:r>
            <a:r>
              <a:rPr lang="de-DE" sz="3600" b="1" i="0" u="none" dirty="0" err="1">
                <a:latin typeface="Segoe UI Semibold (Überschriften)"/>
              </a:rPr>
              <a:t>to</a:t>
            </a:r>
            <a:r>
              <a:rPr lang="de-DE" sz="3600" b="1" i="0" u="none" dirty="0">
                <a:latin typeface="Segoe UI Semibold (Überschriften)"/>
              </a:rPr>
              <a:t> </a:t>
            </a:r>
            <a:r>
              <a:rPr lang="de-DE" sz="3600" b="1" i="0" u="none" dirty="0" err="1">
                <a:latin typeface="Segoe UI Semibold (Überschriften)"/>
              </a:rPr>
              <a:t>our</a:t>
            </a:r>
            <a:r>
              <a:rPr lang="de-DE" sz="3600" b="1" i="0" u="none" dirty="0">
                <a:latin typeface="Segoe UI Semibold (Überschriften)"/>
              </a:rPr>
              <a:t> </a:t>
            </a:r>
            <a:r>
              <a:rPr lang="de-DE" sz="3600" b="1" i="0" u="none" dirty="0" err="1">
                <a:latin typeface="Segoe UI Semibold (Überschriften)"/>
              </a:rPr>
              <a:t>project</a:t>
            </a:r>
            <a:endParaRPr lang="de-DE" sz="3600" b="1" i="0" u="none" dirty="0">
              <a:latin typeface="Segoe UI Semibold (Überschriften)"/>
            </a:endParaRPr>
          </a:p>
        </p:txBody>
      </p:sp>
      <p:grpSp>
        <p:nvGrpSpPr>
          <p:cNvPr id="5" name="Magnifying glass 02">
            <a:extLst>
              <a:ext uri="{FF2B5EF4-FFF2-40B4-BE49-F238E27FC236}">
                <a16:creationId xmlns:a16="http://schemas.microsoft.com/office/drawing/2014/main" id="{C6C71CF4-0F94-78DD-496C-17D42E1374EF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>
          <a:xfrm>
            <a:off x="490668" y="1214941"/>
            <a:ext cx="360000" cy="360000"/>
            <a:chOff x="2811687" y="3640192"/>
            <a:chExt cx="592500" cy="592500"/>
          </a:xfrm>
          <a:solidFill>
            <a:schemeClr val="tx1"/>
          </a:solidFill>
        </p:grpSpPr>
        <p:sp>
          <p:nvSpPr>
            <p:cNvPr id="18" name="MIO_PICTOGRAM_PART2">
              <a:extLst>
                <a:ext uri="{FF2B5EF4-FFF2-40B4-BE49-F238E27FC236}">
                  <a16:creationId xmlns:a16="http://schemas.microsoft.com/office/drawing/2014/main" id="{911219B3-3CE4-AD52-868E-2D460C3552B2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>
            <a:xfrm>
              <a:off x="2811687" y="3640192"/>
              <a:ext cx="592500" cy="592500"/>
            </a:xfrm>
            <a:custGeom>
              <a:avLst/>
              <a:gdLst>
                <a:gd name="connsiteX0" fmla="*/ 363941 w 444375"/>
                <a:gd name="connsiteY0" fmla="*/ 308253 h 444375"/>
                <a:gd name="connsiteX1" fmla="*/ 329066 w 444375"/>
                <a:gd name="connsiteY1" fmla="*/ 297566 h 444375"/>
                <a:gd name="connsiteX2" fmla="*/ 303753 w 444375"/>
                <a:gd name="connsiteY2" fmla="*/ 272816 h 444375"/>
                <a:gd name="connsiteX3" fmla="*/ 338628 w 444375"/>
                <a:gd name="connsiteY3" fmla="*/ 170441 h 444375"/>
                <a:gd name="connsiteX4" fmla="*/ 169878 w 444375"/>
                <a:gd name="connsiteY4" fmla="*/ 3 h 444375"/>
                <a:gd name="connsiteX5" fmla="*/ 3 w 444375"/>
                <a:gd name="connsiteY5" fmla="*/ 168753 h 444375"/>
                <a:gd name="connsiteX6" fmla="*/ 168753 w 444375"/>
                <a:gd name="connsiteY6" fmla="*/ 338628 h 444375"/>
                <a:gd name="connsiteX7" fmla="*/ 272253 w 444375"/>
                <a:gd name="connsiteY7" fmla="*/ 303753 h 444375"/>
                <a:gd name="connsiteX8" fmla="*/ 297003 w 444375"/>
                <a:gd name="connsiteY8" fmla="*/ 328503 h 444375"/>
                <a:gd name="connsiteX9" fmla="*/ 307691 w 444375"/>
                <a:gd name="connsiteY9" fmla="*/ 363941 h 444375"/>
                <a:gd name="connsiteX10" fmla="*/ 378003 w 444375"/>
                <a:gd name="connsiteY10" fmla="*/ 434253 h 444375"/>
                <a:gd name="connsiteX11" fmla="*/ 433691 w 444375"/>
                <a:gd name="connsiteY11" fmla="*/ 434253 h 444375"/>
                <a:gd name="connsiteX12" fmla="*/ 433691 w 444375"/>
                <a:gd name="connsiteY12" fmla="*/ 378566 h 444375"/>
                <a:gd name="connsiteX13" fmla="*/ 363941 w 444375"/>
                <a:gd name="connsiteY13" fmla="*/ 308253 h 444375"/>
                <a:gd name="connsiteX14" fmla="*/ 169878 w 444375"/>
                <a:gd name="connsiteY14" fmla="*/ 304878 h 444375"/>
                <a:gd name="connsiteX15" fmla="*/ 34878 w 444375"/>
                <a:gd name="connsiteY15" fmla="*/ 169878 h 444375"/>
                <a:gd name="connsiteX16" fmla="*/ 169878 w 444375"/>
                <a:gd name="connsiteY16" fmla="*/ 34878 h 444375"/>
                <a:gd name="connsiteX17" fmla="*/ 304878 w 444375"/>
                <a:gd name="connsiteY17" fmla="*/ 169878 h 444375"/>
                <a:gd name="connsiteX18" fmla="*/ 169878 w 444375"/>
                <a:gd name="connsiteY18" fmla="*/ 304878 h 444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44375" h="444375">
                  <a:moveTo>
                    <a:pt x="363941" y="308253"/>
                  </a:moveTo>
                  <a:cubicBezTo>
                    <a:pt x="354941" y="299253"/>
                    <a:pt x="341441" y="294753"/>
                    <a:pt x="329066" y="297566"/>
                  </a:cubicBezTo>
                  <a:lnTo>
                    <a:pt x="303753" y="272816"/>
                  </a:lnTo>
                  <a:cubicBezTo>
                    <a:pt x="326253" y="243566"/>
                    <a:pt x="338628" y="207566"/>
                    <a:pt x="338628" y="170441"/>
                  </a:cubicBezTo>
                  <a:cubicBezTo>
                    <a:pt x="339191" y="76503"/>
                    <a:pt x="263253" y="566"/>
                    <a:pt x="169878" y="3"/>
                  </a:cubicBezTo>
                  <a:cubicBezTo>
                    <a:pt x="76503" y="-559"/>
                    <a:pt x="566" y="75378"/>
                    <a:pt x="3" y="168753"/>
                  </a:cubicBezTo>
                  <a:cubicBezTo>
                    <a:pt x="-559" y="262128"/>
                    <a:pt x="75378" y="338066"/>
                    <a:pt x="168753" y="338628"/>
                  </a:cubicBezTo>
                  <a:cubicBezTo>
                    <a:pt x="205878" y="338628"/>
                    <a:pt x="242441" y="326253"/>
                    <a:pt x="272253" y="303753"/>
                  </a:cubicBezTo>
                  <a:lnTo>
                    <a:pt x="297003" y="328503"/>
                  </a:lnTo>
                  <a:cubicBezTo>
                    <a:pt x="294753" y="341441"/>
                    <a:pt x="298691" y="354378"/>
                    <a:pt x="307691" y="363941"/>
                  </a:cubicBezTo>
                  <a:lnTo>
                    <a:pt x="378003" y="434253"/>
                  </a:lnTo>
                  <a:cubicBezTo>
                    <a:pt x="393191" y="449441"/>
                    <a:pt x="418503" y="449441"/>
                    <a:pt x="433691" y="434253"/>
                  </a:cubicBezTo>
                  <a:cubicBezTo>
                    <a:pt x="448878" y="419066"/>
                    <a:pt x="448878" y="393753"/>
                    <a:pt x="433691" y="378566"/>
                  </a:cubicBezTo>
                  <a:lnTo>
                    <a:pt x="363941" y="308253"/>
                  </a:lnTo>
                  <a:close/>
                  <a:moveTo>
                    <a:pt x="169878" y="304878"/>
                  </a:moveTo>
                  <a:cubicBezTo>
                    <a:pt x="95066" y="304878"/>
                    <a:pt x="34878" y="244691"/>
                    <a:pt x="34878" y="169878"/>
                  </a:cubicBezTo>
                  <a:cubicBezTo>
                    <a:pt x="34878" y="95066"/>
                    <a:pt x="95066" y="34878"/>
                    <a:pt x="169878" y="34878"/>
                  </a:cubicBezTo>
                  <a:cubicBezTo>
                    <a:pt x="244691" y="34878"/>
                    <a:pt x="304878" y="95066"/>
                    <a:pt x="304878" y="169878"/>
                  </a:cubicBezTo>
                  <a:cubicBezTo>
                    <a:pt x="304878" y="244128"/>
                    <a:pt x="244128" y="304878"/>
                    <a:pt x="169878" y="304878"/>
                  </a:cubicBezTo>
                  <a:close/>
                </a:path>
              </a:pathLst>
            </a:custGeom>
            <a:grpFill/>
            <a:ln w="55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cs typeface="Segoe UI Light"/>
              </a:endParaRPr>
            </a:p>
          </p:txBody>
        </p:sp>
        <p:sp>
          <p:nvSpPr>
            <p:cNvPr id="21" name="MIO_PICTOGRAM_PART1">
              <a:extLst>
                <a:ext uri="{FF2B5EF4-FFF2-40B4-BE49-F238E27FC236}">
                  <a16:creationId xmlns:a16="http://schemas.microsoft.com/office/drawing/2014/main" id="{06A6FC84-4CB7-3986-89B4-74DEE3060281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>
              <a:off x="2876942" y="3751659"/>
              <a:ext cx="322500" cy="232500"/>
            </a:xfrm>
            <a:custGeom>
              <a:avLst/>
              <a:gdLst>
                <a:gd name="connsiteX0" fmla="*/ 241875 w 241875"/>
                <a:gd name="connsiteY0" fmla="*/ 77841 h 174375"/>
                <a:gd name="connsiteX1" fmla="*/ 209813 w 241875"/>
                <a:gd name="connsiteY1" fmla="*/ 77841 h 174375"/>
                <a:gd name="connsiteX2" fmla="*/ 202500 w 241875"/>
                <a:gd name="connsiteY2" fmla="*/ 82341 h 174375"/>
                <a:gd name="connsiteX3" fmla="*/ 181125 w 241875"/>
                <a:gd name="connsiteY3" fmla="*/ 105403 h 174375"/>
                <a:gd name="connsiteX4" fmla="*/ 163125 w 241875"/>
                <a:gd name="connsiteY4" fmla="*/ 42966 h 174375"/>
                <a:gd name="connsiteX5" fmla="*/ 150750 w 241875"/>
                <a:gd name="connsiteY5" fmla="*/ 36216 h 174375"/>
                <a:gd name="connsiteX6" fmla="*/ 144000 w 241875"/>
                <a:gd name="connsiteY6" fmla="*/ 42403 h 174375"/>
                <a:gd name="connsiteX7" fmla="*/ 110250 w 241875"/>
                <a:gd name="connsiteY7" fmla="*/ 131841 h 174375"/>
                <a:gd name="connsiteX8" fmla="*/ 87188 w 241875"/>
                <a:gd name="connsiteY8" fmla="*/ 8091 h 174375"/>
                <a:gd name="connsiteX9" fmla="*/ 75938 w 241875"/>
                <a:gd name="connsiteY9" fmla="*/ 216 h 174375"/>
                <a:gd name="connsiteX10" fmla="*/ 68063 w 241875"/>
                <a:gd name="connsiteY10" fmla="*/ 6966 h 174375"/>
                <a:gd name="connsiteX11" fmla="*/ 43875 w 241875"/>
                <a:gd name="connsiteY11" fmla="*/ 77841 h 174375"/>
                <a:gd name="connsiteX12" fmla="*/ 0 w 241875"/>
                <a:gd name="connsiteY12" fmla="*/ 77841 h 174375"/>
                <a:gd name="connsiteX13" fmla="*/ 0 w 241875"/>
                <a:gd name="connsiteY13" fmla="*/ 100341 h 174375"/>
                <a:gd name="connsiteX14" fmla="*/ 51188 w 241875"/>
                <a:gd name="connsiteY14" fmla="*/ 100341 h 174375"/>
                <a:gd name="connsiteX15" fmla="*/ 60750 w 241875"/>
                <a:gd name="connsiteY15" fmla="*/ 91903 h 174375"/>
                <a:gd name="connsiteX16" fmla="*/ 74812 w 241875"/>
                <a:gd name="connsiteY16" fmla="*/ 49153 h 174375"/>
                <a:gd name="connsiteX17" fmla="*/ 97312 w 241875"/>
                <a:gd name="connsiteY17" fmla="*/ 170091 h 174375"/>
                <a:gd name="connsiteX18" fmla="*/ 106313 w 241875"/>
                <a:gd name="connsiteY18" fmla="*/ 177966 h 174375"/>
                <a:gd name="connsiteX19" fmla="*/ 107437 w 241875"/>
                <a:gd name="connsiteY19" fmla="*/ 177966 h 174375"/>
                <a:gd name="connsiteX20" fmla="*/ 117000 w 241875"/>
                <a:gd name="connsiteY20" fmla="*/ 171778 h 174375"/>
                <a:gd name="connsiteX21" fmla="*/ 153000 w 241875"/>
                <a:gd name="connsiteY21" fmla="*/ 77278 h 174375"/>
                <a:gd name="connsiteX22" fmla="*/ 167625 w 241875"/>
                <a:gd name="connsiteY22" fmla="*/ 127903 h 174375"/>
                <a:gd name="connsiteX23" fmla="*/ 180000 w 241875"/>
                <a:gd name="connsiteY23" fmla="*/ 134653 h 174375"/>
                <a:gd name="connsiteX24" fmla="*/ 184500 w 241875"/>
                <a:gd name="connsiteY24" fmla="*/ 131841 h 174375"/>
                <a:gd name="connsiteX25" fmla="*/ 214875 w 241875"/>
                <a:gd name="connsiteY25" fmla="*/ 100341 h 174375"/>
                <a:gd name="connsiteX26" fmla="*/ 242437 w 241875"/>
                <a:gd name="connsiteY26" fmla="*/ 100341 h 174375"/>
                <a:gd name="connsiteX27" fmla="*/ 242437 w 241875"/>
                <a:gd name="connsiteY27" fmla="*/ 77841 h 174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41875" h="174375">
                  <a:moveTo>
                    <a:pt x="241875" y="77841"/>
                  </a:moveTo>
                  <a:lnTo>
                    <a:pt x="209813" y="77841"/>
                  </a:lnTo>
                  <a:cubicBezTo>
                    <a:pt x="207000" y="78403"/>
                    <a:pt x="204188" y="80091"/>
                    <a:pt x="202500" y="82341"/>
                  </a:cubicBezTo>
                  <a:lnTo>
                    <a:pt x="181125" y="105403"/>
                  </a:lnTo>
                  <a:lnTo>
                    <a:pt x="163125" y="42966"/>
                  </a:lnTo>
                  <a:cubicBezTo>
                    <a:pt x="161438" y="37903"/>
                    <a:pt x="155813" y="34528"/>
                    <a:pt x="150750" y="36216"/>
                  </a:cubicBezTo>
                  <a:cubicBezTo>
                    <a:pt x="147938" y="37341"/>
                    <a:pt x="145125" y="39028"/>
                    <a:pt x="144000" y="42403"/>
                  </a:cubicBezTo>
                  <a:lnTo>
                    <a:pt x="110250" y="131841"/>
                  </a:lnTo>
                  <a:lnTo>
                    <a:pt x="87188" y="8091"/>
                  </a:lnTo>
                  <a:cubicBezTo>
                    <a:pt x="86062" y="2466"/>
                    <a:pt x="81000" y="-909"/>
                    <a:pt x="75938" y="216"/>
                  </a:cubicBezTo>
                  <a:cubicBezTo>
                    <a:pt x="72563" y="778"/>
                    <a:pt x="69750" y="3591"/>
                    <a:pt x="68063" y="6966"/>
                  </a:cubicBezTo>
                  <a:lnTo>
                    <a:pt x="43875" y="77841"/>
                  </a:lnTo>
                  <a:lnTo>
                    <a:pt x="0" y="77841"/>
                  </a:lnTo>
                  <a:lnTo>
                    <a:pt x="0" y="100341"/>
                  </a:lnTo>
                  <a:lnTo>
                    <a:pt x="51188" y="100341"/>
                  </a:lnTo>
                  <a:cubicBezTo>
                    <a:pt x="55687" y="99778"/>
                    <a:pt x="59625" y="96403"/>
                    <a:pt x="60750" y="91903"/>
                  </a:cubicBezTo>
                  <a:lnTo>
                    <a:pt x="74812" y="49153"/>
                  </a:lnTo>
                  <a:lnTo>
                    <a:pt x="97312" y="170091"/>
                  </a:lnTo>
                  <a:cubicBezTo>
                    <a:pt x="97875" y="174591"/>
                    <a:pt x="101812" y="177966"/>
                    <a:pt x="106313" y="177966"/>
                  </a:cubicBezTo>
                  <a:lnTo>
                    <a:pt x="107437" y="177966"/>
                  </a:lnTo>
                  <a:cubicBezTo>
                    <a:pt x="111375" y="177966"/>
                    <a:pt x="115313" y="175716"/>
                    <a:pt x="117000" y="171778"/>
                  </a:cubicBezTo>
                  <a:lnTo>
                    <a:pt x="153000" y="77278"/>
                  </a:lnTo>
                  <a:lnTo>
                    <a:pt x="167625" y="127903"/>
                  </a:lnTo>
                  <a:cubicBezTo>
                    <a:pt x="169312" y="132966"/>
                    <a:pt x="174375" y="136341"/>
                    <a:pt x="180000" y="134653"/>
                  </a:cubicBezTo>
                  <a:cubicBezTo>
                    <a:pt x="181688" y="134091"/>
                    <a:pt x="183375" y="132966"/>
                    <a:pt x="184500" y="131841"/>
                  </a:cubicBezTo>
                  <a:lnTo>
                    <a:pt x="214875" y="100341"/>
                  </a:lnTo>
                  <a:lnTo>
                    <a:pt x="242437" y="100341"/>
                  </a:lnTo>
                  <a:lnTo>
                    <a:pt x="242437" y="77841"/>
                  </a:lnTo>
                  <a:close/>
                </a:path>
              </a:pathLst>
            </a:custGeom>
            <a:grpFill/>
            <a:ln w="55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cs typeface="Segoe UI Light"/>
              </a:endParaRPr>
            </a:p>
          </p:txBody>
        </p:sp>
      </p:grpSp>
      <p:sp>
        <p:nvSpPr>
          <p:cNvPr id="8" name="Textfeld 7">
            <a:extLst>
              <a:ext uri="{FF2B5EF4-FFF2-40B4-BE49-F238E27FC236}">
                <a16:creationId xmlns:a16="http://schemas.microsoft.com/office/drawing/2014/main" id="{FD634F26-EB0C-D816-5697-8DC77CD63D82}"/>
              </a:ext>
            </a:extLst>
          </p:cNvPr>
          <p:cNvSpPr txBox="1"/>
          <p:nvPr/>
        </p:nvSpPr>
        <p:spPr>
          <a:xfrm>
            <a:off x="5699044" y="2009416"/>
            <a:ext cx="793912" cy="336733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i="0" u="none" dirty="0"/>
              <a:t>ID3 </a:t>
            </a:r>
            <a:r>
              <a:rPr lang="de-DE" sz="1600" b="1" i="0" u="none" dirty="0" err="1"/>
              <a:t>price</a:t>
            </a:r>
            <a:endParaRPr lang="de-DE" sz="1600" b="1" i="0" u="none" dirty="0"/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9802D3E6-CDA6-3B79-D09A-E83E64CA1365}"/>
              </a:ext>
            </a:extLst>
          </p:cNvPr>
          <p:cNvGrpSpPr/>
          <p:nvPr/>
        </p:nvGrpSpPr>
        <p:grpSpPr>
          <a:xfrm>
            <a:off x="5085080" y="2978102"/>
            <a:ext cx="2021840" cy="1665017"/>
            <a:chOff x="5085080" y="2978102"/>
            <a:chExt cx="2021840" cy="1665017"/>
          </a:xfrm>
        </p:grpSpPr>
        <p:grpSp>
          <p:nvGrpSpPr>
            <p:cNvPr id="7" name="Gruppieren 6">
              <a:extLst>
                <a:ext uri="{FF2B5EF4-FFF2-40B4-BE49-F238E27FC236}">
                  <a16:creationId xmlns:a16="http://schemas.microsoft.com/office/drawing/2014/main" id="{20584B3D-3715-69FA-B4C8-2B9F16E97037}"/>
                </a:ext>
              </a:extLst>
            </p:cNvPr>
            <p:cNvGrpSpPr/>
            <p:nvPr/>
          </p:nvGrpSpPr>
          <p:grpSpPr>
            <a:xfrm>
              <a:off x="5085080" y="2978102"/>
              <a:ext cx="2021840" cy="994458"/>
              <a:chOff x="5085079" y="2978102"/>
              <a:chExt cx="2021840" cy="994458"/>
            </a:xfrm>
          </p:grpSpPr>
          <p:sp>
            <p:nvSpPr>
              <p:cNvPr id="28" name="Pfeil: nach rechts 27">
                <a:extLst>
                  <a:ext uri="{FF2B5EF4-FFF2-40B4-BE49-F238E27FC236}">
                    <a16:creationId xmlns:a16="http://schemas.microsoft.com/office/drawing/2014/main" id="{C3D48D27-7112-C379-7A3F-9B5C20D39901}"/>
                  </a:ext>
                </a:extLst>
              </p:cNvPr>
              <p:cNvSpPr/>
              <p:nvPr/>
            </p:nvSpPr>
            <p:spPr>
              <a:xfrm>
                <a:off x="5085079" y="2978102"/>
                <a:ext cx="2021840" cy="450882"/>
              </a:xfrm>
              <a:prstGeom prst="rightArrow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7200" tIns="97200" rIns="97200" bIns="97200" rtlCol="0" anchor="ctr"/>
              <a:lstStyle/>
              <a:p>
                <a:pPr algn="ctr" defTabSz="486000"/>
                <a:endParaRPr lang="de-DE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9" name="Pfeil: nach rechts 28">
                <a:extLst>
                  <a:ext uri="{FF2B5EF4-FFF2-40B4-BE49-F238E27FC236}">
                    <a16:creationId xmlns:a16="http://schemas.microsoft.com/office/drawing/2014/main" id="{66CE74EC-C4D2-654F-0F00-30B2602A6202}"/>
                  </a:ext>
                </a:extLst>
              </p:cNvPr>
              <p:cNvSpPr/>
              <p:nvPr/>
            </p:nvSpPr>
            <p:spPr>
              <a:xfrm rot="10800000">
                <a:off x="5085079" y="3521678"/>
                <a:ext cx="2021840" cy="450882"/>
              </a:xfrm>
              <a:prstGeom prst="rightArrow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7200" tIns="97200" rIns="97200" bIns="97200" rtlCol="0" anchor="ctr"/>
              <a:lstStyle/>
              <a:p>
                <a:pPr algn="ctr" defTabSz="486000"/>
                <a:endParaRPr lang="de-DE" sz="16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9055D713-C108-EFCC-2382-025B43EFD36C}"/>
                </a:ext>
              </a:extLst>
            </p:cNvPr>
            <p:cNvSpPr/>
            <p:nvPr/>
          </p:nvSpPr>
          <p:spPr>
            <a:xfrm>
              <a:off x="5422900" y="4269760"/>
              <a:ext cx="1070056" cy="373359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7200" tIns="97200" rIns="97200" bIns="97200" rtlCol="0" anchor="ctr"/>
            <a:lstStyle/>
            <a:p>
              <a:pPr algn="ctr" defTabSz="486000"/>
              <a:endParaRPr lang="de-DE" sz="1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961009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0E0D5A66-3AFC-2FE5-E2F9-B3F69F372DDA}"/>
              </a:ext>
            </a:extLst>
          </p:cNvPr>
          <p:cNvSpPr txBox="1"/>
          <p:nvPr/>
        </p:nvSpPr>
        <p:spPr>
          <a:xfrm>
            <a:off x="1036320" y="1275016"/>
            <a:ext cx="914400" cy="914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/>
              <a:t>Forecast </a:t>
            </a:r>
            <a:r>
              <a:rPr lang="de-DE" sz="1600" dirty="0" err="1"/>
              <a:t>the</a:t>
            </a:r>
            <a:r>
              <a:rPr lang="de-DE" sz="1600" dirty="0"/>
              <a:t> ID3 </a:t>
            </a:r>
            <a:r>
              <a:rPr lang="de-DE" sz="1600" dirty="0" err="1"/>
              <a:t>price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turkish</a:t>
            </a:r>
            <a:r>
              <a:rPr lang="de-DE" sz="1600" dirty="0"/>
              <a:t> </a:t>
            </a:r>
            <a:r>
              <a:rPr lang="de-DE" sz="1600" dirty="0" err="1"/>
              <a:t>intraday</a:t>
            </a:r>
            <a:r>
              <a:rPr lang="de-DE" sz="1600" dirty="0"/>
              <a:t> </a:t>
            </a:r>
            <a:r>
              <a:rPr lang="de-DE" sz="1600" dirty="0" err="1"/>
              <a:t>electricity</a:t>
            </a:r>
            <a:r>
              <a:rPr lang="de-DE" sz="1600" dirty="0"/>
              <a:t> </a:t>
            </a:r>
            <a:r>
              <a:rPr lang="de-DE" sz="1600" dirty="0" err="1"/>
              <a:t>market</a:t>
            </a:r>
            <a:endParaRPr lang="de-DE" sz="1600" b="0" i="0" u="none" dirty="0"/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EFA65F0A-182F-6ACB-69DB-C5DCB89055B7}"/>
              </a:ext>
            </a:extLst>
          </p:cNvPr>
          <p:cNvCxnSpPr/>
          <p:nvPr/>
        </p:nvCxnSpPr>
        <p:spPr>
          <a:xfrm>
            <a:off x="448291" y="1778000"/>
            <a:ext cx="11295417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D06C648A-527D-6053-9043-C815013E7F0A}"/>
              </a:ext>
            </a:extLst>
          </p:cNvPr>
          <p:cNvSpPr txBox="1"/>
          <p:nvPr/>
        </p:nvSpPr>
        <p:spPr>
          <a:xfrm>
            <a:off x="5699044" y="2009416"/>
            <a:ext cx="793912" cy="336733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i="0" u="none" dirty="0"/>
              <a:t>ID3 </a:t>
            </a:r>
            <a:r>
              <a:rPr lang="de-DE" sz="1600" b="1" i="0" u="none" dirty="0" err="1"/>
              <a:t>price</a:t>
            </a:r>
            <a:endParaRPr lang="de-DE" sz="1600" b="1" i="0" u="none" dirty="0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94041A48-6112-AD21-F82F-B772E5D6BB6C}"/>
              </a:ext>
            </a:extLst>
          </p:cNvPr>
          <p:cNvGrpSpPr/>
          <p:nvPr/>
        </p:nvGrpSpPr>
        <p:grpSpPr>
          <a:xfrm>
            <a:off x="1036320" y="2543860"/>
            <a:ext cx="1525293" cy="1983600"/>
            <a:chOff x="3045860" y="2645460"/>
            <a:chExt cx="1525293" cy="1983600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94684945-8AFB-E54F-FAA6-5D502E8882BA}"/>
                </a:ext>
              </a:extLst>
            </p:cNvPr>
            <p:cNvSpPr/>
            <p:nvPr/>
          </p:nvSpPr>
          <p:spPr>
            <a:xfrm>
              <a:off x="3045860" y="2645460"/>
              <a:ext cx="1525293" cy="198360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7200" tIns="97200" rIns="97200" bIns="97200" rtlCol="0" anchor="ctr"/>
            <a:lstStyle/>
            <a:p>
              <a:pPr algn="ctr" defTabSz="486000"/>
              <a:endParaRPr lang="de-DE" sz="1600" dirty="0">
                <a:solidFill>
                  <a:schemeClr val="tx1"/>
                </a:solidFill>
              </a:endParaRPr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B5114924-A2C7-7FC3-FA61-2C85F82CDAC3}"/>
                </a:ext>
              </a:extLst>
            </p:cNvPr>
            <p:cNvGrpSpPr/>
            <p:nvPr/>
          </p:nvGrpSpPr>
          <p:grpSpPr>
            <a:xfrm>
              <a:off x="3102386" y="2689411"/>
              <a:ext cx="1422400" cy="1681949"/>
              <a:chOff x="2098038" y="2455731"/>
              <a:chExt cx="1422400" cy="1681949"/>
            </a:xfrm>
          </p:grpSpPr>
          <p:pic>
            <p:nvPicPr>
              <p:cNvPr id="3" name="Grafik 2" descr="Benutzer Silhouette">
                <a:extLst>
                  <a:ext uri="{FF2B5EF4-FFF2-40B4-BE49-F238E27FC236}">
                    <a16:creationId xmlns:a16="http://schemas.microsoft.com/office/drawing/2014/main" id="{F16FCDEA-70ED-9961-D759-17DAC3AA5F5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2387600" y="2778761"/>
                <a:ext cx="833119" cy="833119"/>
              </a:xfrm>
              <a:prstGeom prst="rect">
                <a:avLst/>
              </a:prstGeom>
            </p:spPr>
          </p:pic>
          <p:sp>
            <p:nvSpPr>
              <p:cNvPr id="4" name="Textfeld 3">
                <a:extLst>
                  <a:ext uri="{FF2B5EF4-FFF2-40B4-BE49-F238E27FC236}">
                    <a16:creationId xmlns:a16="http://schemas.microsoft.com/office/drawing/2014/main" id="{4DD8443F-DF91-88E3-3120-0EFD8A580F7B}"/>
                  </a:ext>
                </a:extLst>
              </p:cNvPr>
              <p:cNvSpPr txBox="1"/>
              <p:nvPr/>
            </p:nvSpPr>
            <p:spPr>
              <a:xfrm>
                <a:off x="2468880" y="2455731"/>
                <a:ext cx="833119" cy="947849"/>
              </a:xfrm>
              <a:prstGeom prst="rect">
                <a:avLst/>
              </a:prstGeom>
              <a:noFill/>
            </p:spPr>
            <p:txBody>
              <a:bodyPr vert="horz" wrap="none" lIns="0" tIns="0" rIns="0" bIns="0" rtlCol="0">
                <a:noAutofit/>
              </a:bodyPr>
              <a:lstStyle/>
              <a:p>
                <a:pPr algn="l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600" b="1" i="0" u="none" dirty="0"/>
                  <a:t>Producer</a:t>
                </a:r>
              </a:p>
            </p:txBody>
          </p:sp>
          <p:pic>
            <p:nvPicPr>
              <p:cNvPr id="6" name="Grafik 5" descr="Windkraftanlagen Silhouette">
                <a:extLst>
                  <a:ext uri="{FF2B5EF4-FFF2-40B4-BE49-F238E27FC236}">
                    <a16:creationId xmlns:a16="http://schemas.microsoft.com/office/drawing/2014/main" id="{53F290A2-EA6D-332A-2359-B3EDFFD38C3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2098038" y="3611880"/>
                <a:ext cx="457201" cy="457201"/>
              </a:xfrm>
              <a:prstGeom prst="rect">
                <a:avLst/>
              </a:prstGeom>
            </p:spPr>
          </p:pic>
          <p:pic>
            <p:nvPicPr>
              <p:cNvPr id="11" name="Grafik 10" descr="Fabrik Silhouette">
                <a:extLst>
                  <a:ext uri="{FF2B5EF4-FFF2-40B4-BE49-F238E27FC236}">
                    <a16:creationId xmlns:a16="http://schemas.microsoft.com/office/drawing/2014/main" id="{4EFB40D3-547E-43B6-AE4C-EBD889AD15C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2885439" y="3502681"/>
                <a:ext cx="634999" cy="634999"/>
              </a:xfrm>
              <a:prstGeom prst="rect">
                <a:avLst/>
              </a:prstGeom>
            </p:spPr>
          </p:pic>
        </p:grpSp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89F17CBC-00AA-D924-EC39-D6556A662D87}"/>
              </a:ext>
            </a:extLst>
          </p:cNvPr>
          <p:cNvGrpSpPr/>
          <p:nvPr/>
        </p:nvGrpSpPr>
        <p:grpSpPr>
          <a:xfrm>
            <a:off x="9630388" y="2543860"/>
            <a:ext cx="1525293" cy="1983600"/>
            <a:chOff x="7796257" y="2543860"/>
            <a:chExt cx="1525293" cy="1983600"/>
          </a:xfrm>
        </p:grpSpPr>
        <p:grpSp>
          <p:nvGrpSpPr>
            <p:cNvPr id="19" name="Gruppieren 18">
              <a:extLst>
                <a:ext uri="{FF2B5EF4-FFF2-40B4-BE49-F238E27FC236}">
                  <a16:creationId xmlns:a16="http://schemas.microsoft.com/office/drawing/2014/main" id="{F783BF81-8606-6C90-3C24-F905F7FAE9F5}"/>
                </a:ext>
              </a:extLst>
            </p:cNvPr>
            <p:cNvGrpSpPr/>
            <p:nvPr/>
          </p:nvGrpSpPr>
          <p:grpSpPr>
            <a:xfrm>
              <a:off x="7796257" y="2543860"/>
              <a:ext cx="1525293" cy="1983600"/>
              <a:chOff x="3045860" y="2645460"/>
              <a:chExt cx="1525293" cy="1983600"/>
            </a:xfrm>
          </p:grpSpPr>
          <p:sp>
            <p:nvSpPr>
              <p:cNvPr id="20" name="Rechteck 19">
                <a:extLst>
                  <a:ext uri="{FF2B5EF4-FFF2-40B4-BE49-F238E27FC236}">
                    <a16:creationId xmlns:a16="http://schemas.microsoft.com/office/drawing/2014/main" id="{FB19C8B1-7813-98AD-83EC-620FE0099757}"/>
                  </a:ext>
                </a:extLst>
              </p:cNvPr>
              <p:cNvSpPr/>
              <p:nvPr/>
            </p:nvSpPr>
            <p:spPr>
              <a:xfrm>
                <a:off x="3045860" y="2645460"/>
                <a:ext cx="1525293" cy="1983600"/>
              </a:xfrm>
              <a:prstGeom prst="rect">
                <a:avLst/>
              </a:prstGeom>
              <a:solidFill>
                <a:schemeClr val="bg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rgbClr val="666666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7200" tIns="97200" rIns="97200" bIns="97200" rtlCol="0" anchor="ctr"/>
              <a:lstStyle/>
              <a:p>
                <a:pPr algn="ctr" defTabSz="486000"/>
                <a:endParaRPr lang="de-DE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3" name="Textfeld 22">
                <a:extLst>
                  <a:ext uri="{FF2B5EF4-FFF2-40B4-BE49-F238E27FC236}">
                    <a16:creationId xmlns:a16="http://schemas.microsoft.com/office/drawing/2014/main" id="{78762981-F65C-A7CA-4417-9C28D2A92190}"/>
                  </a:ext>
                </a:extLst>
              </p:cNvPr>
              <p:cNvSpPr txBox="1"/>
              <p:nvPr/>
            </p:nvSpPr>
            <p:spPr>
              <a:xfrm>
                <a:off x="3473228" y="2689412"/>
                <a:ext cx="833119" cy="390290"/>
              </a:xfrm>
              <a:prstGeom prst="rect">
                <a:avLst/>
              </a:prstGeom>
              <a:noFill/>
            </p:spPr>
            <p:txBody>
              <a:bodyPr vert="horz" wrap="none" lIns="0" tIns="0" rIns="0" bIns="0" rtlCol="0">
                <a:noAutofit/>
              </a:bodyPr>
              <a:lstStyle/>
              <a:p>
                <a:pPr algn="l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600" b="1" dirty="0"/>
                  <a:t>Market</a:t>
                </a:r>
                <a:endParaRPr lang="de-DE" sz="1600" b="1" i="0" u="none" dirty="0"/>
              </a:p>
            </p:txBody>
          </p:sp>
        </p:grpSp>
        <p:pic>
          <p:nvPicPr>
            <p:cNvPr id="27" name="Grafik 26" descr="Warenkorb Silhouette">
              <a:extLst>
                <a:ext uri="{FF2B5EF4-FFF2-40B4-BE49-F238E27FC236}">
                  <a16:creationId xmlns:a16="http://schemas.microsoft.com/office/drawing/2014/main" id="{A29C65B8-3709-9566-F974-86497F333C6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8198903" y="3159899"/>
              <a:ext cx="720000" cy="720000"/>
            </a:xfrm>
            <a:prstGeom prst="rect">
              <a:avLst/>
            </a:prstGeom>
          </p:spPr>
        </p:pic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D933559A-4F42-6877-FF44-D0854B978D9D}"/>
              </a:ext>
            </a:extLst>
          </p:cNvPr>
          <p:cNvGrpSpPr/>
          <p:nvPr/>
        </p:nvGrpSpPr>
        <p:grpSpPr>
          <a:xfrm>
            <a:off x="3158599" y="3126343"/>
            <a:ext cx="1632973" cy="720000"/>
            <a:chOff x="5085079" y="2978102"/>
            <a:chExt cx="2021840" cy="994458"/>
          </a:xfrm>
        </p:grpSpPr>
        <p:sp>
          <p:nvSpPr>
            <p:cNvPr id="28" name="Pfeil: nach rechts 27">
              <a:extLst>
                <a:ext uri="{FF2B5EF4-FFF2-40B4-BE49-F238E27FC236}">
                  <a16:creationId xmlns:a16="http://schemas.microsoft.com/office/drawing/2014/main" id="{C3D48D27-7112-C379-7A3F-9B5C20D39901}"/>
                </a:ext>
              </a:extLst>
            </p:cNvPr>
            <p:cNvSpPr/>
            <p:nvPr/>
          </p:nvSpPr>
          <p:spPr>
            <a:xfrm>
              <a:off x="5085079" y="2978102"/>
              <a:ext cx="2021840" cy="450882"/>
            </a:xfrm>
            <a:prstGeom prst="rightArrow">
              <a:avLst/>
            </a:prstGeom>
            <a:solidFill>
              <a:schemeClr val="accent1"/>
            </a:solidFill>
            <a:ln w="9525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7200" tIns="97200" rIns="97200" bIns="97200" rtlCol="0" anchor="ctr"/>
            <a:lstStyle/>
            <a:p>
              <a:pPr algn="ctr" defTabSz="486000"/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29" name="Pfeil: nach rechts 28">
              <a:extLst>
                <a:ext uri="{FF2B5EF4-FFF2-40B4-BE49-F238E27FC236}">
                  <a16:creationId xmlns:a16="http://schemas.microsoft.com/office/drawing/2014/main" id="{66CE74EC-C4D2-654F-0F00-30B2602A6202}"/>
                </a:ext>
              </a:extLst>
            </p:cNvPr>
            <p:cNvSpPr/>
            <p:nvPr/>
          </p:nvSpPr>
          <p:spPr>
            <a:xfrm rot="10800000">
              <a:off x="5085079" y="3521678"/>
              <a:ext cx="2021840" cy="450882"/>
            </a:xfrm>
            <a:prstGeom prst="rightArrow">
              <a:avLst/>
            </a:prstGeom>
            <a:solidFill>
              <a:schemeClr val="accent1"/>
            </a:solidFill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7200" tIns="97200" rIns="97200" bIns="97200" rtlCol="0" anchor="ctr"/>
            <a:lstStyle/>
            <a:p>
              <a:pPr algn="ctr" defTabSz="486000"/>
              <a:endParaRPr lang="de-DE" sz="1600" dirty="0">
                <a:solidFill>
                  <a:schemeClr val="tx1"/>
                </a:solidFill>
              </a:endParaRPr>
            </a:p>
          </p:txBody>
        </p:sp>
      </p:grpSp>
      <p:sp>
        <p:nvSpPr>
          <p:cNvPr id="30" name="Textfeld 29">
            <a:extLst>
              <a:ext uri="{FF2B5EF4-FFF2-40B4-BE49-F238E27FC236}">
                <a16:creationId xmlns:a16="http://schemas.microsoft.com/office/drawing/2014/main" id="{9B845DA0-11B7-257A-6039-44A3111C1C45}"/>
              </a:ext>
            </a:extLst>
          </p:cNvPr>
          <p:cNvSpPr txBox="1"/>
          <p:nvPr/>
        </p:nvSpPr>
        <p:spPr>
          <a:xfrm>
            <a:off x="5313680" y="4643120"/>
            <a:ext cx="914400" cy="914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600" b="0" i="0" u="none" dirty="0" err="1"/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DF32402C-F944-13B9-BBAC-1AE8B101B7E1}"/>
              </a:ext>
            </a:extLst>
          </p:cNvPr>
          <p:cNvGrpSpPr/>
          <p:nvPr/>
        </p:nvGrpSpPr>
        <p:grpSpPr>
          <a:xfrm>
            <a:off x="5333354" y="2543860"/>
            <a:ext cx="1525293" cy="1983600"/>
            <a:chOff x="3045860" y="2645460"/>
            <a:chExt cx="1525293" cy="1983600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51DF535E-4733-8892-F41D-BC5C554B9C54}"/>
                </a:ext>
              </a:extLst>
            </p:cNvPr>
            <p:cNvSpPr/>
            <p:nvPr/>
          </p:nvSpPr>
          <p:spPr>
            <a:xfrm>
              <a:off x="3045860" y="2645460"/>
              <a:ext cx="1525293" cy="198360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7200" tIns="97200" rIns="97200" bIns="97200" rtlCol="0" anchor="ctr"/>
            <a:lstStyle/>
            <a:p>
              <a:pPr algn="ctr" defTabSz="486000"/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id="{04247515-B5DE-3EFA-CBB9-B2698006353B}"/>
                </a:ext>
              </a:extLst>
            </p:cNvPr>
            <p:cNvSpPr txBox="1"/>
            <p:nvPr/>
          </p:nvSpPr>
          <p:spPr>
            <a:xfrm>
              <a:off x="3178262" y="2689411"/>
              <a:ext cx="1260487" cy="496650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1" i="0" u="none" dirty="0"/>
                <a:t>Trading </a:t>
              </a:r>
            </a:p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1" dirty="0"/>
                <a:t>Company</a:t>
              </a:r>
              <a:endParaRPr lang="de-DE" sz="1600" b="1" i="0" u="none" dirty="0"/>
            </a:p>
          </p:txBody>
        </p:sp>
      </p:grp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81335E51-81E1-3248-5FF2-DC866A51E958}"/>
              </a:ext>
            </a:extLst>
          </p:cNvPr>
          <p:cNvGrpSpPr/>
          <p:nvPr/>
        </p:nvGrpSpPr>
        <p:grpSpPr>
          <a:xfrm>
            <a:off x="7453544" y="3126343"/>
            <a:ext cx="1632973" cy="720000"/>
            <a:chOff x="5085079" y="2978102"/>
            <a:chExt cx="2021840" cy="994458"/>
          </a:xfrm>
        </p:grpSpPr>
        <p:sp>
          <p:nvSpPr>
            <p:cNvPr id="34" name="Pfeil: nach rechts 33">
              <a:extLst>
                <a:ext uri="{FF2B5EF4-FFF2-40B4-BE49-F238E27FC236}">
                  <a16:creationId xmlns:a16="http://schemas.microsoft.com/office/drawing/2014/main" id="{D02379AB-D97B-B440-B05C-07CE7118BCE4}"/>
                </a:ext>
              </a:extLst>
            </p:cNvPr>
            <p:cNvSpPr/>
            <p:nvPr/>
          </p:nvSpPr>
          <p:spPr>
            <a:xfrm>
              <a:off x="5085079" y="2978102"/>
              <a:ext cx="2021840" cy="450882"/>
            </a:xfrm>
            <a:prstGeom prst="rightArrow">
              <a:avLst/>
            </a:prstGeom>
            <a:solidFill>
              <a:schemeClr val="accent1"/>
            </a:solidFill>
            <a:ln w="9525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7200" tIns="97200" rIns="97200" bIns="97200" rtlCol="0" anchor="ctr"/>
            <a:lstStyle/>
            <a:p>
              <a:pPr algn="ctr" defTabSz="486000"/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35" name="Pfeil: nach rechts 34">
              <a:extLst>
                <a:ext uri="{FF2B5EF4-FFF2-40B4-BE49-F238E27FC236}">
                  <a16:creationId xmlns:a16="http://schemas.microsoft.com/office/drawing/2014/main" id="{9E98CDEE-4DC9-EABF-3649-B2A135DB51C6}"/>
                </a:ext>
              </a:extLst>
            </p:cNvPr>
            <p:cNvSpPr/>
            <p:nvPr/>
          </p:nvSpPr>
          <p:spPr>
            <a:xfrm rot="10800000">
              <a:off x="5085079" y="3521678"/>
              <a:ext cx="2021840" cy="450882"/>
            </a:xfrm>
            <a:prstGeom prst="rightArrow">
              <a:avLst/>
            </a:prstGeom>
            <a:solidFill>
              <a:schemeClr val="accent1"/>
            </a:solidFill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7200" tIns="97200" rIns="97200" bIns="97200" rtlCol="0" anchor="ctr"/>
            <a:lstStyle/>
            <a:p>
              <a:pPr algn="ctr" defTabSz="486000"/>
              <a:endParaRPr lang="de-DE" sz="1600" dirty="0">
                <a:solidFill>
                  <a:schemeClr val="tx1"/>
                </a:solidFill>
              </a:endParaRPr>
            </a:p>
          </p:txBody>
        </p:sp>
      </p:grpSp>
      <p:pic>
        <p:nvPicPr>
          <p:cNvPr id="37" name="Grafik 36" descr="Darlehen Silhouette">
            <a:extLst>
              <a:ext uri="{FF2B5EF4-FFF2-40B4-BE49-F238E27FC236}">
                <a16:creationId xmlns:a16="http://schemas.microsoft.com/office/drawing/2014/main" id="{C4086C6D-B03D-E5B7-865B-9A346CA2431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735999" y="3175660"/>
            <a:ext cx="720000" cy="720000"/>
          </a:xfrm>
          <a:prstGeom prst="rect">
            <a:avLst/>
          </a:prstGeom>
        </p:spPr>
      </p:pic>
      <p:sp>
        <p:nvSpPr>
          <p:cNvPr id="42" name="Textfeld 41">
            <a:extLst>
              <a:ext uri="{FF2B5EF4-FFF2-40B4-BE49-F238E27FC236}">
                <a16:creationId xmlns:a16="http://schemas.microsoft.com/office/drawing/2014/main" id="{7432F26B-FDD5-DB0D-2C28-09934457F264}"/>
              </a:ext>
            </a:extLst>
          </p:cNvPr>
          <p:cNvSpPr txBox="1"/>
          <p:nvPr/>
        </p:nvSpPr>
        <p:spPr>
          <a:xfrm>
            <a:off x="490668" y="368749"/>
            <a:ext cx="8068236" cy="914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3600" b="1" i="0" u="none" dirty="0" err="1">
                <a:latin typeface="Segoe UI Semibold (Überschriften)"/>
              </a:rPr>
              <a:t>Introduction</a:t>
            </a:r>
            <a:r>
              <a:rPr lang="de-DE" sz="3600" b="1" i="0" u="none" dirty="0">
                <a:latin typeface="Segoe UI Semibold (Überschriften)"/>
              </a:rPr>
              <a:t> </a:t>
            </a:r>
            <a:r>
              <a:rPr lang="de-DE" sz="3600" b="1" i="0" u="none" dirty="0" err="1">
                <a:latin typeface="Segoe UI Semibold (Überschriften)"/>
              </a:rPr>
              <a:t>to</a:t>
            </a:r>
            <a:r>
              <a:rPr lang="de-DE" sz="3600" b="1" i="0" u="none" dirty="0">
                <a:latin typeface="Segoe UI Semibold (Überschriften)"/>
              </a:rPr>
              <a:t> </a:t>
            </a:r>
            <a:r>
              <a:rPr lang="de-DE" sz="3600" b="1" i="0" u="none" dirty="0" err="1">
                <a:latin typeface="Segoe UI Semibold (Überschriften)"/>
              </a:rPr>
              <a:t>our</a:t>
            </a:r>
            <a:r>
              <a:rPr lang="de-DE" sz="3600" b="1" i="0" u="none" dirty="0">
                <a:latin typeface="Segoe UI Semibold (Überschriften)"/>
              </a:rPr>
              <a:t> </a:t>
            </a:r>
            <a:r>
              <a:rPr lang="de-DE" sz="3600" b="1" i="0" u="none" dirty="0" err="1">
                <a:latin typeface="Segoe UI Semibold (Überschriften)"/>
              </a:rPr>
              <a:t>project</a:t>
            </a:r>
            <a:endParaRPr lang="de-DE" sz="3600" b="1" i="0" u="none" dirty="0">
              <a:latin typeface="Segoe UI Semibold (Überschriften)"/>
            </a:endParaRPr>
          </a:p>
        </p:txBody>
      </p:sp>
      <p:grpSp>
        <p:nvGrpSpPr>
          <p:cNvPr id="5" name="Magnifying glass 02">
            <a:extLst>
              <a:ext uri="{FF2B5EF4-FFF2-40B4-BE49-F238E27FC236}">
                <a16:creationId xmlns:a16="http://schemas.microsoft.com/office/drawing/2014/main" id="{09D36A4D-F71F-8422-4150-FA9AAFB81E35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>
          <a:xfrm>
            <a:off x="490668" y="1214941"/>
            <a:ext cx="360000" cy="360000"/>
            <a:chOff x="2811687" y="3640192"/>
            <a:chExt cx="592500" cy="592500"/>
          </a:xfrm>
          <a:solidFill>
            <a:schemeClr val="tx1"/>
          </a:solidFill>
        </p:grpSpPr>
        <p:sp>
          <p:nvSpPr>
            <p:cNvPr id="22" name="MIO_PICTOGRAM_PART2">
              <a:extLst>
                <a:ext uri="{FF2B5EF4-FFF2-40B4-BE49-F238E27FC236}">
                  <a16:creationId xmlns:a16="http://schemas.microsoft.com/office/drawing/2014/main" id="{035A92A5-FCD0-DFAC-121E-CF716B28336A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>
            <a:xfrm>
              <a:off x="2811687" y="3640192"/>
              <a:ext cx="592500" cy="592500"/>
            </a:xfrm>
            <a:custGeom>
              <a:avLst/>
              <a:gdLst>
                <a:gd name="connsiteX0" fmla="*/ 363941 w 444375"/>
                <a:gd name="connsiteY0" fmla="*/ 308253 h 444375"/>
                <a:gd name="connsiteX1" fmla="*/ 329066 w 444375"/>
                <a:gd name="connsiteY1" fmla="*/ 297566 h 444375"/>
                <a:gd name="connsiteX2" fmla="*/ 303753 w 444375"/>
                <a:gd name="connsiteY2" fmla="*/ 272816 h 444375"/>
                <a:gd name="connsiteX3" fmla="*/ 338628 w 444375"/>
                <a:gd name="connsiteY3" fmla="*/ 170441 h 444375"/>
                <a:gd name="connsiteX4" fmla="*/ 169878 w 444375"/>
                <a:gd name="connsiteY4" fmla="*/ 3 h 444375"/>
                <a:gd name="connsiteX5" fmla="*/ 3 w 444375"/>
                <a:gd name="connsiteY5" fmla="*/ 168753 h 444375"/>
                <a:gd name="connsiteX6" fmla="*/ 168753 w 444375"/>
                <a:gd name="connsiteY6" fmla="*/ 338628 h 444375"/>
                <a:gd name="connsiteX7" fmla="*/ 272253 w 444375"/>
                <a:gd name="connsiteY7" fmla="*/ 303753 h 444375"/>
                <a:gd name="connsiteX8" fmla="*/ 297003 w 444375"/>
                <a:gd name="connsiteY8" fmla="*/ 328503 h 444375"/>
                <a:gd name="connsiteX9" fmla="*/ 307691 w 444375"/>
                <a:gd name="connsiteY9" fmla="*/ 363941 h 444375"/>
                <a:gd name="connsiteX10" fmla="*/ 378003 w 444375"/>
                <a:gd name="connsiteY10" fmla="*/ 434253 h 444375"/>
                <a:gd name="connsiteX11" fmla="*/ 433691 w 444375"/>
                <a:gd name="connsiteY11" fmla="*/ 434253 h 444375"/>
                <a:gd name="connsiteX12" fmla="*/ 433691 w 444375"/>
                <a:gd name="connsiteY12" fmla="*/ 378566 h 444375"/>
                <a:gd name="connsiteX13" fmla="*/ 363941 w 444375"/>
                <a:gd name="connsiteY13" fmla="*/ 308253 h 444375"/>
                <a:gd name="connsiteX14" fmla="*/ 169878 w 444375"/>
                <a:gd name="connsiteY14" fmla="*/ 304878 h 444375"/>
                <a:gd name="connsiteX15" fmla="*/ 34878 w 444375"/>
                <a:gd name="connsiteY15" fmla="*/ 169878 h 444375"/>
                <a:gd name="connsiteX16" fmla="*/ 169878 w 444375"/>
                <a:gd name="connsiteY16" fmla="*/ 34878 h 444375"/>
                <a:gd name="connsiteX17" fmla="*/ 304878 w 444375"/>
                <a:gd name="connsiteY17" fmla="*/ 169878 h 444375"/>
                <a:gd name="connsiteX18" fmla="*/ 169878 w 444375"/>
                <a:gd name="connsiteY18" fmla="*/ 304878 h 444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44375" h="444375">
                  <a:moveTo>
                    <a:pt x="363941" y="308253"/>
                  </a:moveTo>
                  <a:cubicBezTo>
                    <a:pt x="354941" y="299253"/>
                    <a:pt x="341441" y="294753"/>
                    <a:pt x="329066" y="297566"/>
                  </a:cubicBezTo>
                  <a:lnTo>
                    <a:pt x="303753" y="272816"/>
                  </a:lnTo>
                  <a:cubicBezTo>
                    <a:pt x="326253" y="243566"/>
                    <a:pt x="338628" y="207566"/>
                    <a:pt x="338628" y="170441"/>
                  </a:cubicBezTo>
                  <a:cubicBezTo>
                    <a:pt x="339191" y="76503"/>
                    <a:pt x="263253" y="566"/>
                    <a:pt x="169878" y="3"/>
                  </a:cubicBezTo>
                  <a:cubicBezTo>
                    <a:pt x="76503" y="-559"/>
                    <a:pt x="566" y="75378"/>
                    <a:pt x="3" y="168753"/>
                  </a:cubicBezTo>
                  <a:cubicBezTo>
                    <a:pt x="-559" y="262128"/>
                    <a:pt x="75378" y="338066"/>
                    <a:pt x="168753" y="338628"/>
                  </a:cubicBezTo>
                  <a:cubicBezTo>
                    <a:pt x="205878" y="338628"/>
                    <a:pt x="242441" y="326253"/>
                    <a:pt x="272253" y="303753"/>
                  </a:cubicBezTo>
                  <a:lnTo>
                    <a:pt x="297003" y="328503"/>
                  </a:lnTo>
                  <a:cubicBezTo>
                    <a:pt x="294753" y="341441"/>
                    <a:pt x="298691" y="354378"/>
                    <a:pt x="307691" y="363941"/>
                  </a:cubicBezTo>
                  <a:lnTo>
                    <a:pt x="378003" y="434253"/>
                  </a:lnTo>
                  <a:cubicBezTo>
                    <a:pt x="393191" y="449441"/>
                    <a:pt x="418503" y="449441"/>
                    <a:pt x="433691" y="434253"/>
                  </a:cubicBezTo>
                  <a:cubicBezTo>
                    <a:pt x="448878" y="419066"/>
                    <a:pt x="448878" y="393753"/>
                    <a:pt x="433691" y="378566"/>
                  </a:cubicBezTo>
                  <a:lnTo>
                    <a:pt x="363941" y="308253"/>
                  </a:lnTo>
                  <a:close/>
                  <a:moveTo>
                    <a:pt x="169878" y="304878"/>
                  </a:moveTo>
                  <a:cubicBezTo>
                    <a:pt x="95066" y="304878"/>
                    <a:pt x="34878" y="244691"/>
                    <a:pt x="34878" y="169878"/>
                  </a:cubicBezTo>
                  <a:cubicBezTo>
                    <a:pt x="34878" y="95066"/>
                    <a:pt x="95066" y="34878"/>
                    <a:pt x="169878" y="34878"/>
                  </a:cubicBezTo>
                  <a:cubicBezTo>
                    <a:pt x="244691" y="34878"/>
                    <a:pt x="304878" y="95066"/>
                    <a:pt x="304878" y="169878"/>
                  </a:cubicBezTo>
                  <a:cubicBezTo>
                    <a:pt x="304878" y="244128"/>
                    <a:pt x="244128" y="304878"/>
                    <a:pt x="169878" y="304878"/>
                  </a:cubicBezTo>
                  <a:close/>
                </a:path>
              </a:pathLst>
            </a:custGeom>
            <a:grpFill/>
            <a:ln w="55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cs typeface="Segoe UI Light"/>
              </a:endParaRPr>
            </a:p>
          </p:txBody>
        </p:sp>
        <p:sp>
          <p:nvSpPr>
            <p:cNvPr id="24" name="MIO_PICTOGRAM_PART1">
              <a:extLst>
                <a:ext uri="{FF2B5EF4-FFF2-40B4-BE49-F238E27FC236}">
                  <a16:creationId xmlns:a16="http://schemas.microsoft.com/office/drawing/2014/main" id="{153632DD-E983-BBF0-137B-E1EA55B34D82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>
              <a:off x="2876942" y="3751659"/>
              <a:ext cx="322500" cy="232500"/>
            </a:xfrm>
            <a:custGeom>
              <a:avLst/>
              <a:gdLst>
                <a:gd name="connsiteX0" fmla="*/ 241875 w 241875"/>
                <a:gd name="connsiteY0" fmla="*/ 77841 h 174375"/>
                <a:gd name="connsiteX1" fmla="*/ 209813 w 241875"/>
                <a:gd name="connsiteY1" fmla="*/ 77841 h 174375"/>
                <a:gd name="connsiteX2" fmla="*/ 202500 w 241875"/>
                <a:gd name="connsiteY2" fmla="*/ 82341 h 174375"/>
                <a:gd name="connsiteX3" fmla="*/ 181125 w 241875"/>
                <a:gd name="connsiteY3" fmla="*/ 105403 h 174375"/>
                <a:gd name="connsiteX4" fmla="*/ 163125 w 241875"/>
                <a:gd name="connsiteY4" fmla="*/ 42966 h 174375"/>
                <a:gd name="connsiteX5" fmla="*/ 150750 w 241875"/>
                <a:gd name="connsiteY5" fmla="*/ 36216 h 174375"/>
                <a:gd name="connsiteX6" fmla="*/ 144000 w 241875"/>
                <a:gd name="connsiteY6" fmla="*/ 42403 h 174375"/>
                <a:gd name="connsiteX7" fmla="*/ 110250 w 241875"/>
                <a:gd name="connsiteY7" fmla="*/ 131841 h 174375"/>
                <a:gd name="connsiteX8" fmla="*/ 87188 w 241875"/>
                <a:gd name="connsiteY8" fmla="*/ 8091 h 174375"/>
                <a:gd name="connsiteX9" fmla="*/ 75938 w 241875"/>
                <a:gd name="connsiteY9" fmla="*/ 216 h 174375"/>
                <a:gd name="connsiteX10" fmla="*/ 68063 w 241875"/>
                <a:gd name="connsiteY10" fmla="*/ 6966 h 174375"/>
                <a:gd name="connsiteX11" fmla="*/ 43875 w 241875"/>
                <a:gd name="connsiteY11" fmla="*/ 77841 h 174375"/>
                <a:gd name="connsiteX12" fmla="*/ 0 w 241875"/>
                <a:gd name="connsiteY12" fmla="*/ 77841 h 174375"/>
                <a:gd name="connsiteX13" fmla="*/ 0 w 241875"/>
                <a:gd name="connsiteY13" fmla="*/ 100341 h 174375"/>
                <a:gd name="connsiteX14" fmla="*/ 51188 w 241875"/>
                <a:gd name="connsiteY14" fmla="*/ 100341 h 174375"/>
                <a:gd name="connsiteX15" fmla="*/ 60750 w 241875"/>
                <a:gd name="connsiteY15" fmla="*/ 91903 h 174375"/>
                <a:gd name="connsiteX16" fmla="*/ 74812 w 241875"/>
                <a:gd name="connsiteY16" fmla="*/ 49153 h 174375"/>
                <a:gd name="connsiteX17" fmla="*/ 97312 w 241875"/>
                <a:gd name="connsiteY17" fmla="*/ 170091 h 174375"/>
                <a:gd name="connsiteX18" fmla="*/ 106313 w 241875"/>
                <a:gd name="connsiteY18" fmla="*/ 177966 h 174375"/>
                <a:gd name="connsiteX19" fmla="*/ 107437 w 241875"/>
                <a:gd name="connsiteY19" fmla="*/ 177966 h 174375"/>
                <a:gd name="connsiteX20" fmla="*/ 117000 w 241875"/>
                <a:gd name="connsiteY20" fmla="*/ 171778 h 174375"/>
                <a:gd name="connsiteX21" fmla="*/ 153000 w 241875"/>
                <a:gd name="connsiteY21" fmla="*/ 77278 h 174375"/>
                <a:gd name="connsiteX22" fmla="*/ 167625 w 241875"/>
                <a:gd name="connsiteY22" fmla="*/ 127903 h 174375"/>
                <a:gd name="connsiteX23" fmla="*/ 180000 w 241875"/>
                <a:gd name="connsiteY23" fmla="*/ 134653 h 174375"/>
                <a:gd name="connsiteX24" fmla="*/ 184500 w 241875"/>
                <a:gd name="connsiteY24" fmla="*/ 131841 h 174375"/>
                <a:gd name="connsiteX25" fmla="*/ 214875 w 241875"/>
                <a:gd name="connsiteY25" fmla="*/ 100341 h 174375"/>
                <a:gd name="connsiteX26" fmla="*/ 242437 w 241875"/>
                <a:gd name="connsiteY26" fmla="*/ 100341 h 174375"/>
                <a:gd name="connsiteX27" fmla="*/ 242437 w 241875"/>
                <a:gd name="connsiteY27" fmla="*/ 77841 h 174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41875" h="174375">
                  <a:moveTo>
                    <a:pt x="241875" y="77841"/>
                  </a:moveTo>
                  <a:lnTo>
                    <a:pt x="209813" y="77841"/>
                  </a:lnTo>
                  <a:cubicBezTo>
                    <a:pt x="207000" y="78403"/>
                    <a:pt x="204188" y="80091"/>
                    <a:pt x="202500" y="82341"/>
                  </a:cubicBezTo>
                  <a:lnTo>
                    <a:pt x="181125" y="105403"/>
                  </a:lnTo>
                  <a:lnTo>
                    <a:pt x="163125" y="42966"/>
                  </a:lnTo>
                  <a:cubicBezTo>
                    <a:pt x="161438" y="37903"/>
                    <a:pt x="155813" y="34528"/>
                    <a:pt x="150750" y="36216"/>
                  </a:cubicBezTo>
                  <a:cubicBezTo>
                    <a:pt x="147938" y="37341"/>
                    <a:pt x="145125" y="39028"/>
                    <a:pt x="144000" y="42403"/>
                  </a:cubicBezTo>
                  <a:lnTo>
                    <a:pt x="110250" y="131841"/>
                  </a:lnTo>
                  <a:lnTo>
                    <a:pt x="87188" y="8091"/>
                  </a:lnTo>
                  <a:cubicBezTo>
                    <a:pt x="86062" y="2466"/>
                    <a:pt x="81000" y="-909"/>
                    <a:pt x="75938" y="216"/>
                  </a:cubicBezTo>
                  <a:cubicBezTo>
                    <a:pt x="72563" y="778"/>
                    <a:pt x="69750" y="3591"/>
                    <a:pt x="68063" y="6966"/>
                  </a:cubicBezTo>
                  <a:lnTo>
                    <a:pt x="43875" y="77841"/>
                  </a:lnTo>
                  <a:lnTo>
                    <a:pt x="0" y="77841"/>
                  </a:lnTo>
                  <a:lnTo>
                    <a:pt x="0" y="100341"/>
                  </a:lnTo>
                  <a:lnTo>
                    <a:pt x="51188" y="100341"/>
                  </a:lnTo>
                  <a:cubicBezTo>
                    <a:pt x="55687" y="99778"/>
                    <a:pt x="59625" y="96403"/>
                    <a:pt x="60750" y="91903"/>
                  </a:cubicBezTo>
                  <a:lnTo>
                    <a:pt x="74812" y="49153"/>
                  </a:lnTo>
                  <a:lnTo>
                    <a:pt x="97312" y="170091"/>
                  </a:lnTo>
                  <a:cubicBezTo>
                    <a:pt x="97875" y="174591"/>
                    <a:pt x="101812" y="177966"/>
                    <a:pt x="106313" y="177966"/>
                  </a:cubicBezTo>
                  <a:lnTo>
                    <a:pt x="107437" y="177966"/>
                  </a:lnTo>
                  <a:cubicBezTo>
                    <a:pt x="111375" y="177966"/>
                    <a:pt x="115313" y="175716"/>
                    <a:pt x="117000" y="171778"/>
                  </a:cubicBezTo>
                  <a:lnTo>
                    <a:pt x="153000" y="77278"/>
                  </a:lnTo>
                  <a:lnTo>
                    <a:pt x="167625" y="127903"/>
                  </a:lnTo>
                  <a:cubicBezTo>
                    <a:pt x="169312" y="132966"/>
                    <a:pt x="174375" y="136341"/>
                    <a:pt x="180000" y="134653"/>
                  </a:cubicBezTo>
                  <a:cubicBezTo>
                    <a:pt x="181688" y="134091"/>
                    <a:pt x="183375" y="132966"/>
                    <a:pt x="184500" y="131841"/>
                  </a:cubicBezTo>
                  <a:lnTo>
                    <a:pt x="214875" y="100341"/>
                  </a:lnTo>
                  <a:lnTo>
                    <a:pt x="242437" y="100341"/>
                  </a:lnTo>
                  <a:lnTo>
                    <a:pt x="242437" y="77841"/>
                  </a:lnTo>
                  <a:close/>
                </a:path>
              </a:pathLst>
            </a:custGeom>
            <a:grpFill/>
            <a:ln w="55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cs typeface="Segoe UI Light"/>
              </a:endParaRPr>
            </a:p>
          </p:txBody>
        </p:sp>
      </p:grpSp>
      <p:sp>
        <p:nvSpPr>
          <p:cNvPr id="9" name="Textfeld 8">
            <a:extLst>
              <a:ext uri="{FF2B5EF4-FFF2-40B4-BE49-F238E27FC236}">
                <a16:creationId xmlns:a16="http://schemas.microsoft.com/office/drawing/2014/main" id="{3DD27D64-9C93-7E51-3174-3F15A1CB11F7}"/>
              </a:ext>
            </a:extLst>
          </p:cNvPr>
          <p:cNvSpPr txBox="1"/>
          <p:nvPr/>
        </p:nvSpPr>
        <p:spPr>
          <a:xfrm>
            <a:off x="1036320" y="5059680"/>
            <a:ext cx="3017520" cy="914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0" i="0" u="none" dirty="0"/>
              <a:t>„</a:t>
            </a:r>
            <a:r>
              <a:rPr lang="de-DE" sz="1600" b="0" i="0" u="none" dirty="0" err="1"/>
              <a:t>Please</a:t>
            </a:r>
            <a:r>
              <a:rPr lang="de-DE" sz="1600" b="0" i="0" u="none" dirty="0"/>
              <a:t> </a:t>
            </a:r>
            <a:r>
              <a:rPr lang="de-DE" sz="1600" b="0" i="0" u="none" dirty="0" err="1"/>
              <a:t>sell</a:t>
            </a:r>
            <a:r>
              <a:rPr lang="de-DE" sz="1600" b="0" i="0" u="none" dirty="0"/>
              <a:t> 1 MW/h </a:t>
            </a:r>
            <a:r>
              <a:rPr lang="de-DE" sz="1600" b="0" i="0" u="none" dirty="0" err="1"/>
              <a:t>for</a:t>
            </a:r>
            <a:endParaRPr lang="de-DE" sz="1600" b="0" i="0" u="none" dirty="0"/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0" i="0" u="none" dirty="0" err="1"/>
              <a:t>hour</a:t>
            </a:r>
            <a:r>
              <a:rPr lang="de-DE" sz="1600" dirty="0"/>
              <a:t> 1 </a:t>
            </a:r>
            <a:r>
              <a:rPr lang="de-DE" sz="1600" dirty="0" err="1"/>
              <a:t>pm</a:t>
            </a:r>
            <a:r>
              <a:rPr lang="de-DE" sz="1600" dirty="0"/>
              <a:t> – 2 </a:t>
            </a:r>
            <a:r>
              <a:rPr lang="de-DE" sz="1600" dirty="0" err="1"/>
              <a:t>pm</a:t>
            </a:r>
            <a:r>
              <a:rPr lang="de-DE" sz="1600" dirty="0"/>
              <a:t>, </a:t>
            </a:r>
            <a:r>
              <a:rPr lang="de-DE" sz="1600" dirty="0" err="1"/>
              <a:t>because</a:t>
            </a:r>
            <a:endParaRPr lang="de-DE" sz="1600" dirty="0"/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err="1"/>
              <a:t>we</a:t>
            </a:r>
            <a:r>
              <a:rPr lang="de-DE" sz="1600" dirty="0"/>
              <a:t> will </a:t>
            </a:r>
            <a:r>
              <a:rPr lang="de-DE" sz="1600" dirty="0" err="1"/>
              <a:t>produce</a:t>
            </a:r>
            <a:r>
              <a:rPr lang="de-DE" sz="1600" dirty="0"/>
              <a:t> </a:t>
            </a:r>
            <a:r>
              <a:rPr lang="de-DE" sz="1600" dirty="0" err="1"/>
              <a:t>more</a:t>
            </a:r>
            <a:r>
              <a:rPr lang="de-DE" sz="1600" dirty="0"/>
              <a:t> </a:t>
            </a:r>
            <a:r>
              <a:rPr lang="de-DE" sz="1600" dirty="0" err="1"/>
              <a:t>than</a:t>
            </a:r>
            <a:r>
              <a:rPr lang="de-DE" sz="1600" dirty="0"/>
              <a:t> </a:t>
            </a:r>
            <a:r>
              <a:rPr lang="de-DE" sz="1600" dirty="0" err="1"/>
              <a:t>we</a:t>
            </a:r>
            <a:r>
              <a:rPr lang="de-DE" sz="1600" dirty="0"/>
              <a:t> </a:t>
            </a:r>
            <a:r>
              <a:rPr lang="de-DE" sz="1600" dirty="0" err="1"/>
              <a:t>predicted</a:t>
            </a:r>
            <a:r>
              <a:rPr lang="de-DE" sz="1600" dirty="0"/>
              <a:t>“</a:t>
            </a:r>
            <a:endParaRPr lang="de-DE" sz="1600" b="0" i="0" u="none" dirty="0"/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C7DAE0F4-D15D-D61E-12EC-D21E2716ACAA}"/>
              </a:ext>
            </a:extLst>
          </p:cNvPr>
          <p:cNvSpPr txBox="1"/>
          <p:nvPr/>
        </p:nvSpPr>
        <p:spPr>
          <a:xfrm>
            <a:off x="4941221" y="5059680"/>
            <a:ext cx="2461523" cy="914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0" i="0" u="none" dirty="0"/>
              <a:t>Trader „</a:t>
            </a:r>
            <a:r>
              <a:rPr lang="de-DE" sz="1600" b="0" i="0" u="none" dirty="0" err="1"/>
              <a:t>buys</a:t>
            </a:r>
            <a:r>
              <a:rPr lang="de-DE" sz="1600" b="0" i="0" u="none" dirty="0"/>
              <a:t>“ 1 MW/h </a:t>
            </a:r>
            <a:r>
              <a:rPr lang="de-DE" sz="1600" b="0" i="0" u="none" dirty="0" err="1"/>
              <a:t>for</a:t>
            </a:r>
            <a:r>
              <a:rPr lang="de-DE" sz="1600" b="0" i="0" u="none" dirty="0"/>
              <a:t> </a:t>
            </a:r>
            <a:r>
              <a:rPr lang="de-DE" sz="1600" b="0" i="0" u="none" dirty="0" err="1"/>
              <a:t>the</a:t>
            </a:r>
            <a:endParaRPr lang="de-DE" sz="1600" b="0" i="0" u="none" dirty="0"/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/>
              <a:t>ID3 </a:t>
            </a:r>
            <a:r>
              <a:rPr lang="de-DE" sz="1600" dirty="0" err="1"/>
              <a:t>price</a:t>
            </a:r>
            <a:r>
              <a:rPr lang="de-DE" sz="1600" dirty="0"/>
              <a:t> </a:t>
            </a:r>
            <a:r>
              <a:rPr lang="de-DE" sz="1600" dirty="0" err="1"/>
              <a:t>from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producer</a:t>
            </a:r>
            <a:r>
              <a:rPr lang="de-DE" sz="1600" dirty="0"/>
              <a:t>.</a:t>
            </a:r>
            <a:endParaRPr lang="de-DE" sz="1600" b="0" i="0" u="none" dirty="0"/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B04096C4-4823-6D0E-4B3F-AA02A27BDF4C}"/>
              </a:ext>
            </a:extLst>
          </p:cNvPr>
          <p:cNvSpPr txBox="1"/>
          <p:nvPr/>
        </p:nvSpPr>
        <p:spPr>
          <a:xfrm>
            <a:off x="9284298" y="5059680"/>
            <a:ext cx="2348901" cy="914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0" i="0" u="none" dirty="0"/>
              <a:t>Trader </a:t>
            </a:r>
            <a:r>
              <a:rPr lang="de-DE" sz="1600" b="0" i="0" u="none" dirty="0" err="1"/>
              <a:t>tries</a:t>
            </a:r>
            <a:r>
              <a:rPr lang="de-DE" sz="1600" b="0" i="0" u="none" dirty="0"/>
              <a:t> </a:t>
            </a:r>
            <a:r>
              <a:rPr lang="de-DE" sz="1600" b="0" i="0" u="none" dirty="0" err="1"/>
              <a:t>to</a:t>
            </a:r>
            <a:r>
              <a:rPr lang="de-DE" sz="1600" b="0" i="0" u="none" dirty="0"/>
              <a:t> </a:t>
            </a:r>
            <a:r>
              <a:rPr lang="de-DE" sz="1600" b="0" i="0" u="none" dirty="0" err="1"/>
              <a:t>sell</a:t>
            </a:r>
            <a:r>
              <a:rPr lang="de-DE" sz="1600" b="0" i="0" u="none" dirty="0"/>
              <a:t> 1 MW/h 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0" i="0" u="none" dirty="0" err="1"/>
              <a:t>for</a:t>
            </a:r>
            <a:r>
              <a:rPr lang="de-DE" sz="1600" b="0" i="0" u="none" dirty="0"/>
              <a:t> </a:t>
            </a:r>
            <a:r>
              <a:rPr lang="de-DE" sz="1600" b="0" i="0" u="none" dirty="0" err="1"/>
              <a:t>more</a:t>
            </a:r>
            <a:r>
              <a:rPr lang="de-DE" sz="1600" b="0" i="0" u="none" dirty="0"/>
              <a:t> </a:t>
            </a:r>
            <a:r>
              <a:rPr lang="de-DE" sz="1600" b="0" i="0" u="none" dirty="0" err="1"/>
              <a:t>than</a:t>
            </a:r>
            <a:r>
              <a:rPr lang="de-DE" sz="1600" b="0" i="0" u="none" dirty="0"/>
              <a:t> </a:t>
            </a:r>
            <a:r>
              <a:rPr lang="de-DE" sz="1600" b="0" i="0" u="none" dirty="0" err="1"/>
              <a:t>the</a:t>
            </a:r>
            <a:r>
              <a:rPr lang="de-DE" sz="1600" dirty="0"/>
              <a:t> ID3 </a:t>
            </a:r>
            <a:r>
              <a:rPr lang="de-DE" sz="1600" dirty="0" err="1"/>
              <a:t>price</a:t>
            </a:r>
            <a:r>
              <a:rPr lang="de-DE" sz="1600" dirty="0"/>
              <a:t>.</a:t>
            </a:r>
            <a:endParaRPr lang="de-DE" sz="1600" b="0" i="0" u="none" dirty="0"/>
          </a:p>
        </p:txBody>
      </p:sp>
    </p:spTree>
    <p:extLst>
      <p:ext uri="{BB962C8B-B14F-4D97-AF65-F5344CB8AC3E}">
        <p14:creationId xmlns:p14="http://schemas.microsoft.com/office/powerpoint/2010/main" val="38184230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26" grpId="0"/>
      <p:bldP spid="3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0E0D5A66-3AFC-2FE5-E2F9-B3F69F372DDA}"/>
              </a:ext>
            </a:extLst>
          </p:cNvPr>
          <p:cNvSpPr txBox="1"/>
          <p:nvPr/>
        </p:nvSpPr>
        <p:spPr>
          <a:xfrm>
            <a:off x="1036320" y="1275016"/>
            <a:ext cx="914400" cy="914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/>
              <a:t>Forecast </a:t>
            </a:r>
            <a:r>
              <a:rPr lang="de-DE" sz="1600" dirty="0" err="1"/>
              <a:t>the</a:t>
            </a:r>
            <a:r>
              <a:rPr lang="de-DE" sz="1600" dirty="0"/>
              <a:t> ID3 </a:t>
            </a:r>
            <a:r>
              <a:rPr lang="de-DE" sz="1600" dirty="0" err="1"/>
              <a:t>price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turkish</a:t>
            </a:r>
            <a:r>
              <a:rPr lang="de-DE" sz="1600" dirty="0"/>
              <a:t> </a:t>
            </a:r>
            <a:r>
              <a:rPr lang="de-DE" sz="1600" dirty="0" err="1"/>
              <a:t>intraday</a:t>
            </a:r>
            <a:r>
              <a:rPr lang="de-DE" sz="1600" dirty="0"/>
              <a:t> </a:t>
            </a:r>
            <a:r>
              <a:rPr lang="de-DE" sz="1600" dirty="0" err="1"/>
              <a:t>electricity</a:t>
            </a:r>
            <a:r>
              <a:rPr lang="de-DE" sz="1600" dirty="0"/>
              <a:t> </a:t>
            </a:r>
            <a:r>
              <a:rPr lang="de-DE" sz="1600" dirty="0" err="1"/>
              <a:t>market</a:t>
            </a:r>
            <a:endParaRPr lang="de-DE" sz="1600" b="0" i="0" u="none" dirty="0"/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EFA65F0A-182F-6ACB-69DB-C5DCB89055B7}"/>
              </a:ext>
            </a:extLst>
          </p:cNvPr>
          <p:cNvCxnSpPr/>
          <p:nvPr/>
        </p:nvCxnSpPr>
        <p:spPr>
          <a:xfrm>
            <a:off x="448291" y="1778000"/>
            <a:ext cx="11295417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D06C648A-527D-6053-9043-C815013E7F0A}"/>
              </a:ext>
            </a:extLst>
          </p:cNvPr>
          <p:cNvSpPr txBox="1"/>
          <p:nvPr/>
        </p:nvSpPr>
        <p:spPr>
          <a:xfrm>
            <a:off x="5699044" y="2009416"/>
            <a:ext cx="793912" cy="336733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i="0" u="none" dirty="0"/>
              <a:t>ID3 </a:t>
            </a:r>
            <a:r>
              <a:rPr lang="de-DE" sz="1600" b="1" i="0" u="none" dirty="0" err="1"/>
              <a:t>price</a:t>
            </a:r>
            <a:endParaRPr lang="de-DE" sz="1600" b="1" i="0" u="none" dirty="0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94041A48-6112-AD21-F82F-B772E5D6BB6C}"/>
              </a:ext>
            </a:extLst>
          </p:cNvPr>
          <p:cNvGrpSpPr/>
          <p:nvPr/>
        </p:nvGrpSpPr>
        <p:grpSpPr>
          <a:xfrm>
            <a:off x="1036320" y="2543860"/>
            <a:ext cx="1525293" cy="1983600"/>
            <a:chOff x="3045860" y="2645460"/>
            <a:chExt cx="1525293" cy="1983600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94684945-8AFB-E54F-FAA6-5D502E8882BA}"/>
                </a:ext>
              </a:extLst>
            </p:cNvPr>
            <p:cNvSpPr/>
            <p:nvPr/>
          </p:nvSpPr>
          <p:spPr>
            <a:xfrm>
              <a:off x="3045860" y="2645460"/>
              <a:ext cx="1525293" cy="198360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7200" tIns="97200" rIns="97200" bIns="97200" rtlCol="0" anchor="ctr"/>
            <a:lstStyle/>
            <a:p>
              <a:pPr algn="ctr" defTabSz="486000"/>
              <a:endParaRPr lang="de-DE" sz="1600" dirty="0">
                <a:solidFill>
                  <a:schemeClr val="tx1"/>
                </a:solidFill>
              </a:endParaRPr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B5114924-A2C7-7FC3-FA61-2C85F82CDAC3}"/>
                </a:ext>
              </a:extLst>
            </p:cNvPr>
            <p:cNvGrpSpPr/>
            <p:nvPr/>
          </p:nvGrpSpPr>
          <p:grpSpPr>
            <a:xfrm>
              <a:off x="3102386" y="2689411"/>
              <a:ext cx="1422400" cy="1681949"/>
              <a:chOff x="2098038" y="2455731"/>
              <a:chExt cx="1422400" cy="1681949"/>
            </a:xfrm>
          </p:grpSpPr>
          <p:pic>
            <p:nvPicPr>
              <p:cNvPr id="3" name="Grafik 2" descr="Benutzer Silhouette">
                <a:extLst>
                  <a:ext uri="{FF2B5EF4-FFF2-40B4-BE49-F238E27FC236}">
                    <a16:creationId xmlns:a16="http://schemas.microsoft.com/office/drawing/2014/main" id="{F16FCDEA-70ED-9961-D759-17DAC3AA5F5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2387600" y="2778761"/>
                <a:ext cx="833119" cy="833119"/>
              </a:xfrm>
              <a:prstGeom prst="rect">
                <a:avLst/>
              </a:prstGeom>
            </p:spPr>
          </p:pic>
          <p:sp>
            <p:nvSpPr>
              <p:cNvPr id="4" name="Textfeld 3">
                <a:extLst>
                  <a:ext uri="{FF2B5EF4-FFF2-40B4-BE49-F238E27FC236}">
                    <a16:creationId xmlns:a16="http://schemas.microsoft.com/office/drawing/2014/main" id="{4DD8443F-DF91-88E3-3120-0EFD8A580F7B}"/>
                  </a:ext>
                </a:extLst>
              </p:cNvPr>
              <p:cNvSpPr txBox="1"/>
              <p:nvPr/>
            </p:nvSpPr>
            <p:spPr>
              <a:xfrm>
                <a:off x="2468880" y="2455731"/>
                <a:ext cx="833119" cy="947849"/>
              </a:xfrm>
              <a:prstGeom prst="rect">
                <a:avLst/>
              </a:prstGeom>
              <a:noFill/>
            </p:spPr>
            <p:txBody>
              <a:bodyPr vert="horz" wrap="none" lIns="0" tIns="0" rIns="0" bIns="0" rtlCol="0">
                <a:noAutofit/>
              </a:bodyPr>
              <a:lstStyle/>
              <a:p>
                <a:pPr algn="l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600" b="1" i="0" u="none" dirty="0"/>
                  <a:t>Producer</a:t>
                </a:r>
              </a:p>
            </p:txBody>
          </p:sp>
          <p:pic>
            <p:nvPicPr>
              <p:cNvPr id="6" name="Grafik 5" descr="Windkraftanlagen Silhouette">
                <a:extLst>
                  <a:ext uri="{FF2B5EF4-FFF2-40B4-BE49-F238E27FC236}">
                    <a16:creationId xmlns:a16="http://schemas.microsoft.com/office/drawing/2014/main" id="{53F290A2-EA6D-332A-2359-B3EDFFD38C3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2098038" y="3611880"/>
                <a:ext cx="457201" cy="457201"/>
              </a:xfrm>
              <a:prstGeom prst="rect">
                <a:avLst/>
              </a:prstGeom>
            </p:spPr>
          </p:pic>
          <p:pic>
            <p:nvPicPr>
              <p:cNvPr id="11" name="Grafik 10" descr="Fabrik Silhouette">
                <a:extLst>
                  <a:ext uri="{FF2B5EF4-FFF2-40B4-BE49-F238E27FC236}">
                    <a16:creationId xmlns:a16="http://schemas.microsoft.com/office/drawing/2014/main" id="{4EFB40D3-547E-43B6-AE4C-EBD889AD15C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2885439" y="3502681"/>
                <a:ext cx="634999" cy="634999"/>
              </a:xfrm>
              <a:prstGeom prst="rect">
                <a:avLst/>
              </a:prstGeom>
            </p:spPr>
          </p:pic>
        </p:grpSp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89F17CBC-00AA-D924-EC39-D6556A662D87}"/>
              </a:ext>
            </a:extLst>
          </p:cNvPr>
          <p:cNvGrpSpPr/>
          <p:nvPr/>
        </p:nvGrpSpPr>
        <p:grpSpPr>
          <a:xfrm>
            <a:off x="9630388" y="2543860"/>
            <a:ext cx="1525293" cy="1983600"/>
            <a:chOff x="7796257" y="2543860"/>
            <a:chExt cx="1525293" cy="1983600"/>
          </a:xfrm>
        </p:grpSpPr>
        <p:grpSp>
          <p:nvGrpSpPr>
            <p:cNvPr id="19" name="Gruppieren 18">
              <a:extLst>
                <a:ext uri="{FF2B5EF4-FFF2-40B4-BE49-F238E27FC236}">
                  <a16:creationId xmlns:a16="http://schemas.microsoft.com/office/drawing/2014/main" id="{F783BF81-8606-6C90-3C24-F905F7FAE9F5}"/>
                </a:ext>
              </a:extLst>
            </p:cNvPr>
            <p:cNvGrpSpPr/>
            <p:nvPr/>
          </p:nvGrpSpPr>
          <p:grpSpPr>
            <a:xfrm>
              <a:off x="7796257" y="2543860"/>
              <a:ext cx="1525293" cy="1983600"/>
              <a:chOff x="3045860" y="2645460"/>
              <a:chExt cx="1525293" cy="1983600"/>
            </a:xfrm>
          </p:grpSpPr>
          <p:sp>
            <p:nvSpPr>
              <p:cNvPr id="20" name="Rechteck 19">
                <a:extLst>
                  <a:ext uri="{FF2B5EF4-FFF2-40B4-BE49-F238E27FC236}">
                    <a16:creationId xmlns:a16="http://schemas.microsoft.com/office/drawing/2014/main" id="{FB19C8B1-7813-98AD-83EC-620FE0099757}"/>
                  </a:ext>
                </a:extLst>
              </p:cNvPr>
              <p:cNvSpPr/>
              <p:nvPr/>
            </p:nvSpPr>
            <p:spPr>
              <a:xfrm>
                <a:off x="3045860" y="2645460"/>
                <a:ext cx="1525293" cy="1983600"/>
              </a:xfrm>
              <a:prstGeom prst="rect">
                <a:avLst/>
              </a:prstGeom>
              <a:solidFill>
                <a:schemeClr val="bg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rgbClr val="666666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7200" tIns="97200" rIns="97200" bIns="97200" rtlCol="0" anchor="ctr"/>
              <a:lstStyle/>
              <a:p>
                <a:pPr algn="ctr" defTabSz="486000"/>
                <a:endParaRPr lang="de-DE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3" name="Textfeld 22">
                <a:extLst>
                  <a:ext uri="{FF2B5EF4-FFF2-40B4-BE49-F238E27FC236}">
                    <a16:creationId xmlns:a16="http://schemas.microsoft.com/office/drawing/2014/main" id="{78762981-F65C-A7CA-4417-9C28D2A92190}"/>
                  </a:ext>
                </a:extLst>
              </p:cNvPr>
              <p:cNvSpPr txBox="1"/>
              <p:nvPr/>
            </p:nvSpPr>
            <p:spPr>
              <a:xfrm>
                <a:off x="3473228" y="2689412"/>
                <a:ext cx="833119" cy="390290"/>
              </a:xfrm>
              <a:prstGeom prst="rect">
                <a:avLst/>
              </a:prstGeom>
              <a:noFill/>
            </p:spPr>
            <p:txBody>
              <a:bodyPr vert="horz" wrap="none" lIns="0" tIns="0" rIns="0" bIns="0" rtlCol="0">
                <a:noAutofit/>
              </a:bodyPr>
              <a:lstStyle/>
              <a:p>
                <a:pPr algn="l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600" b="1" dirty="0"/>
                  <a:t>Market</a:t>
                </a:r>
                <a:endParaRPr lang="de-DE" sz="1600" b="1" i="0" u="none" dirty="0"/>
              </a:p>
            </p:txBody>
          </p:sp>
        </p:grpSp>
        <p:pic>
          <p:nvPicPr>
            <p:cNvPr id="27" name="Grafik 26" descr="Warenkorb Silhouette">
              <a:extLst>
                <a:ext uri="{FF2B5EF4-FFF2-40B4-BE49-F238E27FC236}">
                  <a16:creationId xmlns:a16="http://schemas.microsoft.com/office/drawing/2014/main" id="{A29C65B8-3709-9566-F974-86497F333C6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8198903" y="3159899"/>
              <a:ext cx="720000" cy="720000"/>
            </a:xfrm>
            <a:prstGeom prst="rect">
              <a:avLst/>
            </a:prstGeom>
          </p:spPr>
        </p:pic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D933559A-4F42-6877-FF44-D0854B978D9D}"/>
              </a:ext>
            </a:extLst>
          </p:cNvPr>
          <p:cNvGrpSpPr/>
          <p:nvPr/>
        </p:nvGrpSpPr>
        <p:grpSpPr>
          <a:xfrm>
            <a:off x="3158599" y="3126343"/>
            <a:ext cx="1632973" cy="720000"/>
            <a:chOff x="5085079" y="2978102"/>
            <a:chExt cx="2021840" cy="994458"/>
          </a:xfrm>
        </p:grpSpPr>
        <p:sp>
          <p:nvSpPr>
            <p:cNvPr id="28" name="Pfeil: nach rechts 27">
              <a:extLst>
                <a:ext uri="{FF2B5EF4-FFF2-40B4-BE49-F238E27FC236}">
                  <a16:creationId xmlns:a16="http://schemas.microsoft.com/office/drawing/2014/main" id="{C3D48D27-7112-C379-7A3F-9B5C20D39901}"/>
                </a:ext>
              </a:extLst>
            </p:cNvPr>
            <p:cNvSpPr/>
            <p:nvPr/>
          </p:nvSpPr>
          <p:spPr>
            <a:xfrm>
              <a:off x="5085079" y="2978102"/>
              <a:ext cx="2021840" cy="450882"/>
            </a:xfrm>
            <a:prstGeom prst="rightArrow">
              <a:avLst/>
            </a:prstGeom>
            <a:solidFill>
              <a:schemeClr val="accent1"/>
            </a:solidFill>
            <a:ln w="9525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7200" tIns="97200" rIns="97200" bIns="97200" rtlCol="0" anchor="ctr"/>
            <a:lstStyle/>
            <a:p>
              <a:pPr algn="ctr" defTabSz="486000"/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29" name="Pfeil: nach rechts 28">
              <a:extLst>
                <a:ext uri="{FF2B5EF4-FFF2-40B4-BE49-F238E27FC236}">
                  <a16:creationId xmlns:a16="http://schemas.microsoft.com/office/drawing/2014/main" id="{66CE74EC-C4D2-654F-0F00-30B2602A6202}"/>
                </a:ext>
              </a:extLst>
            </p:cNvPr>
            <p:cNvSpPr/>
            <p:nvPr/>
          </p:nvSpPr>
          <p:spPr>
            <a:xfrm rot="10800000">
              <a:off x="5085079" y="3521678"/>
              <a:ext cx="2021840" cy="450882"/>
            </a:xfrm>
            <a:prstGeom prst="rightArrow">
              <a:avLst/>
            </a:prstGeom>
            <a:solidFill>
              <a:schemeClr val="accent1"/>
            </a:solidFill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7200" tIns="97200" rIns="97200" bIns="97200" rtlCol="0" anchor="ctr"/>
            <a:lstStyle/>
            <a:p>
              <a:pPr algn="ctr" defTabSz="486000"/>
              <a:endParaRPr lang="de-DE" sz="16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DF32402C-F944-13B9-BBAC-1AE8B101B7E1}"/>
              </a:ext>
            </a:extLst>
          </p:cNvPr>
          <p:cNvGrpSpPr/>
          <p:nvPr/>
        </p:nvGrpSpPr>
        <p:grpSpPr>
          <a:xfrm>
            <a:off x="5333354" y="2543860"/>
            <a:ext cx="1525293" cy="1983600"/>
            <a:chOff x="3045860" y="2645460"/>
            <a:chExt cx="1525293" cy="1983600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51DF535E-4733-8892-F41D-BC5C554B9C54}"/>
                </a:ext>
              </a:extLst>
            </p:cNvPr>
            <p:cNvSpPr/>
            <p:nvPr/>
          </p:nvSpPr>
          <p:spPr>
            <a:xfrm>
              <a:off x="3045860" y="2645460"/>
              <a:ext cx="1525293" cy="198360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7200" tIns="97200" rIns="97200" bIns="97200" rtlCol="0" anchor="ctr"/>
            <a:lstStyle/>
            <a:p>
              <a:pPr algn="ctr" defTabSz="486000"/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id="{04247515-B5DE-3EFA-CBB9-B2698006353B}"/>
                </a:ext>
              </a:extLst>
            </p:cNvPr>
            <p:cNvSpPr txBox="1"/>
            <p:nvPr/>
          </p:nvSpPr>
          <p:spPr>
            <a:xfrm>
              <a:off x="3178262" y="2689411"/>
              <a:ext cx="1260487" cy="496650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1" i="0" u="none" dirty="0"/>
                <a:t>Trading </a:t>
              </a:r>
            </a:p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600" b="1" dirty="0"/>
                <a:t>Company</a:t>
              </a:r>
              <a:endParaRPr lang="de-DE" sz="1600" b="1" i="0" u="none" dirty="0"/>
            </a:p>
          </p:txBody>
        </p:sp>
      </p:grp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81335E51-81E1-3248-5FF2-DC866A51E958}"/>
              </a:ext>
            </a:extLst>
          </p:cNvPr>
          <p:cNvGrpSpPr/>
          <p:nvPr/>
        </p:nvGrpSpPr>
        <p:grpSpPr>
          <a:xfrm>
            <a:off x="7453544" y="3126343"/>
            <a:ext cx="1632973" cy="720000"/>
            <a:chOff x="5085079" y="2978102"/>
            <a:chExt cx="2021840" cy="994458"/>
          </a:xfrm>
        </p:grpSpPr>
        <p:sp>
          <p:nvSpPr>
            <p:cNvPr id="34" name="Pfeil: nach rechts 33">
              <a:extLst>
                <a:ext uri="{FF2B5EF4-FFF2-40B4-BE49-F238E27FC236}">
                  <a16:creationId xmlns:a16="http://schemas.microsoft.com/office/drawing/2014/main" id="{D02379AB-D97B-B440-B05C-07CE7118BCE4}"/>
                </a:ext>
              </a:extLst>
            </p:cNvPr>
            <p:cNvSpPr/>
            <p:nvPr/>
          </p:nvSpPr>
          <p:spPr>
            <a:xfrm>
              <a:off x="5085079" y="2978102"/>
              <a:ext cx="2021840" cy="450882"/>
            </a:xfrm>
            <a:prstGeom prst="rightArrow">
              <a:avLst/>
            </a:prstGeom>
            <a:solidFill>
              <a:schemeClr val="accent1"/>
            </a:solidFill>
            <a:ln w="9525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7200" tIns="97200" rIns="97200" bIns="97200" rtlCol="0" anchor="ctr"/>
            <a:lstStyle/>
            <a:p>
              <a:pPr algn="ctr" defTabSz="486000"/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35" name="Pfeil: nach rechts 34">
              <a:extLst>
                <a:ext uri="{FF2B5EF4-FFF2-40B4-BE49-F238E27FC236}">
                  <a16:creationId xmlns:a16="http://schemas.microsoft.com/office/drawing/2014/main" id="{9E98CDEE-4DC9-EABF-3649-B2A135DB51C6}"/>
                </a:ext>
              </a:extLst>
            </p:cNvPr>
            <p:cNvSpPr/>
            <p:nvPr/>
          </p:nvSpPr>
          <p:spPr>
            <a:xfrm rot="10800000">
              <a:off x="5085079" y="3521678"/>
              <a:ext cx="2021840" cy="450882"/>
            </a:xfrm>
            <a:prstGeom prst="rightArrow">
              <a:avLst/>
            </a:prstGeom>
            <a:solidFill>
              <a:schemeClr val="accent1"/>
            </a:solidFill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7200" tIns="97200" rIns="97200" bIns="97200" rtlCol="0" anchor="ctr"/>
            <a:lstStyle/>
            <a:p>
              <a:pPr algn="ctr" defTabSz="486000"/>
              <a:endParaRPr lang="de-DE" sz="1600" dirty="0">
                <a:solidFill>
                  <a:schemeClr val="tx1"/>
                </a:solidFill>
              </a:endParaRPr>
            </a:p>
          </p:txBody>
        </p:sp>
      </p:grpSp>
      <p:pic>
        <p:nvPicPr>
          <p:cNvPr id="37" name="Grafik 36" descr="Darlehen Silhouette">
            <a:extLst>
              <a:ext uri="{FF2B5EF4-FFF2-40B4-BE49-F238E27FC236}">
                <a16:creationId xmlns:a16="http://schemas.microsoft.com/office/drawing/2014/main" id="{C4086C6D-B03D-E5B7-865B-9A346CA2431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735999" y="3175660"/>
            <a:ext cx="720000" cy="720000"/>
          </a:xfrm>
          <a:prstGeom prst="rect">
            <a:avLst/>
          </a:prstGeom>
        </p:spPr>
      </p:pic>
      <p:sp>
        <p:nvSpPr>
          <p:cNvPr id="42" name="Textfeld 41">
            <a:extLst>
              <a:ext uri="{FF2B5EF4-FFF2-40B4-BE49-F238E27FC236}">
                <a16:creationId xmlns:a16="http://schemas.microsoft.com/office/drawing/2014/main" id="{7432F26B-FDD5-DB0D-2C28-09934457F264}"/>
              </a:ext>
            </a:extLst>
          </p:cNvPr>
          <p:cNvSpPr txBox="1"/>
          <p:nvPr/>
        </p:nvSpPr>
        <p:spPr>
          <a:xfrm>
            <a:off x="490668" y="368749"/>
            <a:ext cx="8068236" cy="914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3600" b="1" i="0" u="none" dirty="0" err="1">
                <a:latin typeface="Segoe UI Semibold (Überschriften)"/>
              </a:rPr>
              <a:t>Introduction</a:t>
            </a:r>
            <a:r>
              <a:rPr lang="de-DE" sz="3600" b="1" i="0" u="none" dirty="0">
                <a:latin typeface="Segoe UI Semibold (Überschriften)"/>
              </a:rPr>
              <a:t> </a:t>
            </a:r>
            <a:r>
              <a:rPr lang="de-DE" sz="3600" b="1" i="0" u="none" dirty="0" err="1">
                <a:latin typeface="Segoe UI Semibold (Überschriften)"/>
              </a:rPr>
              <a:t>to</a:t>
            </a:r>
            <a:r>
              <a:rPr lang="de-DE" sz="3600" b="1" i="0" u="none" dirty="0">
                <a:latin typeface="Segoe UI Semibold (Überschriften)"/>
              </a:rPr>
              <a:t> </a:t>
            </a:r>
            <a:r>
              <a:rPr lang="de-DE" sz="3600" b="1" i="0" u="none" dirty="0" err="1">
                <a:latin typeface="Segoe UI Semibold (Überschriften)"/>
              </a:rPr>
              <a:t>our</a:t>
            </a:r>
            <a:r>
              <a:rPr lang="de-DE" sz="3600" b="1" i="0" u="none" dirty="0">
                <a:latin typeface="Segoe UI Semibold (Überschriften)"/>
              </a:rPr>
              <a:t> </a:t>
            </a:r>
            <a:r>
              <a:rPr lang="de-DE" sz="3600" b="1" i="0" u="none" dirty="0" err="1">
                <a:latin typeface="Segoe UI Semibold (Überschriften)"/>
              </a:rPr>
              <a:t>project</a:t>
            </a:r>
            <a:endParaRPr lang="de-DE" sz="3600" b="1" i="0" u="none" dirty="0">
              <a:latin typeface="Segoe UI Semibold (Überschriften)"/>
            </a:endParaRPr>
          </a:p>
        </p:txBody>
      </p:sp>
      <p:grpSp>
        <p:nvGrpSpPr>
          <p:cNvPr id="5" name="Magnifying glass 02">
            <a:extLst>
              <a:ext uri="{FF2B5EF4-FFF2-40B4-BE49-F238E27FC236}">
                <a16:creationId xmlns:a16="http://schemas.microsoft.com/office/drawing/2014/main" id="{09D36A4D-F71F-8422-4150-FA9AAFB81E35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>
          <a:xfrm>
            <a:off x="490668" y="1214941"/>
            <a:ext cx="360000" cy="360000"/>
            <a:chOff x="2811687" y="3640192"/>
            <a:chExt cx="592500" cy="592500"/>
          </a:xfrm>
          <a:solidFill>
            <a:schemeClr val="tx1"/>
          </a:solidFill>
        </p:grpSpPr>
        <p:sp>
          <p:nvSpPr>
            <p:cNvPr id="22" name="MIO_PICTOGRAM_PART2">
              <a:extLst>
                <a:ext uri="{FF2B5EF4-FFF2-40B4-BE49-F238E27FC236}">
                  <a16:creationId xmlns:a16="http://schemas.microsoft.com/office/drawing/2014/main" id="{035A92A5-FCD0-DFAC-121E-CF716B28336A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>
            <a:xfrm>
              <a:off x="2811687" y="3640192"/>
              <a:ext cx="592500" cy="592500"/>
            </a:xfrm>
            <a:custGeom>
              <a:avLst/>
              <a:gdLst>
                <a:gd name="connsiteX0" fmla="*/ 363941 w 444375"/>
                <a:gd name="connsiteY0" fmla="*/ 308253 h 444375"/>
                <a:gd name="connsiteX1" fmla="*/ 329066 w 444375"/>
                <a:gd name="connsiteY1" fmla="*/ 297566 h 444375"/>
                <a:gd name="connsiteX2" fmla="*/ 303753 w 444375"/>
                <a:gd name="connsiteY2" fmla="*/ 272816 h 444375"/>
                <a:gd name="connsiteX3" fmla="*/ 338628 w 444375"/>
                <a:gd name="connsiteY3" fmla="*/ 170441 h 444375"/>
                <a:gd name="connsiteX4" fmla="*/ 169878 w 444375"/>
                <a:gd name="connsiteY4" fmla="*/ 3 h 444375"/>
                <a:gd name="connsiteX5" fmla="*/ 3 w 444375"/>
                <a:gd name="connsiteY5" fmla="*/ 168753 h 444375"/>
                <a:gd name="connsiteX6" fmla="*/ 168753 w 444375"/>
                <a:gd name="connsiteY6" fmla="*/ 338628 h 444375"/>
                <a:gd name="connsiteX7" fmla="*/ 272253 w 444375"/>
                <a:gd name="connsiteY7" fmla="*/ 303753 h 444375"/>
                <a:gd name="connsiteX8" fmla="*/ 297003 w 444375"/>
                <a:gd name="connsiteY8" fmla="*/ 328503 h 444375"/>
                <a:gd name="connsiteX9" fmla="*/ 307691 w 444375"/>
                <a:gd name="connsiteY9" fmla="*/ 363941 h 444375"/>
                <a:gd name="connsiteX10" fmla="*/ 378003 w 444375"/>
                <a:gd name="connsiteY10" fmla="*/ 434253 h 444375"/>
                <a:gd name="connsiteX11" fmla="*/ 433691 w 444375"/>
                <a:gd name="connsiteY11" fmla="*/ 434253 h 444375"/>
                <a:gd name="connsiteX12" fmla="*/ 433691 w 444375"/>
                <a:gd name="connsiteY12" fmla="*/ 378566 h 444375"/>
                <a:gd name="connsiteX13" fmla="*/ 363941 w 444375"/>
                <a:gd name="connsiteY13" fmla="*/ 308253 h 444375"/>
                <a:gd name="connsiteX14" fmla="*/ 169878 w 444375"/>
                <a:gd name="connsiteY14" fmla="*/ 304878 h 444375"/>
                <a:gd name="connsiteX15" fmla="*/ 34878 w 444375"/>
                <a:gd name="connsiteY15" fmla="*/ 169878 h 444375"/>
                <a:gd name="connsiteX16" fmla="*/ 169878 w 444375"/>
                <a:gd name="connsiteY16" fmla="*/ 34878 h 444375"/>
                <a:gd name="connsiteX17" fmla="*/ 304878 w 444375"/>
                <a:gd name="connsiteY17" fmla="*/ 169878 h 444375"/>
                <a:gd name="connsiteX18" fmla="*/ 169878 w 444375"/>
                <a:gd name="connsiteY18" fmla="*/ 304878 h 444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44375" h="444375">
                  <a:moveTo>
                    <a:pt x="363941" y="308253"/>
                  </a:moveTo>
                  <a:cubicBezTo>
                    <a:pt x="354941" y="299253"/>
                    <a:pt x="341441" y="294753"/>
                    <a:pt x="329066" y="297566"/>
                  </a:cubicBezTo>
                  <a:lnTo>
                    <a:pt x="303753" y="272816"/>
                  </a:lnTo>
                  <a:cubicBezTo>
                    <a:pt x="326253" y="243566"/>
                    <a:pt x="338628" y="207566"/>
                    <a:pt x="338628" y="170441"/>
                  </a:cubicBezTo>
                  <a:cubicBezTo>
                    <a:pt x="339191" y="76503"/>
                    <a:pt x="263253" y="566"/>
                    <a:pt x="169878" y="3"/>
                  </a:cubicBezTo>
                  <a:cubicBezTo>
                    <a:pt x="76503" y="-559"/>
                    <a:pt x="566" y="75378"/>
                    <a:pt x="3" y="168753"/>
                  </a:cubicBezTo>
                  <a:cubicBezTo>
                    <a:pt x="-559" y="262128"/>
                    <a:pt x="75378" y="338066"/>
                    <a:pt x="168753" y="338628"/>
                  </a:cubicBezTo>
                  <a:cubicBezTo>
                    <a:pt x="205878" y="338628"/>
                    <a:pt x="242441" y="326253"/>
                    <a:pt x="272253" y="303753"/>
                  </a:cubicBezTo>
                  <a:lnTo>
                    <a:pt x="297003" y="328503"/>
                  </a:lnTo>
                  <a:cubicBezTo>
                    <a:pt x="294753" y="341441"/>
                    <a:pt x="298691" y="354378"/>
                    <a:pt x="307691" y="363941"/>
                  </a:cubicBezTo>
                  <a:lnTo>
                    <a:pt x="378003" y="434253"/>
                  </a:lnTo>
                  <a:cubicBezTo>
                    <a:pt x="393191" y="449441"/>
                    <a:pt x="418503" y="449441"/>
                    <a:pt x="433691" y="434253"/>
                  </a:cubicBezTo>
                  <a:cubicBezTo>
                    <a:pt x="448878" y="419066"/>
                    <a:pt x="448878" y="393753"/>
                    <a:pt x="433691" y="378566"/>
                  </a:cubicBezTo>
                  <a:lnTo>
                    <a:pt x="363941" y="308253"/>
                  </a:lnTo>
                  <a:close/>
                  <a:moveTo>
                    <a:pt x="169878" y="304878"/>
                  </a:moveTo>
                  <a:cubicBezTo>
                    <a:pt x="95066" y="304878"/>
                    <a:pt x="34878" y="244691"/>
                    <a:pt x="34878" y="169878"/>
                  </a:cubicBezTo>
                  <a:cubicBezTo>
                    <a:pt x="34878" y="95066"/>
                    <a:pt x="95066" y="34878"/>
                    <a:pt x="169878" y="34878"/>
                  </a:cubicBezTo>
                  <a:cubicBezTo>
                    <a:pt x="244691" y="34878"/>
                    <a:pt x="304878" y="95066"/>
                    <a:pt x="304878" y="169878"/>
                  </a:cubicBezTo>
                  <a:cubicBezTo>
                    <a:pt x="304878" y="244128"/>
                    <a:pt x="244128" y="304878"/>
                    <a:pt x="169878" y="304878"/>
                  </a:cubicBezTo>
                  <a:close/>
                </a:path>
              </a:pathLst>
            </a:custGeom>
            <a:grpFill/>
            <a:ln w="55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cs typeface="Segoe UI Light"/>
              </a:endParaRPr>
            </a:p>
          </p:txBody>
        </p:sp>
        <p:sp>
          <p:nvSpPr>
            <p:cNvPr id="24" name="MIO_PICTOGRAM_PART1">
              <a:extLst>
                <a:ext uri="{FF2B5EF4-FFF2-40B4-BE49-F238E27FC236}">
                  <a16:creationId xmlns:a16="http://schemas.microsoft.com/office/drawing/2014/main" id="{153632DD-E983-BBF0-137B-E1EA55B34D82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>
              <a:off x="2876942" y="3751659"/>
              <a:ext cx="322500" cy="232500"/>
            </a:xfrm>
            <a:custGeom>
              <a:avLst/>
              <a:gdLst>
                <a:gd name="connsiteX0" fmla="*/ 241875 w 241875"/>
                <a:gd name="connsiteY0" fmla="*/ 77841 h 174375"/>
                <a:gd name="connsiteX1" fmla="*/ 209813 w 241875"/>
                <a:gd name="connsiteY1" fmla="*/ 77841 h 174375"/>
                <a:gd name="connsiteX2" fmla="*/ 202500 w 241875"/>
                <a:gd name="connsiteY2" fmla="*/ 82341 h 174375"/>
                <a:gd name="connsiteX3" fmla="*/ 181125 w 241875"/>
                <a:gd name="connsiteY3" fmla="*/ 105403 h 174375"/>
                <a:gd name="connsiteX4" fmla="*/ 163125 w 241875"/>
                <a:gd name="connsiteY4" fmla="*/ 42966 h 174375"/>
                <a:gd name="connsiteX5" fmla="*/ 150750 w 241875"/>
                <a:gd name="connsiteY5" fmla="*/ 36216 h 174375"/>
                <a:gd name="connsiteX6" fmla="*/ 144000 w 241875"/>
                <a:gd name="connsiteY6" fmla="*/ 42403 h 174375"/>
                <a:gd name="connsiteX7" fmla="*/ 110250 w 241875"/>
                <a:gd name="connsiteY7" fmla="*/ 131841 h 174375"/>
                <a:gd name="connsiteX8" fmla="*/ 87188 w 241875"/>
                <a:gd name="connsiteY8" fmla="*/ 8091 h 174375"/>
                <a:gd name="connsiteX9" fmla="*/ 75938 w 241875"/>
                <a:gd name="connsiteY9" fmla="*/ 216 h 174375"/>
                <a:gd name="connsiteX10" fmla="*/ 68063 w 241875"/>
                <a:gd name="connsiteY10" fmla="*/ 6966 h 174375"/>
                <a:gd name="connsiteX11" fmla="*/ 43875 w 241875"/>
                <a:gd name="connsiteY11" fmla="*/ 77841 h 174375"/>
                <a:gd name="connsiteX12" fmla="*/ 0 w 241875"/>
                <a:gd name="connsiteY12" fmla="*/ 77841 h 174375"/>
                <a:gd name="connsiteX13" fmla="*/ 0 w 241875"/>
                <a:gd name="connsiteY13" fmla="*/ 100341 h 174375"/>
                <a:gd name="connsiteX14" fmla="*/ 51188 w 241875"/>
                <a:gd name="connsiteY14" fmla="*/ 100341 h 174375"/>
                <a:gd name="connsiteX15" fmla="*/ 60750 w 241875"/>
                <a:gd name="connsiteY15" fmla="*/ 91903 h 174375"/>
                <a:gd name="connsiteX16" fmla="*/ 74812 w 241875"/>
                <a:gd name="connsiteY16" fmla="*/ 49153 h 174375"/>
                <a:gd name="connsiteX17" fmla="*/ 97312 w 241875"/>
                <a:gd name="connsiteY17" fmla="*/ 170091 h 174375"/>
                <a:gd name="connsiteX18" fmla="*/ 106313 w 241875"/>
                <a:gd name="connsiteY18" fmla="*/ 177966 h 174375"/>
                <a:gd name="connsiteX19" fmla="*/ 107437 w 241875"/>
                <a:gd name="connsiteY19" fmla="*/ 177966 h 174375"/>
                <a:gd name="connsiteX20" fmla="*/ 117000 w 241875"/>
                <a:gd name="connsiteY20" fmla="*/ 171778 h 174375"/>
                <a:gd name="connsiteX21" fmla="*/ 153000 w 241875"/>
                <a:gd name="connsiteY21" fmla="*/ 77278 h 174375"/>
                <a:gd name="connsiteX22" fmla="*/ 167625 w 241875"/>
                <a:gd name="connsiteY22" fmla="*/ 127903 h 174375"/>
                <a:gd name="connsiteX23" fmla="*/ 180000 w 241875"/>
                <a:gd name="connsiteY23" fmla="*/ 134653 h 174375"/>
                <a:gd name="connsiteX24" fmla="*/ 184500 w 241875"/>
                <a:gd name="connsiteY24" fmla="*/ 131841 h 174375"/>
                <a:gd name="connsiteX25" fmla="*/ 214875 w 241875"/>
                <a:gd name="connsiteY25" fmla="*/ 100341 h 174375"/>
                <a:gd name="connsiteX26" fmla="*/ 242437 w 241875"/>
                <a:gd name="connsiteY26" fmla="*/ 100341 h 174375"/>
                <a:gd name="connsiteX27" fmla="*/ 242437 w 241875"/>
                <a:gd name="connsiteY27" fmla="*/ 77841 h 174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41875" h="174375">
                  <a:moveTo>
                    <a:pt x="241875" y="77841"/>
                  </a:moveTo>
                  <a:lnTo>
                    <a:pt x="209813" y="77841"/>
                  </a:lnTo>
                  <a:cubicBezTo>
                    <a:pt x="207000" y="78403"/>
                    <a:pt x="204188" y="80091"/>
                    <a:pt x="202500" y="82341"/>
                  </a:cubicBezTo>
                  <a:lnTo>
                    <a:pt x="181125" y="105403"/>
                  </a:lnTo>
                  <a:lnTo>
                    <a:pt x="163125" y="42966"/>
                  </a:lnTo>
                  <a:cubicBezTo>
                    <a:pt x="161438" y="37903"/>
                    <a:pt x="155813" y="34528"/>
                    <a:pt x="150750" y="36216"/>
                  </a:cubicBezTo>
                  <a:cubicBezTo>
                    <a:pt x="147938" y="37341"/>
                    <a:pt x="145125" y="39028"/>
                    <a:pt x="144000" y="42403"/>
                  </a:cubicBezTo>
                  <a:lnTo>
                    <a:pt x="110250" y="131841"/>
                  </a:lnTo>
                  <a:lnTo>
                    <a:pt x="87188" y="8091"/>
                  </a:lnTo>
                  <a:cubicBezTo>
                    <a:pt x="86062" y="2466"/>
                    <a:pt x="81000" y="-909"/>
                    <a:pt x="75938" y="216"/>
                  </a:cubicBezTo>
                  <a:cubicBezTo>
                    <a:pt x="72563" y="778"/>
                    <a:pt x="69750" y="3591"/>
                    <a:pt x="68063" y="6966"/>
                  </a:cubicBezTo>
                  <a:lnTo>
                    <a:pt x="43875" y="77841"/>
                  </a:lnTo>
                  <a:lnTo>
                    <a:pt x="0" y="77841"/>
                  </a:lnTo>
                  <a:lnTo>
                    <a:pt x="0" y="100341"/>
                  </a:lnTo>
                  <a:lnTo>
                    <a:pt x="51188" y="100341"/>
                  </a:lnTo>
                  <a:cubicBezTo>
                    <a:pt x="55687" y="99778"/>
                    <a:pt x="59625" y="96403"/>
                    <a:pt x="60750" y="91903"/>
                  </a:cubicBezTo>
                  <a:lnTo>
                    <a:pt x="74812" y="49153"/>
                  </a:lnTo>
                  <a:lnTo>
                    <a:pt x="97312" y="170091"/>
                  </a:lnTo>
                  <a:cubicBezTo>
                    <a:pt x="97875" y="174591"/>
                    <a:pt x="101812" y="177966"/>
                    <a:pt x="106313" y="177966"/>
                  </a:cubicBezTo>
                  <a:lnTo>
                    <a:pt x="107437" y="177966"/>
                  </a:lnTo>
                  <a:cubicBezTo>
                    <a:pt x="111375" y="177966"/>
                    <a:pt x="115313" y="175716"/>
                    <a:pt x="117000" y="171778"/>
                  </a:cubicBezTo>
                  <a:lnTo>
                    <a:pt x="153000" y="77278"/>
                  </a:lnTo>
                  <a:lnTo>
                    <a:pt x="167625" y="127903"/>
                  </a:lnTo>
                  <a:cubicBezTo>
                    <a:pt x="169312" y="132966"/>
                    <a:pt x="174375" y="136341"/>
                    <a:pt x="180000" y="134653"/>
                  </a:cubicBezTo>
                  <a:cubicBezTo>
                    <a:pt x="181688" y="134091"/>
                    <a:pt x="183375" y="132966"/>
                    <a:pt x="184500" y="131841"/>
                  </a:cubicBezTo>
                  <a:lnTo>
                    <a:pt x="214875" y="100341"/>
                  </a:lnTo>
                  <a:lnTo>
                    <a:pt x="242437" y="100341"/>
                  </a:lnTo>
                  <a:lnTo>
                    <a:pt x="242437" y="77841"/>
                  </a:lnTo>
                  <a:close/>
                </a:path>
              </a:pathLst>
            </a:custGeom>
            <a:grpFill/>
            <a:ln w="55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cs typeface="Segoe UI Light"/>
              </a:endParaRPr>
            </a:p>
          </p:txBody>
        </p:sp>
      </p:grpSp>
      <p:sp>
        <p:nvSpPr>
          <p:cNvPr id="7" name="Textfeld 6">
            <a:extLst>
              <a:ext uri="{FF2B5EF4-FFF2-40B4-BE49-F238E27FC236}">
                <a16:creationId xmlns:a16="http://schemas.microsoft.com/office/drawing/2014/main" id="{3AA4C8C7-3ACA-25C8-9592-E1D1968BE682}"/>
              </a:ext>
            </a:extLst>
          </p:cNvPr>
          <p:cNvSpPr txBox="1"/>
          <p:nvPr/>
        </p:nvSpPr>
        <p:spPr>
          <a:xfrm>
            <a:off x="2561613" y="5061281"/>
            <a:ext cx="914400" cy="914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>
            <a:lvl1pPr>
              <a:buClr>
                <a:schemeClr val="accent1"/>
              </a:buClr>
              <a:buFont typeface="Wingdings" panose="05000000000000000000" pitchFamily="2" charset="2"/>
              <a:buChar char="§"/>
            </a:lvl1pPr>
            <a:lvl2pPr>
              <a:buClr>
                <a:schemeClr val="accent1"/>
              </a:buClr>
              <a:buFont typeface="Wingdings" panose="05000000000000000000" pitchFamily="2" charset="2"/>
              <a:buChar char="§"/>
            </a:lvl2pPr>
            <a:lvl3pPr>
              <a:buFont typeface="Symbol" panose="05050102010706020507" pitchFamily="18" charset="2"/>
              <a:buChar char="-"/>
            </a:lvl3pPr>
            <a:lvl4pPr>
              <a:buFont typeface="Symbol" panose="05050102010706020507" pitchFamily="18" charset="2"/>
              <a:buChar char="-"/>
            </a:lvl4pPr>
            <a:lvl5pPr>
              <a:buFont typeface="+mj-lt"/>
              <a:buAutoNum type="arabicPeriod"/>
            </a:lvl5pPr>
            <a:lvl6pPr>
              <a:buFont typeface="+mj-lt"/>
              <a:buAutoNum type="arabicPeriod"/>
            </a:lvl6pPr>
            <a:lvl7pPr>
              <a:buFont typeface="+mj-lt"/>
              <a:buAutoNum type="alphaLcPeriod"/>
            </a:lvl7pPr>
            <a:lvl8pPr>
              <a:buFontTx/>
              <a:buBlip>
                <a:blip r:embed="rId15"/>
              </a:buBlip>
            </a:lvl8pPr>
            <a:lvl9pPr>
              <a:buFont typeface="Wingdings" panose="05000000000000000000" pitchFamily="2" charset="2"/>
              <a:buChar char="û"/>
            </a:lvl9pPr>
          </a:lstStyle>
          <a:p>
            <a:pPr marL="285750" indent="-285750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0" i="0" u="none" dirty="0" err="1"/>
              <a:t>Get</a:t>
            </a:r>
            <a:r>
              <a:rPr lang="de-DE" sz="1600" b="0" i="0" u="none" dirty="0"/>
              <a:t> </a:t>
            </a:r>
            <a:r>
              <a:rPr lang="de-DE" sz="1600" b="0" i="0" u="none" dirty="0" err="1"/>
              <a:t>average</a:t>
            </a:r>
            <a:r>
              <a:rPr lang="de-DE" sz="1600" b="0" i="0" u="none" dirty="0"/>
              <a:t> </a:t>
            </a:r>
            <a:r>
              <a:rPr lang="de-DE" sz="1600" b="0" i="0" u="none" dirty="0" err="1"/>
              <a:t>price</a:t>
            </a:r>
            <a:r>
              <a:rPr lang="de-DE" sz="1600" b="0" i="0" u="none" dirty="0"/>
              <a:t> </a:t>
            </a:r>
            <a:br>
              <a:rPr lang="de-DE" sz="1600" b="0" i="0" u="none" dirty="0"/>
            </a:br>
            <a:r>
              <a:rPr lang="de-DE" sz="1600" b="0" i="0" u="none" dirty="0" err="1"/>
              <a:t>from</a:t>
            </a:r>
            <a:r>
              <a:rPr lang="de-DE" sz="1600" b="0" i="0" u="none" dirty="0"/>
              <a:t> all </a:t>
            </a:r>
            <a:r>
              <a:rPr lang="de-DE" sz="1600" b="0" i="0" u="none" dirty="0" err="1"/>
              <a:t>trades</a:t>
            </a:r>
            <a:r>
              <a:rPr lang="de-DE" sz="1600" b="0" i="0" u="none" dirty="0"/>
              <a:t> (&lt;</a:t>
            </a:r>
            <a:r>
              <a:rPr lang="de-DE" sz="1600" b="1" i="0" u="none" dirty="0"/>
              <a:t>3</a:t>
            </a:r>
            <a:r>
              <a:rPr lang="de-DE" sz="1600" b="0" i="0" u="none" dirty="0"/>
              <a:t>h </a:t>
            </a:r>
            <a:r>
              <a:rPr lang="de-DE" sz="1600" b="0" i="0" u="none" dirty="0" err="1"/>
              <a:t>before</a:t>
            </a:r>
            <a:r>
              <a:rPr lang="de-DE" sz="1600" b="0" i="0" u="none" dirty="0"/>
              <a:t> </a:t>
            </a:r>
            <a:r>
              <a:rPr lang="de-DE" sz="1600" b="0" i="0" u="none" dirty="0" err="1"/>
              <a:t>delivery</a:t>
            </a:r>
            <a:r>
              <a:rPr lang="de-DE" sz="1600" b="0" i="0" u="none" dirty="0"/>
              <a:t>)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C2A26F5B-CABD-E77E-0B29-54542E606A54}"/>
              </a:ext>
            </a:extLst>
          </p:cNvPr>
          <p:cNvSpPr txBox="1"/>
          <p:nvPr/>
        </p:nvSpPr>
        <p:spPr>
          <a:xfrm>
            <a:off x="6848040" y="5061281"/>
            <a:ext cx="914400" cy="914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>
            <a:lvl1pPr>
              <a:buClr>
                <a:schemeClr val="accent1"/>
              </a:buClr>
              <a:buFont typeface="Wingdings" panose="05000000000000000000" pitchFamily="2" charset="2"/>
              <a:buChar char="§"/>
            </a:lvl1pPr>
            <a:lvl2pPr>
              <a:buClr>
                <a:schemeClr val="accent1"/>
              </a:buClr>
              <a:buFont typeface="Wingdings" panose="05000000000000000000" pitchFamily="2" charset="2"/>
              <a:buChar char="§"/>
            </a:lvl2pPr>
            <a:lvl3pPr>
              <a:buFont typeface="Symbol" panose="05050102010706020507" pitchFamily="18" charset="2"/>
              <a:buChar char="-"/>
            </a:lvl3pPr>
            <a:lvl4pPr>
              <a:buFont typeface="Symbol" panose="05050102010706020507" pitchFamily="18" charset="2"/>
              <a:buChar char="-"/>
            </a:lvl4pPr>
            <a:lvl5pPr>
              <a:buFont typeface="+mj-lt"/>
              <a:buAutoNum type="arabicPeriod"/>
            </a:lvl5pPr>
            <a:lvl6pPr>
              <a:buFont typeface="+mj-lt"/>
              <a:buAutoNum type="arabicPeriod"/>
            </a:lvl6pPr>
            <a:lvl7pPr>
              <a:buFont typeface="+mj-lt"/>
              <a:buAutoNum type="alphaLcPeriod"/>
            </a:lvl7pPr>
            <a:lvl8pPr>
              <a:buFontTx/>
              <a:buBlip>
                <a:blip r:embed="rId15"/>
              </a:buBlip>
            </a:lvl8pPr>
            <a:lvl9pPr>
              <a:buFont typeface="Wingdings" panose="05000000000000000000" pitchFamily="2" charset="2"/>
              <a:buChar char="û"/>
            </a:lvl9pPr>
          </a:lstStyle>
          <a:p>
            <a:pPr marL="285750" indent="-285750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0" i="0" u="none" dirty="0" err="1"/>
              <a:t>If</a:t>
            </a:r>
            <a:r>
              <a:rPr lang="de-DE" sz="1600" b="0" i="0" u="none" dirty="0"/>
              <a:t> Trader </a:t>
            </a:r>
            <a:r>
              <a:rPr lang="de-DE" sz="1600" b="0" i="0" u="none" dirty="0" err="1"/>
              <a:t>performs</a:t>
            </a:r>
            <a:r>
              <a:rPr lang="de-DE" sz="1600" b="0" i="0" u="none" dirty="0"/>
              <a:t> </a:t>
            </a:r>
            <a:r>
              <a:rPr lang="de-DE" sz="1600" b="0" i="0" u="none" dirty="0" err="1"/>
              <a:t>better</a:t>
            </a:r>
            <a:r>
              <a:rPr lang="de-DE" sz="1600" b="0" i="0" u="none" dirty="0"/>
              <a:t> </a:t>
            </a:r>
            <a:r>
              <a:rPr lang="de-DE" sz="1600" b="0" i="0" u="none" dirty="0" err="1"/>
              <a:t>than</a:t>
            </a:r>
            <a:r>
              <a:rPr lang="de-DE" sz="1600" b="0" i="0" u="none" dirty="0"/>
              <a:t> </a:t>
            </a:r>
            <a:r>
              <a:rPr lang="de-DE" sz="1600" b="0" i="0" u="none" dirty="0" err="1"/>
              <a:t>average</a:t>
            </a:r>
            <a:r>
              <a:rPr lang="de-DE" sz="1600" dirty="0"/>
              <a:t> </a:t>
            </a:r>
            <a:br>
              <a:rPr lang="de-DE" sz="1600" dirty="0"/>
            </a:br>
            <a:r>
              <a:rPr lang="de-DE" sz="1600" dirty="0"/>
              <a:t>he </a:t>
            </a:r>
            <a:r>
              <a:rPr lang="de-DE" sz="1600" dirty="0" err="1"/>
              <a:t>earns</a:t>
            </a:r>
            <a:r>
              <a:rPr lang="de-DE" sz="1600" dirty="0"/>
              <a:t> </a:t>
            </a:r>
            <a:r>
              <a:rPr lang="de-DE" sz="1600" dirty="0" err="1"/>
              <a:t>money</a:t>
            </a:r>
            <a:r>
              <a:rPr lang="de-DE" sz="1600" dirty="0"/>
              <a:t>, </a:t>
            </a:r>
            <a:r>
              <a:rPr lang="de-DE" sz="1600" dirty="0" err="1"/>
              <a:t>if</a:t>
            </a:r>
            <a:r>
              <a:rPr lang="de-DE" sz="1600" dirty="0"/>
              <a:t> not, he loses </a:t>
            </a:r>
            <a:r>
              <a:rPr lang="de-DE" sz="1600" dirty="0" err="1"/>
              <a:t>money</a:t>
            </a:r>
            <a:endParaRPr lang="de-DE" sz="1600" b="0" i="0" u="none" dirty="0"/>
          </a:p>
        </p:txBody>
      </p:sp>
    </p:spTree>
    <p:extLst>
      <p:ext uri="{BB962C8B-B14F-4D97-AF65-F5344CB8AC3E}">
        <p14:creationId xmlns:p14="http://schemas.microsoft.com/office/powerpoint/2010/main" val="40759140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0E0D5A66-3AFC-2FE5-E2F9-B3F69F372DDA}"/>
              </a:ext>
            </a:extLst>
          </p:cNvPr>
          <p:cNvSpPr txBox="1"/>
          <p:nvPr/>
        </p:nvSpPr>
        <p:spPr>
          <a:xfrm>
            <a:off x="1036320" y="1275016"/>
            <a:ext cx="914400" cy="914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/>
              <a:t>Forecast </a:t>
            </a:r>
            <a:r>
              <a:rPr lang="de-DE" sz="1600" dirty="0" err="1"/>
              <a:t>the</a:t>
            </a:r>
            <a:r>
              <a:rPr lang="de-DE" sz="1600" dirty="0"/>
              <a:t> ID3 </a:t>
            </a:r>
            <a:r>
              <a:rPr lang="de-DE" sz="1600" dirty="0" err="1"/>
              <a:t>price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turkish</a:t>
            </a:r>
            <a:r>
              <a:rPr lang="de-DE" sz="1600" dirty="0"/>
              <a:t> </a:t>
            </a:r>
            <a:r>
              <a:rPr lang="de-DE" sz="1600" dirty="0" err="1"/>
              <a:t>intraday</a:t>
            </a:r>
            <a:r>
              <a:rPr lang="de-DE" sz="1600" dirty="0"/>
              <a:t> </a:t>
            </a:r>
            <a:r>
              <a:rPr lang="de-DE" sz="1600" dirty="0" err="1"/>
              <a:t>electricity</a:t>
            </a:r>
            <a:r>
              <a:rPr lang="de-DE" sz="1600" dirty="0"/>
              <a:t> </a:t>
            </a:r>
            <a:r>
              <a:rPr lang="de-DE" sz="1600" dirty="0" err="1"/>
              <a:t>market</a:t>
            </a:r>
            <a:endParaRPr lang="de-DE" sz="1600" b="0" i="0" u="none" dirty="0"/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EFA65F0A-182F-6ACB-69DB-C5DCB89055B7}"/>
              </a:ext>
            </a:extLst>
          </p:cNvPr>
          <p:cNvCxnSpPr/>
          <p:nvPr/>
        </p:nvCxnSpPr>
        <p:spPr>
          <a:xfrm>
            <a:off x="448292" y="1778000"/>
            <a:ext cx="11295417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12">
            <a:extLst>
              <a:ext uri="{FF2B5EF4-FFF2-40B4-BE49-F238E27FC236}">
                <a16:creationId xmlns:a16="http://schemas.microsoft.com/office/drawing/2014/main" id="{31B8F1B5-00BE-E400-46BF-D3AD8D86B25E}"/>
              </a:ext>
            </a:extLst>
          </p:cNvPr>
          <p:cNvSpPr txBox="1"/>
          <p:nvPr/>
        </p:nvSpPr>
        <p:spPr>
          <a:xfrm>
            <a:off x="1036320" y="1994928"/>
            <a:ext cx="1445000" cy="3600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i="0" u="none" dirty="0"/>
              <a:t>Intraday </a:t>
            </a:r>
            <a:r>
              <a:rPr lang="de-DE" sz="1600" b="1" i="0" u="none" dirty="0" err="1"/>
              <a:t>market</a:t>
            </a:r>
            <a:endParaRPr lang="de-DE" sz="1600" b="1" i="0" u="non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749D6EC2-DD48-03AE-629E-A217164801D4}"/>
              </a:ext>
            </a:extLst>
          </p:cNvPr>
          <p:cNvSpPr txBox="1"/>
          <p:nvPr/>
        </p:nvSpPr>
        <p:spPr>
          <a:xfrm>
            <a:off x="2680988" y="1994928"/>
            <a:ext cx="2764771" cy="545071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err="1"/>
              <a:t>b</a:t>
            </a:r>
            <a:r>
              <a:rPr lang="de-DE" sz="1600" b="0" i="0" u="none" dirty="0" err="1"/>
              <a:t>uy</a:t>
            </a:r>
            <a:r>
              <a:rPr lang="de-DE" sz="1600" b="0" i="0" u="none" dirty="0"/>
              <a:t> / </a:t>
            </a:r>
            <a:r>
              <a:rPr lang="de-DE" sz="1600" b="0" i="0" u="none" dirty="0" err="1"/>
              <a:t>sell</a:t>
            </a:r>
            <a:r>
              <a:rPr lang="de-DE" sz="1600" b="0" i="0" u="none" dirty="0"/>
              <a:t> </a:t>
            </a:r>
            <a:r>
              <a:rPr lang="de-DE" sz="1600" b="0" i="0" u="none" dirty="0" err="1"/>
              <a:t>energy</a:t>
            </a:r>
            <a:r>
              <a:rPr lang="de-DE" sz="1600" b="0" i="0" u="none" dirty="0"/>
              <a:t> </a:t>
            </a:r>
            <a:r>
              <a:rPr lang="de-DE" sz="1600" b="0" i="0" u="none" dirty="0" err="1"/>
              <a:t>during</a:t>
            </a:r>
            <a:r>
              <a:rPr lang="de-DE" sz="1600" b="0" i="0" u="none" dirty="0"/>
              <a:t> </a:t>
            </a:r>
            <a:r>
              <a:rPr lang="de-DE" sz="1600" b="0" i="0" u="none" dirty="0" err="1"/>
              <a:t>the</a:t>
            </a:r>
            <a:r>
              <a:rPr lang="de-DE" sz="1600" b="0" i="0" u="none" dirty="0"/>
              <a:t> </a:t>
            </a:r>
            <a:r>
              <a:rPr lang="de-DE" sz="1600" b="0" i="0" u="none" dirty="0" err="1"/>
              <a:t>day</a:t>
            </a:r>
            <a:endParaRPr lang="de-DE" sz="1600" b="0" i="0" u="none" dirty="0"/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0" i="0" u="none" dirty="0" err="1"/>
              <a:t>to</a:t>
            </a:r>
            <a:r>
              <a:rPr lang="de-DE" sz="1600" b="0" i="0" u="none" dirty="0"/>
              <a:t> </a:t>
            </a:r>
            <a:r>
              <a:rPr lang="de-DE" sz="1600" b="0" i="0" u="none" dirty="0" err="1"/>
              <a:t>avoid</a:t>
            </a:r>
            <a:r>
              <a:rPr lang="de-DE" sz="1600" b="0" i="0" u="none" dirty="0"/>
              <a:t> </a:t>
            </a:r>
            <a:r>
              <a:rPr lang="de-DE" sz="1600" b="0" i="0" u="none" dirty="0" err="1"/>
              <a:t>imbalance</a:t>
            </a:r>
            <a:r>
              <a:rPr lang="de-DE" sz="1600" b="0" i="0" u="none" dirty="0"/>
              <a:t> </a:t>
            </a:r>
            <a:r>
              <a:rPr lang="de-DE" sz="1600" b="0" i="0" u="none" dirty="0" err="1"/>
              <a:t>costs</a:t>
            </a:r>
            <a:endParaRPr lang="de-DE" sz="1600" b="0" i="0" u="none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6472E6A4-323C-2A92-8ABC-F82E241CCF16}"/>
              </a:ext>
            </a:extLst>
          </p:cNvPr>
          <p:cNvSpPr txBox="1"/>
          <p:nvPr/>
        </p:nvSpPr>
        <p:spPr>
          <a:xfrm>
            <a:off x="8312532" y="1981060"/>
            <a:ext cx="2843148" cy="545071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err="1"/>
              <a:t>averaged</a:t>
            </a:r>
            <a:r>
              <a:rPr lang="de-DE" sz="1600" dirty="0"/>
              <a:t> </a:t>
            </a:r>
            <a:r>
              <a:rPr lang="de-DE" sz="1600" dirty="0" err="1"/>
              <a:t>price</a:t>
            </a:r>
            <a:r>
              <a:rPr lang="de-DE" sz="1600" dirty="0"/>
              <a:t> </a:t>
            </a:r>
            <a:r>
              <a:rPr lang="de-DE" sz="1600" dirty="0" err="1"/>
              <a:t>from</a:t>
            </a:r>
            <a:r>
              <a:rPr lang="de-DE" sz="1600" dirty="0"/>
              <a:t> all </a:t>
            </a:r>
            <a:r>
              <a:rPr lang="de-DE" sz="1600" dirty="0" err="1"/>
              <a:t>trades</a:t>
            </a:r>
            <a:r>
              <a:rPr lang="de-DE" sz="1600" dirty="0"/>
              <a:t> </a:t>
            </a:r>
            <a:r>
              <a:rPr lang="de-DE" sz="1600" b="1" dirty="0"/>
              <a:t>3h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err="1"/>
              <a:t>before</a:t>
            </a:r>
            <a:r>
              <a:rPr lang="de-DE" sz="1600" dirty="0"/>
              <a:t> </a:t>
            </a:r>
            <a:r>
              <a:rPr lang="de-DE" sz="1600" b="0" i="0" u="none" dirty="0" err="1"/>
              <a:t>delivery</a:t>
            </a:r>
            <a:endParaRPr lang="de-DE" sz="1600" b="0" i="0" u="none" dirty="0"/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7DC3C827-AFF3-9A9C-E9DD-A56D30A18A9C}"/>
              </a:ext>
            </a:extLst>
          </p:cNvPr>
          <p:cNvCxnSpPr/>
          <p:nvPr/>
        </p:nvCxnSpPr>
        <p:spPr>
          <a:xfrm>
            <a:off x="448292" y="2642870"/>
            <a:ext cx="11295417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feld 63">
            <a:extLst>
              <a:ext uri="{FF2B5EF4-FFF2-40B4-BE49-F238E27FC236}">
                <a16:creationId xmlns:a16="http://schemas.microsoft.com/office/drawing/2014/main" id="{7329B971-1150-3547-AA7F-069552566F17}"/>
              </a:ext>
            </a:extLst>
          </p:cNvPr>
          <p:cNvSpPr txBox="1"/>
          <p:nvPr/>
        </p:nvSpPr>
        <p:spPr>
          <a:xfrm>
            <a:off x="588732" y="2971800"/>
            <a:ext cx="914400" cy="914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2000" b="1" i="0" u="none" dirty="0"/>
              <a:t>Agenda</a:t>
            </a:r>
          </a:p>
        </p:txBody>
      </p:sp>
      <p:grpSp>
        <p:nvGrpSpPr>
          <p:cNvPr id="38" name="Group 11">
            <a:extLst>
              <a:ext uri="{FF2B5EF4-FFF2-40B4-BE49-F238E27FC236}">
                <a16:creationId xmlns:a16="http://schemas.microsoft.com/office/drawing/2014/main" id="{DD5D2E18-34FE-826F-900F-C555ABF229F9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7478935" y="3339541"/>
            <a:ext cx="1181160" cy="3046990"/>
            <a:chOff x="6432489" y="2380591"/>
            <a:chExt cx="1329624" cy="4003572"/>
          </a:xfrm>
          <a:solidFill>
            <a:schemeClr val="bg2">
              <a:alpha val="20000"/>
            </a:schemeClr>
          </a:solidFill>
        </p:grpSpPr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A3869433-D33B-3387-2D4F-53E33A4BA91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8502" y="3380259"/>
              <a:ext cx="596208" cy="1037238"/>
            </a:xfrm>
            <a:custGeom>
              <a:avLst/>
              <a:gdLst>
                <a:gd name="T0" fmla="*/ 128 w 128"/>
                <a:gd name="T1" fmla="*/ 0 h 222"/>
                <a:gd name="T2" fmla="*/ 49 w 128"/>
                <a:gd name="T3" fmla="*/ 12 h 222"/>
                <a:gd name="T4" fmla="*/ 0 w 128"/>
                <a:gd name="T5" fmla="*/ 222 h 222"/>
                <a:gd name="T6" fmla="*/ 59 w 128"/>
                <a:gd name="T7" fmla="*/ 208 h 222"/>
                <a:gd name="T8" fmla="*/ 128 w 128"/>
                <a:gd name="T9" fmla="*/ 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222">
                  <a:moveTo>
                    <a:pt x="128" y="0"/>
                  </a:moveTo>
                  <a:cubicBezTo>
                    <a:pt x="105" y="5"/>
                    <a:pt x="79" y="9"/>
                    <a:pt x="49" y="12"/>
                  </a:cubicBezTo>
                  <a:cubicBezTo>
                    <a:pt x="32" y="72"/>
                    <a:pt x="15" y="142"/>
                    <a:pt x="0" y="222"/>
                  </a:cubicBezTo>
                  <a:cubicBezTo>
                    <a:pt x="22" y="218"/>
                    <a:pt x="42" y="214"/>
                    <a:pt x="59" y="208"/>
                  </a:cubicBezTo>
                  <a:cubicBezTo>
                    <a:pt x="76" y="140"/>
                    <a:pt x="99" y="70"/>
                    <a:pt x="12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de-DE" sz="3599" dirty="0"/>
            </a:p>
          </p:txBody>
        </p:sp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124D5F0B-0299-A33F-7112-4E6CE103D4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2926" y="4352158"/>
              <a:ext cx="409995" cy="1027437"/>
            </a:xfrm>
            <a:custGeom>
              <a:avLst/>
              <a:gdLst>
                <a:gd name="T0" fmla="*/ 88 w 88"/>
                <a:gd name="T1" fmla="*/ 0 h 220"/>
                <a:gd name="T2" fmla="*/ 29 w 88"/>
                <a:gd name="T3" fmla="*/ 14 h 220"/>
                <a:gd name="T4" fmla="*/ 0 w 88"/>
                <a:gd name="T5" fmla="*/ 220 h 220"/>
                <a:gd name="T6" fmla="*/ 0 w 88"/>
                <a:gd name="T7" fmla="*/ 220 h 220"/>
                <a:gd name="T8" fmla="*/ 0 w 88"/>
                <a:gd name="T9" fmla="*/ 220 h 220"/>
                <a:gd name="T10" fmla="*/ 45 w 88"/>
                <a:gd name="T11" fmla="*/ 210 h 220"/>
                <a:gd name="T12" fmla="*/ 45 w 88"/>
                <a:gd name="T13" fmla="*/ 210 h 220"/>
                <a:gd name="T14" fmla="*/ 88 w 88"/>
                <a:gd name="T15" fmla="*/ 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8" h="220">
                  <a:moveTo>
                    <a:pt x="88" y="0"/>
                  </a:moveTo>
                  <a:cubicBezTo>
                    <a:pt x="71" y="6"/>
                    <a:pt x="51" y="10"/>
                    <a:pt x="29" y="14"/>
                  </a:cubicBezTo>
                  <a:cubicBezTo>
                    <a:pt x="18" y="77"/>
                    <a:pt x="7" y="146"/>
                    <a:pt x="0" y="220"/>
                  </a:cubicBezTo>
                  <a:cubicBezTo>
                    <a:pt x="0" y="220"/>
                    <a:pt x="0" y="220"/>
                    <a:pt x="0" y="220"/>
                  </a:cubicBezTo>
                  <a:cubicBezTo>
                    <a:pt x="0" y="220"/>
                    <a:pt x="0" y="220"/>
                    <a:pt x="0" y="220"/>
                  </a:cubicBezTo>
                  <a:cubicBezTo>
                    <a:pt x="16" y="218"/>
                    <a:pt x="32" y="214"/>
                    <a:pt x="45" y="210"/>
                  </a:cubicBezTo>
                  <a:cubicBezTo>
                    <a:pt x="45" y="210"/>
                    <a:pt x="45" y="210"/>
                    <a:pt x="45" y="210"/>
                  </a:cubicBezTo>
                  <a:cubicBezTo>
                    <a:pt x="55" y="145"/>
                    <a:pt x="68" y="74"/>
                    <a:pt x="8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de-DE" sz="3599" dirty="0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A38EBF69-999A-9776-8C1E-4DAF6B50464D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7185" y="2380591"/>
              <a:ext cx="904928" cy="1055205"/>
            </a:xfrm>
            <a:custGeom>
              <a:avLst/>
              <a:gdLst>
                <a:gd name="T0" fmla="*/ 194 w 194"/>
                <a:gd name="T1" fmla="*/ 0 h 226"/>
                <a:gd name="T2" fmla="*/ 180 w 194"/>
                <a:gd name="T3" fmla="*/ 3 h 226"/>
                <a:gd name="T4" fmla="*/ 180 w 194"/>
                <a:gd name="T5" fmla="*/ 3 h 226"/>
                <a:gd name="T6" fmla="*/ 180 w 194"/>
                <a:gd name="T7" fmla="*/ 3 h 226"/>
                <a:gd name="T8" fmla="*/ 168 w 194"/>
                <a:gd name="T9" fmla="*/ 5 h 226"/>
                <a:gd name="T10" fmla="*/ 166 w 194"/>
                <a:gd name="T11" fmla="*/ 5 h 226"/>
                <a:gd name="T12" fmla="*/ 164 w 194"/>
                <a:gd name="T13" fmla="*/ 6 h 226"/>
                <a:gd name="T14" fmla="*/ 140 w 194"/>
                <a:gd name="T15" fmla="*/ 9 h 226"/>
                <a:gd name="T16" fmla="*/ 138 w 194"/>
                <a:gd name="T17" fmla="*/ 9 h 226"/>
                <a:gd name="T18" fmla="*/ 71 w 194"/>
                <a:gd name="T19" fmla="*/ 16 h 226"/>
                <a:gd name="T20" fmla="*/ 71 w 194"/>
                <a:gd name="T21" fmla="*/ 16 h 226"/>
                <a:gd name="T22" fmla="*/ 71 w 194"/>
                <a:gd name="T23" fmla="*/ 16 h 226"/>
                <a:gd name="T24" fmla="*/ 0 w 194"/>
                <a:gd name="T25" fmla="*/ 226 h 226"/>
                <a:gd name="T26" fmla="*/ 0 w 194"/>
                <a:gd name="T27" fmla="*/ 226 h 226"/>
                <a:gd name="T28" fmla="*/ 0 w 194"/>
                <a:gd name="T29" fmla="*/ 226 h 226"/>
                <a:gd name="T30" fmla="*/ 79 w 194"/>
                <a:gd name="T31" fmla="*/ 214 h 226"/>
                <a:gd name="T32" fmla="*/ 79 w 194"/>
                <a:gd name="T33" fmla="*/ 214 h 226"/>
                <a:gd name="T34" fmla="*/ 194 w 194"/>
                <a:gd name="T35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226">
                  <a:moveTo>
                    <a:pt x="194" y="0"/>
                  </a:moveTo>
                  <a:cubicBezTo>
                    <a:pt x="190" y="1"/>
                    <a:pt x="185" y="2"/>
                    <a:pt x="180" y="3"/>
                  </a:cubicBezTo>
                  <a:cubicBezTo>
                    <a:pt x="180" y="3"/>
                    <a:pt x="180" y="3"/>
                    <a:pt x="180" y="3"/>
                  </a:cubicBezTo>
                  <a:cubicBezTo>
                    <a:pt x="180" y="3"/>
                    <a:pt x="180" y="3"/>
                    <a:pt x="180" y="3"/>
                  </a:cubicBezTo>
                  <a:cubicBezTo>
                    <a:pt x="176" y="4"/>
                    <a:pt x="172" y="4"/>
                    <a:pt x="168" y="5"/>
                  </a:cubicBezTo>
                  <a:cubicBezTo>
                    <a:pt x="167" y="5"/>
                    <a:pt x="167" y="5"/>
                    <a:pt x="166" y="5"/>
                  </a:cubicBezTo>
                  <a:cubicBezTo>
                    <a:pt x="165" y="5"/>
                    <a:pt x="165" y="5"/>
                    <a:pt x="164" y="6"/>
                  </a:cubicBezTo>
                  <a:cubicBezTo>
                    <a:pt x="156" y="7"/>
                    <a:pt x="148" y="8"/>
                    <a:pt x="140" y="9"/>
                  </a:cubicBezTo>
                  <a:cubicBezTo>
                    <a:pt x="139" y="9"/>
                    <a:pt x="139" y="9"/>
                    <a:pt x="138" y="9"/>
                  </a:cubicBezTo>
                  <a:cubicBezTo>
                    <a:pt x="118" y="12"/>
                    <a:pt x="95" y="14"/>
                    <a:pt x="71" y="16"/>
                  </a:cubicBezTo>
                  <a:cubicBezTo>
                    <a:pt x="71" y="16"/>
                    <a:pt x="71" y="16"/>
                    <a:pt x="71" y="16"/>
                  </a:cubicBezTo>
                  <a:cubicBezTo>
                    <a:pt x="71" y="16"/>
                    <a:pt x="71" y="16"/>
                    <a:pt x="71" y="16"/>
                  </a:cubicBezTo>
                  <a:cubicBezTo>
                    <a:pt x="71" y="16"/>
                    <a:pt x="37" y="93"/>
                    <a:pt x="0" y="226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30" y="223"/>
                    <a:pt x="56" y="219"/>
                    <a:pt x="79" y="214"/>
                  </a:cubicBezTo>
                  <a:cubicBezTo>
                    <a:pt x="79" y="214"/>
                    <a:pt x="79" y="214"/>
                    <a:pt x="79" y="214"/>
                  </a:cubicBezTo>
                  <a:cubicBezTo>
                    <a:pt x="110" y="140"/>
                    <a:pt x="148" y="68"/>
                    <a:pt x="194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de-DE" sz="3599" dirty="0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A05E9F63-8C54-6FAD-390F-86D8F0FF90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2489" y="5332225"/>
              <a:ext cx="269519" cy="1051938"/>
            </a:xfrm>
            <a:custGeom>
              <a:avLst/>
              <a:gdLst>
                <a:gd name="T0" fmla="*/ 58 w 58"/>
                <a:gd name="T1" fmla="*/ 0 h 225"/>
                <a:gd name="T2" fmla="*/ 13 w 58"/>
                <a:gd name="T3" fmla="*/ 10 h 225"/>
                <a:gd name="T4" fmla="*/ 13 w 58"/>
                <a:gd name="T5" fmla="*/ 10 h 225"/>
                <a:gd name="T6" fmla="*/ 0 w 58"/>
                <a:gd name="T7" fmla="*/ 225 h 225"/>
                <a:gd name="T8" fmla="*/ 23 w 58"/>
                <a:gd name="T9" fmla="*/ 221 h 225"/>
                <a:gd name="T10" fmla="*/ 38 w 58"/>
                <a:gd name="T11" fmla="*/ 217 h 225"/>
                <a:gd name="T12" fmla="*/ 58 w 58"/>
                <a:gd name="T13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" h="225">
                  <a:moveTo>
                    <a:pt x="58" y="0"/>
                  </a:moveTo>
                  <a:cubicBezTo>
                    <a:pt x="45" y="4"/>
                    <a:pt x="29" y="8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6" y="78"/>
                    <a:pt x="1" y="150"/>
                    <a:pt x="0" y="225"/>
                  </a:cubicBezTo>
                  <a:cubicBezTo>
                    <a:pt x="9" y="224"/>
                    <a:pt x="16" y="222"/>
                    <a:pt x="23" y="221"/>
                  </a:cubicBezTo>
                  <a:cubicBezTo>
                    <a:pt x="28" y="220"/>
                    <a:pt x="33" y="218"/>
                    <a:pt x="38" y="217"/>
                  </a:cubicBezTo>
                  <a:cubicBezTo>
                    <a:pt x="40" y="166"/>
                    <a:pt x="45" y="90"/>
                    <a:pt x="5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de-DE" sz="3599" dirty="0"/>
            </a:p>
          </p:txBody>
        </p:sp>
      </p:grpSp>
      <p:grpSp>
        <p:nvGrpSpPr>
          <p:cNvPr id="69" name="Gruppieren 68">
            <a:extLst>
              <a:ext uri="{FF2B5EF4-FFF2-40B4-BE49-F238E27FC236}">
                <a16:creationId xmlns:a16="http://schemas.microsoft.com/office/drawing/2014/main" id="{E2E30261-103C-5D46-1C1B-3A86C2BA5CCE}"/>
              </a:ext>
            </a:extLst>
          </p:cNvPr>
          <p:cNvGrpSpPr/>
          <p:nvPr/>
        </p:nvGrpSpPr>
        <p:grpSpPr>
          <a:xfrm>
            <a:off x="3144176" y="2968913"/>
            <a:ext cx="5903647" cy="1482186"/>
            <a:chOff x="3802793" y="2968913"/>
            <a:chExt cx="5903647" cy="1482186"/>
          </a:xfrm>
        </p:grpSpPr>
        <p:grpSp>
          <p:nvGrpSpPr>
            <p:cNvPr id="33" name="Group 6">
              <a:extLst>
                <a:ext uri="{FF2B5EF4-FFF2-40B4-BE49-F238E27FC236}">
                  <a16:creationId xmlns:a16="http://schemas.microsoft.com/office/drawing/2014/main" id="{B4D628C1-C529-FE65-C625-DD0AA930F349}"/>
                </a:ext>
              </a:extLst>
            </p:cNvPr>
            <p:cNvGrpSpPr/>
            <p:nvPr>
              <p:custDataLst>
                <p:tags r:id="rId8"/>
              </p:custDataLst>
            </p:nvPr>
          </p:nvGrpSpPr>
          <p:grpSpPr>
            <a:xfrm>
              <a:off x="5968104" y="2968913"/>
              <a:ext cx="3738336" cy="1206654"/>
              <a:chOff x="3990355" y="1893606"/>
              <a:chExt cx="4208222" cy="1585475"/>
            </a:xfrm>
          </p:grpSpPr>
          <p:sp>
            <p:nvSpPr>
              <p:cNvPr id="34" name="Freeform 31">
                <a:extLst>
                  <a:ext uri="{FF2B5EF4-FFF2-40B4-BE49-F238E27FC236}">
                    <a16:creationId xmlns:a16="http://schemas.microsoft.com/office/drawing/2014/main" id="{621D6999-D46A-3C2C-463A-9CCBE70FFF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90355" y="1893606"/>
                <a:ext cx="4208222" cy="612542"/>
              </a:xfrm>
              <a:custGeom>
                <a:avLst/>
                <a:gdLst>
                  <a:gd name="T0" fmla="*/ 452 w 903"/>
                  <a:gd name="T1" fmla="*/ 0 h 131"/>
                  <a:gd name="T2" fmla="*/ 0 w 903"/>
                  <a:gd name="T3" fmla="*/ 65 h 131"/>
                  <a:gd name="T4" fmla="*/ 11 w 903"/>
                  <a:gd name="T5" fmla="*/ 80 h 131"/>
                  <a:gd name="T6" fmla="*/ 452 w 903"/>
                  <a:gd name="T7" fmla="*/ 131 h 131"/>
                  <a:gd name="T8" fmla="*/ 686 w 903"/>
                  <a:gd name="T9" fmla="*/ 121 h 131"/>
                  <a:gd name="T10" fmla="*/ 686 w 903"/>
                  <a:gd name="T11" fmla="*/ 121 h 131"/>
                  <a:gd name="T12" fmla="*/ 753 w 903"/>
                  <a:gd name="T13" fmla="*/ 114 h 131"/>
                  <a:gd name="T14" fmla="*/ 753 w 903"/>
                  <a:gd name="T15" fmla="*/ 114 h 131"/>
                  <a:gd name="T16" fmla="*/ 760 w 903"/>
                  <a:gd name="T17" fmla="*/ 113 h 131"/>
                  <a:gd name="T18" fmla="*/ 761 w 903"/>
                  <a:gd name="T19" fmla="*/ 113 h 131"/>
                  <a:gd name="T20" fmla="*/ 768 w 903"/>
                  <a:gd name="T21" fmla="*/ 112 h 131"/>
                  <a:gd name="T22" fmla="*/ 768 w 903"/>
                  <a:gd name="T23" fmla="*/ 112 h 131"/>
                  <a:gd name="T24" fmla="*/ 775 w 903"/>
                  <a:gd name="T25" fmla="*/ 111 h 131"/>
                  <a:gd name="T26" fmla="*/ 776 w 903"/>
                  <a:gd name="T27" fmla="*/ 111 h 131"/>
                  <a:gd name="T28" fmla="*/ 783 w 903"/>
                  <a:gd name="T29" fmla="*/ 110 h 131"/>
                  <a:gd name="T30" fmla="*/ 783 w 903"/>
                  <a:gd name="T31" fmla="*/ 110 h 131"/>
                  <a:gd name="T32" fmla="*/ 893 w 903"/>
                  <a:gd name="T33" fmla="*/ 80 h 131"/>
                  <a:gd name="T34" fmla="*/ 903 w 903"/>
                  <a:gd name="T35" fmla="*/ 65 h 131"/>
                  <a:gd name="T36" fmla="*/ 452 w 903"/>
                  <a:gd name="T37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903" h="131">
                    <a:moveTo>
                      <a:pt x="452" y="0"/>
                    </a:moveTo>
                    <a:cubicBezTo>
                      <a:pt x="203" y="0"/>
                      <a:pt x="0" y="29"/>
                      <a:pt x="0" y="65"/>
                    </a:cubicBezTo>
                    <a:cubicBezTo>
                      <a:pt x="0" y="70"/>
                      <a:pt x="4" y="75"/>
                      <a:pt x="11" y="80"/>
                    </a:cubicBezTo>
                    <a:cubicBezTo>
                      <a:pt x="56" y="109"/>
                      <a:pt x="236" y="131"/>
                      <a:pt x="452" y="131"/>
                    </a:cubicBezTo>
                    <a:cubicBezTo>
                      <a:pt x="538" y="131"/>
                      <a:pt x="618" y="127"/>
                      <a:pt x="686" y="121"/>
                    </a:cubicBezTo>
                    <a:cubicBezTo>
                      <a:pt x="686" y="121"/>
                      <a:pt x="686" y="121"/>
                      <a:pt x="686" y="121"/>
                    </a:cubicBezTo>
                    <a:cubicBezTo>
                      <a:pt x="710" y="119"/>
                      <a:pt x="732" y="117"/>
                      <a:pt x="753" y="114"/>
                    </a:cubicBezTo>
                    <a:cubicBezTo>
                      <a:pt x="753" y="114"/>
                      <a:pt x="753" y="114"/>
                      <a:pt x="753" y="114"/>
                    </a:cubicBezTo>
                    <a:cubicBezTo>
                      <a:pt x="756" y="114"/>
                      <a:pt x="758" y="114"/>
                      <a:pt x="760" y="113"/>
                    </a:cubicBezTo>
                    <a:cubicBezTo>
                      <a:pt x="761" y="113"/>
                      <a:pt x="761" y="113"/>
                      <a:pt x="761" y="113"/>
                    </a:cubicBezTo>
                    <a:cubicBezTo>
                      <a:pt x="763" y="113"/>
                      <a:pt x="766" y="113"/>
                      <a:pt x="768" y="112"/>
                    </a:cubicBezTo>
                    <a:cubicBezTo>
                      <a:pt x="768" y="112"/>
                      <a:pt x="768" y="112"/>
                      <a:pt x="768" y="112"/>
                    </a:cubicBezTo>
                    <a:cubicBezTo>
                      <a:pt x="771" y="112"/>
                      <a:pt x="773" y="111"/>
                      <a:pt x="775" y="111"/>
                    </a:cubicBezTo>
                    <a:cubicBezTo>
                      <a:pt x="776" y="111"/>
                      <a:pt x="776" y="111"/>
                      <a:pt x="776" y="111"/>
                    </a:cubicBezTo>
                    <a:cubicBezTo>
                      <a:pt x="778" y="111"/>
                      <a:pt x="780" y="110"/>
                      <a:pt x="783" y="110"/>
                    </a:cubicBezTo>
                    <a:cubicBezTo>
                      <a:pt x="783" y="110"/>
                      <a:pt x="783" y="110"/>
                      <a:pt x="783" y="110"/>
                    </a:cubicBezTo>
                    <a:cubicBezTo>
                      <a:pt x="836" y="102"/>
                      <a:pt x="875" y="91"/>
                      <a:pt x="893" y="80"/>
                    </a:cubicBezTo>
                    <a:cubicBezTo>
                      <a:pt x="900" y="75"/>
                      <a:pt x="903" y="70"/>
                      <a:pt x="903" y="65"/>
                    </a:cubicBezTo>
                    <a:cubicBezTo>
                      <a:pt x="903" y="29"/>
                      <a:pt x="701" y="0"/>
                      <a:pt x="452" y="0"/>
                    </a:cubicBezTo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3599" dirty="0"/>
              </a:p>
            </p:txBody>
          </p:sp>
          <p:sp>
            <p:nvSpPr>
              <p:cNvPr id="35" name="Oval 32">
                <a:extLst>
                  <a:ext uri="{FF2B5EF4-FFF2-40B4-BE49-F238E27FC236}">
                    <a16:creationId xmlns:a16="http://schemas.microsoft.com/office/drawing/2014/main" id="{3840FA81-AC3B-2786-D6B3-4C25911920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33931" y="2053551"/>
                <a:ext cx="2857153" cy="341390"/>
              </a:xfrm>
              <a:prstGeom prst="ellipse">
                <a:avLst/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3599" dirty="0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ABEFE718-99B6-D362-D8C8-D8DC449E9D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42625" y="2265431"/>
                <a:ext cx="4108687" cy="1213650"/>
              </a:xfrm>
              <a:custGeom>
                <a:avLst/>
                <a:gdLst>
                  <a:gd name="T0" fmla="*/ 882 w 882"/>
                  <a:gd name="T1" fmla="*/ 0 h 260"/>
                  <a:gd name="T2" fmla="*/ 798 w 882"/>
                  <a:gd name="T3" fmla="*/ 25 h 260"/>
                  <a:gd name="T4" fmla="*/ 675 w 882"/>
                  <a:gd name="T5" fmla="*/ 41 h 260"/>
                  <a:gd name="T6" fmla="*/ 441 w 882"/>
                  <a:gd name="T7" fmla="*/ 51 h 260"/>
                  <a:gd name="T8" fmla="*/ 0 w 882"/>
                  <a:gd name="T9" fmla="*/ 0 h 260"/>
                  <a:gd name="T10" fmla="*/ 0 w 882"/>
                  <a:gd name="T11" fmla="*/ 0 h 260"/>
                  <a:gd name="T12" fmla="*/ 146 w 882"/>
                  <a:gd name="T13" fmla="*/ 227 h 260"/>
                  <a:gd name="T14" fmla="*/ 437 w 882"/>
                  <a:gd name="T15" fmla="*/ 260 h 260"/>
                  <a:gd name="T16" fmla="*/ 604 w 882"/>
                  <a:gd name="T17" fmla="*/ 251 h 260"/>
                  <a:gd name="T18" fmla="*/ 683 w 882"/>
                  <a:gd name="T19" fmla="*/ 239 h 260"/>
                  <a:gd name="T20" fmla="*/ 730 w 882"/>
                  <a:gd name="T21" fmla="*/ 227 h 260"/>
                  <a:gd name="T22" fmla="*/ 882 w 882"/>
                  <a:gd name="T23" fmla="*/ 0 h 260"/>
                  <a:gd name="T24" fmla="*/ 882 w 882"/>
                  <a:gd name="T25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82" h="260">
                    <a:moveTo>
                      <a:pt x="882" y="0"/>
                    </a:moveTo>
                    <a:cubicBezTo>
                      <a:pt x="867" y="9"/>
                      <a:pt x="838" y="18"/>
                      <a:pt x="798" y="25"/>
                    </a:cubicBezTo>
                    <a:cubicBezTo>
                      <a:pt x="765" y="32"/>
                      <a:pt x="723" y="37"/>
                      <a:pt x="675" y="41"/>
                    </a:cubicBezTo>
                    <a:cubicBezTo>
                      <a:pt x="607" y="47"/>
                      <a:pt x="527" y="51"/>
                      <a:pt x="441" y="51"/>
                    </a:cubicBezTo>
                    <a:cubicBezTo>
                      <a:pt x="225" y="51"/>
                      <a:pt x="45" y="29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73" y="78"/>
                      <a:pt x="146" y="227"/>
                    </a:cubicBezTo>
                    <a:cubicBezTo>
                      <a:pt x="205" y="247"/>
                      <a:pt x="313" y="260"/>
                      <a:pt x="437" y="260"/>
                    </a:cubicBezTo>
                    <a:cubicBezTo>
                      <a:pt x="498" y="260"/>
                      <a:pt x="555" y="257"/>
                      <a:pt x="604" y="251"/>
                    </a:cubicBezTo>
                    <a:cubicBezTo>
                      <a:pt x="634" y="248"/>
                      <a:pt x="660" y="244"/>
                      <a:pt x="683" y="239"/>
                    </a:cubicBezTo>
                    <a:cubicBezTo>
                      <a:pt x="701" y="235"/>
                      <a:pt x="717" y="231"/>
                      <a:pt x="730" y="227"/>
                    </a:cubicBezTo>
                    <a:cubicBezTo>
                      <a:pt x="770" y="150"/>
                      <a:pt x="819" y="73"/>
                      <a:pt x="882" y="0"/>
                    </a:cubicBezTo>
                    <a:cubicBezTo>
                      <a:pt x="882" y="0"/>
                      <a:pt x="882" y="0"/>
                      <a:pt x="882" y="0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3599" dirty="0"/>
              </a:p>
            </p:txBody>
          </p:sp>
        </p:grpSp>
        <p:pic>
          <p:nvPicPr>
            <p:cNvPr id="23" name="Grafik 22" descr="Datenbank Silhouette">
              <a:extLst>
                <a:ext uri="{FF2B5EF4-FFF2-40B4-BE49-F238E27FC236}">
                  <a16:creationId xmlns:a16="http://schemas.microsoft.com/office/drawing/2014/main" id="{8F4F79EE-10D3-0543-9FA1-EBA56E927EF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7576909" y="3536699"/>
              <a:ext cx="540000" cy="540000"/>
            </a:xfrm>
            <a:prstGeom prst="rect">
              <a:avLst/>
            </a:prstGeom>
          </p:spPr>
        </p:pic>
        <p:sp>
          <p:nvSpPr>
            <p:cNvPr id="63" name="Textfeld 62">
              <a:extLst>
                <a:ext uri="{FF2B5EF4-FFF2-40B4-BE49-F238E27FC236}">
                  <a16:creationId xmlns:a16="http://schemas.microsoft.com/office/drawing/2014/main" id="{061A38A9-9705-6412-8F40-54E51CDF5CE9}"/>
                </a:ext>
              </a:extLst>
            </p:cNvPr>
            <p:cNvSpPr txBox="1"/>
            <p:nvPr/>
          </p:nvSpPr>
          <p:spPr>
            <a:xfrm>
              <a:off x="3802793" y="3536699"/>
              <a:ext cx="914400" cy="914400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2000" b="1" i="0" u="none" dirty="0">
                  <a:solidFill>
                    <a:schemeClr val="accent1"/>
                  </a:solidFill>
                </a:rPr>
                <a:t>01. Data and </a:t>
              </a:r>
              <a:r>
                <a:rPr lang="de-DE" sz="2000" b="1" i="0" u="none" dirty="0" err="1">
                  <a:solidFill>
                    <a:schemeClr val="accent1"/>
                  </a:solidFill>
                </a:rPr>
                <a:t>features</a:t>
              </a:r>
              <a:endParaRPr lang="de-DE" sz="2000" b="1" i="0" u="none" dirty="0">
                <a:solidFill>
                  <a:schemeClr val="accent1"/>
                </a:solidFill>
              </a:endParaRPr>
            </a:p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de-DE" sz="2000" b="1" i="0" u="none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70" name="Gruppieren 69">
            <a:extLst>
              <a:ext uri="{FF2B5EF4-FFF2-40B4-BE49-F238E27FC236}">
                <a16:creationId xmlns:a16="http://schemas.microsoft.com/office/drawing/2014/main" id="{7EA7B75B-D165-BCFC-6632-9764A51FF3EF}"/>
              </a:ext>
            </a:extLst>
          </p:cNvPr>
          <p:cNvGrpSpPr/>
          <p:nvPr/>
        </p:nvGrpSpPr>
        <p:grpSpPr>
          <a:xfrm>
            <a:off x="3144176" y="4058089"/>
            <a:ext cx="5233166" cy="1134250"/>
            <a:chOff x="3802793" y="4058089"/>
            <a:chExt cx="5233166" cy="1134250"/>
          </a:xfrm>
        </p:grpSpPr>
        <p:sp>
          <p:nvSpPr>
            <p:cNvPr id="31" name="Freeform 33">
              <a:extLst>
                <a:ext uri="{FF2B5EF4-FFF2-40B4-BE49-F238E27FC236}">
                  <a16:creationId xmlns:a16="http://schemas.microsoft.com/office/drawing/2014/main" id="{C71E6621-806E-C24F-B7EE-3BE951B0E559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6617049" y="4058089"/>
              <a:ext cx="2418910" cy="863999"/>
            </a:xfrm>
            <a:custGeom>
              <a:avLst/>
              <a:gdLst>
                <a:gd name="T0" fmla="*/ 287 w 584"/>
                <a:gd name="T1" fmla="*/ 243 h 243"/>
                <a:gd name="T2" fmla="*/ 498 w 584"/>
                <a:gd name="T3" fmla="*/ 208 h 243"/>
                <a:gd name="T4" fmla="*/ 584 w 584"/>
                <a:gd name="T5" fmla="*/ 0 h 243"/>
                <a:gd name="T6" fmla="*/ 291 w 584"/>
                <a:gd name="T7" fmla="*/ 33 h 243"/>
                <a:gd name="T8" fmla="*/ 0 w 584"/>
                <a:gd name="T9" fmla="*/ 0 h 243"/>
                <a:gd name="T10" fmla="*/ 84 w 584"/>
                <a:gd name="T11" fmla="*/ 211 h 243"/>
                <a:gd name="T12" fmla="*/ 287 w 584"/>
                <a:gd name="T13" fmla="*/ 243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4" h="243">
                  <a:moveTo>
                    <a:pt x="287" y="243"/>
                  </a:moveTo>
                  <a:cubicBezTo>
                    <a:pt x="379" y="243"/>
                    <a:pt x="458" y="229"/>
                    <a:pt x="498" y="208"/>
                  </a:cubicBezTo>
                  <a:cubicBezTo>
                    <a:pt x="519" y="141"/>
                    <a:pt x="547" y="71"/>
                    <a:pt x="584" y="0"/>
                  </a:cubicBezTo>
                  <a:cubicBezTo>
                    <a:pt x="526" y="19"/>
                    <a:pt x="417" y="33"/>
                    <a:pt x="291" y="33"/>
                  </a:cubicBezTo>
                  <a:cubicBezTo>
                    <a:pt x="167" y="33"/>
                    <a:pt x="59" y="20"/>
                    <a:pt x="0" y="0"/>
                  </a:cubicBezTo>
                  <a:cubicBezTo>
                    <a:pt x="29" y="60"/>
                    <a:pt x="59" y="130"/>
                    <a:pt x="84" y="211"/>
                  </a:cubicBezTo>
                  <a:cubicBezTo>
                    <a:pt x="125" y="231"/>
                    <a:pt x="201" y="243"/>
                    <a:pt x="287" y="243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de-DE" sz="3599" dirty="0"/>
            </a:p>
          </p:txBody>
        </p:sp>
        <p:pic>
          <p:nvPicPr>
            <p:cNvPr id="25" name="Grafik 24" descr="Fernstudium Mathematik Silhouette">
              <a:extLst>
                <a:ext uri="{FF2B5EF4-FFF2-40B4-BE49-F238E27FC236}">
                  <a16:creationId xmlns:a16="http://schemas.microsoft.com/office/drawing/2014/main" id="{19BE89D9-9AAD-118D-6AB8-4AEBDB12EED6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7576909" y="4272539"/>
              <a:ext cx="540000" cy="540000"/>
            </a:xfrm>
            <a:prstGeom prst="rect">
              <a:avLst/>
            </a:prstGeom>
          </p:spPr>
        </p:pic>
        <p:sp>
          <p:nvSpPr>
            <p:cNvPr id="65" name="Textfeld 64">
              <a:extLst>
                <a:ext uri="{FF2B5EF4-FFF2-40B4-BE49-F238E27FC236}">
                  <a16:creationId xmlns:a16="http://schemas.microsoft.com/office/drawing/2014/main" id="{F8F2166F-CDEB-5AFE-9A3B-0C97F6AB2DBC}"/>
                </a:ext>
              </a:extLst>
            </p:cNvPr>
            <p:cNvSpPr txBox="1"/>
            <p:nvPr/>
          </p:nvSpPr>
          <p:spPr>
            <a:xfrm>
              <a:off x="3802793" y="4277939"/>
              <a:ext cx="914400" cy="914400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2000" b="1" i="0" u="none" dirty="0">
                  <a:solidFill>
                    <a:schemeClr val="accent2"/>
                  </a:solidFill>
                </a:rPr>
                <a:t>02. Model </a:t>
              </a:r>
              <a:r>
                <a:rPr lang="de-DE" sz="2000" b="1" i="0" u="none" dirty="0" err="1">
                  <a:solidFill>
                    <a:schemeClr val="accent2"/>
                  </a:solidFill>
                </a:rPr>
                <a:t>fitting</a:t>
              </a:r>
              <a:endParaRPr lang="de-DE" sz="2000" b="1" i="0" u="none" dirty="0">
                <a:solidFill>
                  <a:schemeClr val="accent2"/>
                </a:solidFill>
              </a:endParaRPr>
            </a:p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de-DE" sz="2000" b="1" i="0" u="none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4C02A58F-C74E-A1F6-BCF2-2CE86894A575}"/>
              </a:ext>
            </a:extLst>
          </p:cNvPr>
          <p:cNvGrpSpPr/>
          <p:nvPr/>
        </p:nvGrpSpPr>
        <p:grpSpPr>
          <a:xfrm>
            <a:off x="3144176" y="4791611"/>
            <a:ext cx="4877452" cy="1141968"/>
            <a:chOff x="3802793" y="4791611"/>
            <a:chExt cx="4877452" cy="1141968"/>
          </a:xfrm>
        </p:grpSpPr>
        <p:sp>
          <p:nvSpPr>
            <p:cNvPr id="32" name="Freeform 34">
              <a:extLst>
                <a:ext uri="{FF2B5EF4-FFF2-40B4-BE49-F238E27FC236}">
                  <a16:creationId xmlns:a16="http://schemas.microsoft.com/office/drawing/2014/main" id="{1302865B-88FA-3052-42E3-C5ED4D0D25B1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6965098" y="4791611"/>
              <a:ext cx="1715147" cy="852809"/>
            </a:xfrm>
            <a:custGeom>
              <a:avLst/>
              <a:gdLst>
                <a:gd name="T0" fmla="*/ 203 w 414"/>
                <a:gd name="T1" fmla="*/ 35 h 240"/>
                <a:gd name="T2" fmla="*/ 0 w 414"/>
                <a:gd name="T3" fmla="*/ 3 h 240"/>
                <a:gd name="T4" fmla="*/ 46 w 414"/>
                <a:gd name="T5" fmla="*/ 204 h 240"/>
                <a:gd name="T6" fmla="*/ 49 w 414"/>
                <a:gd name="T7" fmla="*/ 215 h 240"/>
                <a:gd name="T8" fmla="*/ 205 w 414"/>
                <a:gd name="T9" fmla="*/ 240 h 240"/>
                <a:gd name="T10" fmla="*/ 354 w 414"/>
                <a:gd name="T11" fmla="*/ 217 h 240"/>
                <a:gd name="T12" fmla="*/ 362 w 414"/>
                <a:gd name="T13" fmla="*/ 214 h 240"/>
                <a:gd name="T14" fmla="*/ 376 w 414"/>
                <a:gd name="T15" fmla="*/ 139 h 240"/>
                <a:gd name="T16" fmla="*/ 414 w 414"/>
                <a:gd name="T17" fmla="*/ 0 h 240"/>
                <a:gd name="T18" fmla="*/ 203 w 414"/>
                <a:gd name="T19" fmla="*/ 35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4" h="240">
                  <a:moveTo>
                    <a:pt x="203" y="35"/>
                  </a:moveTo>
                  <a:cubicBezTo>
                    <a:pt x="117" y="35"/>
                    <a:pt x="41" y="23"/>
                    <a:pt x="0" y="3"/>
                  </a:cubicBezTo>
                  <a:cubicBezTo>
                    <a:pt x="18" y="64"/>
                    <a:pt x="35" y="131"/>
                    <a:pt x="46" y="204"/>
                  </a:cubicBezTo>
                  <a:cubicBezTo>
                    <a:pt x="47" y="208"/>
                    <a:pt x="48" y="211"/>
                    <a:pt x="49" y="215"/>
                  </a:cubicBezTo>
                  <a:cubicBezTo>
                    <a:pt x="85" y="230"/>
                    <a:pt x="142" y="240"/>
                    <a:pt x="205" y="240"/>
                  </a:cubicBezTo>
                  <a:cubicBezTo>
                    <a:pt x="264" y="240"/>
                    <a:pt x="317" y="231"/>
                    <a:pt x="354" y="217"/>
                  </a:cubicBezTo>
                  <a:cubicBezTo>
                    <a:pt x="357" y="216"/>
                    <a:pt x="359" y="215"/>
                    <a:pt x="362" y="214"/>
                  </a:cubicBezTo>
                  <a:cubicBezTo>
                    <a:pt x="366" y="190"/>
                    <a:pt x="371" y="165"/>
                    <a:pt x="376" y="139"/>
                  </a:cubicBezTo>
                  <a:cubicBezTo>
                    <a:pt x="386" y="96"/>
                    <a:pt x="398" y="49"/>
                    <a:pt x="414" y="0"/>
                  </a:cubicBezTo>
                  <a:cubicBezTo>
                    <a:pt x="374" y="21"/>
                    <a:pt x="295" y="35"/>
                    <a:pt x="203" y="35"/>
                  </a:cubicBezTo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de-DE" sz="3599" dirty="0"/>
            </a:p>
          </p:txBody>
        </p:sp>
        <p:pic>
          <p:nvPicPr>
            <p:cNvPr id="27" name="Grafik 26" descr="Ziel Silhouette">
              <a:extLst>
                <a:ext uri="{FF2B5EF4-FFF2-40B4-BE49-F238E27FC236}">
                  <a16:creationId xmlns:a16="http://schemas.microsoft.com/office/drawing/2014/main" id="{15A616FC-0844-73F8-BC52-661AD65EEA8E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7579905" y="4978095"/>
              <a:ext cx="540000" cy="540000"/>
            </a:xfrm>
            <a:prstGeom prst="rect">
              <a:avLst/>
            </a:prstGeom>
          </p:spPr>
        </p:pic>
        <p:sp>
          <p:nvSpPr>
            <p:cNvPr id="66" name="Textfeld 65">
              <a:extLst>
                <a:ext uri="{FF2B5EF4-FFF2-40B4-BE49-F238E27FC236}">
                  <a16:creationId xmlns:a16="http://schemas.microsoft.com/office/drawing/2014/main" id="{BD23FC98-9C46-6C74-1D63-D0FA3150CD55}"/>
                </a:ext>
              </a:extLst>
            </p:cNvPr>
            <p:cNvSpPr txBox="1"/>
            <p:nvPr/>
          </p:nvSpPr>
          <p:spPr>
            <a:xfrm>
              <a:off x="3802793" y="5019179"/>
              <a:ext cx="914400" cy="914400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2000" b="1" i="0" u="none" dirty="0">
                  <a:solidFill>
                    <a:schemeClr val="bg2">
                      <a:lumMod val="75000"/>
                    </a:schemeClr>
                  </a:solidFill>
                </a:rPr>
                <a:t>03. Model </a:t>
              </a:r>
              <a:r>
                <a:rPr lang="de-DE" sz="2000" b="1" i="0" u="none" dirty="0" err="1">
                  <a:solidFill>
                    <a:schemeClr val="bg2">
                      <a:lumMod val="75000"/>
                    </a:schemeClr>
                  </a:solidFill>
                </a:rPr>
                <a:t>evaluation</a:t>
              </a:r>
              <a:endParaRPr lang="de-DE" sz="2000" b="1" i="0" u="none" dirty="0">
                <a:solidFill>
                  <a:schemeClr val="bg2">
                    <a:lumMod val="75000"/>
                  </a:schemeClr>
                </a:solidFill>
              </a:endParaRPr>
            </a:p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de-DE" sz="2000" b="1" i="0" u="none" dirty="0">
                <a:solidFill>
                  <a:schemeClr val="bg2">
                    <a:lumMod val="75000"/>
                  </a:schemeClr>
                </a:solidFill>
              </a:endParaRPr>
            </a:p>
          </p:txBody>
        </p:sp>
      </p:grpSp>
      <p:grpSp>
        <p:nvGrpSpPr>
          <p:cNvPr id="72" name="Gruppieren 71">
            <a:extLst>
              <a:ext uri="{FF2B5EF4-FFF2-40B4-BE49-F238E27FC236}">
                <a16:creationId xmlns:a16="http://schemas.microsoft.com/office/drawing/2014/main" id="{D69FA70D-E166-5733-6C0F-CF1B9483B94E}"/>
              </a:ext>
            </a:extLst>
          </p:cNvPr>
          <p:cNvGrpSpPr/>
          <p:nvPr/>
        </p:nvGrpSpPr>
        <p:grpSpPr>
          <a:xfrm>
            <a:off x="3144176" y="5549938"/>
            <a:ext cx="4664264" cy="1124882"/>
            <a:chOff x="3802793" y="5549938"/>
            <a:chExt cx="4664264" cy="1124882"/>
          </a:xfrm>
        </p:grpSpPr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1720FB25-EA4C-17C2-3C0A-9B20861ADEAA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7166912" y="5549938"/>
              <a:ext cx="1300145" cy="846594"/>
            </a:xfrm>
            <a:custGeom>
              <a:avLst/>
              <a:gdLst>
                <a:gd name="T0" fmla="*/ 314 w 314"/>
                <a:gd name="T1" fmla="*/ 0 h 238"/>
                <a:gd name="T2" fmla="*/ 306 w 314"/>
                <a:gd name="T3" fmla="*/ 3 h 238"/>
                <a:gd name="T4" fmla="*/ 293 w 314"/>
                <a:gd name="T5" fmla="*/ 8 h 238"/>
                <a:gd name="T6" fmla="*/ 248 w 314"/>
                <a:gd name="T7" fmla="*/ 18 h 238"/>
                <a:gd name="T8" fmla="*/ 157 w 314"/>
                <a:gd name="T9" fmla="*/ 26 h 238"/>
                <a:gd name="T10" fmla="*/ 1 w 314"/>
                <a:gd name="T11" fmla="*/ 1 h 238"/>
                <a:gd name="T12" fmla="*/ 0 w 314"/>
                <a:gd name="T13" fmla="*/ 0 h 238"/>
                <a:gd name="T14" fmla="*/ 16 w 314"/>
                <a:gd name="T15" fmla="*/ 153 h 238"/>
                <a:gd name="T16" fmla="*/ 18 w 314"/>
                <a:gd name="T17" fmla="*/ 208 h 238"/>
                <a:gd name="T18" fmla="*/ 31 w 314"/>
                <a:gd name="T19" fmla="*/ 221 h 238"/>
                <a:gd name="T20" fmla="*/ 47 w 314"/>
                <a:gd name="T21" fmla="*/ 227 h 238"/>
                <a:gd name="T22" fmla="*/ 157 w 314"/>
                <a:gd name="T23" fmla="*/ 238 h 238"/>
                <a:gd name="T24" fmla="*/ 235 w 314"/>
                <a:gd name="T25" fmla="*/ 233 h 238"/>
                <a:gd name="T26" fmla="*/ 258 w 314"/>
                <a:gd name="T27" fmla="*/ 229 h 238"/>
                <a:gd name="T28" fmla="*/ 273 w 314"/>
                <a:gd name="T29" fmla="*/ 225 h 238"/>
                <a:gd name="T30" fmla="*/ 279 w 314"/>
                <a:gd name="T31" fmla="*/ 223 h 238"/>
                <a:gd name="T32" fmla="*/ 296 w 314"/>
                <a:gd name="T33" fmla="*/ 208 h 238"/>
                <a:gd name="T34" fmla="*/ 298 w 314"/>
                <a:gd name="T35" fmla="*/ 142 h 238"/>
                <a:gd name="T36" fmla="*/ 314 w 314"/>
                <a:gd name="T37" fmla="*/ 0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14" h="238">
                  <a:moveTo>
                    <a:pt x="314" y="0"/>
                  </a:moveTo>
                  <a:cubicBezTo>
                    <a:pt x="311" y="1"/>
                    <a:pt x="309" y="2"/>
                    <a:pt x="306" y="3"/>
                  </a:cubicBezTo>
                  <a:cubicBezTo>
                    <a:pt x="302" y="5"/>
                    <a:pt x="297" y="6"/>
                    <a:pt x="293" y="8"/>
                  </a:cubicBezTo>
                  <a:cubicBezTo>
                    <a:pt x="280" y="12"/>
                    <a:pt x="264" y="16"/>
                    <a:pt x="248" y="18"/>
                  </a:cubicBezTo>
                  <a:cubicBezTo>
                    <a:pt x="220" y="23"/>
                    <a:pt x="189" y="26"/>
                    <a:pt x="157" y="26"/>
                  </a:cubicBezTo>
                  <a:cubicBezTo>
                    <a:pt x="94" y="26"/>
                    <a:pt x="37" y="16"/>
                    <a:pt x="1" y="1"/>
                  </a:cubicBezTo>
                  <a:cubicBezTo>
                    <a:pt x="1" y="1"/>
                    <a:pt x="0" y="0"/>
                    <a:pt x="0" y="0"/>
                  </a:cubicBezTo>
                  <a:cubicBezTo>
                    <a:pt x="7" y="49"/>
                    <a:pt x="13" y="100"/>
                    <a:pt x="16" y="153"/>
                  </a:cubicBezTo>
                  <a:cubicBezTo>
                    <a:pt x="17" y="171"/>
                    <a:pt x="18" y="190"/>
                    <a:pt x="18" y="208"/>
                  </a:cubicBezTo>
                  <a:cubicBezTo>
                    <a:pt x="18" y="213"/>
                    <a:pt x="23" y="217"/>
                    <a:pt x="31" y="221"/>
                  </a:cubicBezTo>
                  <a:cubicBezTo>
                    <a:pt x="35" y="223"/>
                    <a:pt x="41" y="225"/>
                    <a:pt x="47" y="227"/>
                  </a:cubicBezTo>
                  <a:cubicBezTo>
                    <a:pt x="72" y="234"/>
                    <a:pt x="112" y="238"/>
                    <a:pt x="157" y="238"/>
                  </a:cubicBezTo>
                  <a:cubicBezTo>
                    <a:pt x="186" y="238"/>
                    <a:pt x="213" y="236"/>
                    <a:pt x="235" y="233"/>
                  </a:cubicBezTo>
                  <a:cubicBezTo>
                    <a:pt x="244" y="232"/>
                    <a:pt x="251" y="230"/>
                    <a:pt x="258" y="229"/>
                  </a:cubicBezTo>
                  <a:cubicBezTo>
                    <a:pt x="263" y="228"/>
                    <a:pt x="268" y="226"/>
                    <a:pt x="273" y="225"/>
                  </a:cubicBezTo>
                  <a:cubicBezTo>
                    <a:pt x="275" y="224"/>
                    <a:pt x="277" y="224"/>
                    <a:pt x="279" y="223"/>
                  </a:cubicBezTo>
                  <a:cubicBezTo>
                    <a:pt x="290" y="219"/>
                    <a:pt x="296" y="214"/>
                    <a:pt x="296" y="208"/>
                  </a:cubicBezTo>
                  <a:cubicBezTo>
                    <a:pt x="296" y="208"/>
                    <a:pt x="295" y="184"/>
                    <a:pt x="298" y="142"/>
                  </a:cubicBezTo>
                  <a:cubicBezTo>
                    <a:pt x="300" y="106"/>
                    <a:pt x="305" y="57"/>
                    <a:pt x="314" y="0"/>
                  </a:cubicBezTo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de-DE" sz="3599" dirty="0"/>
            </a:p>
          </p:txBody>
        </p:sp>
        <p:pic>
          <p:nvPicPr>
            <p:cNvPr id="29" name="Grafik 28" descr="Fliegendes Geld Silhouette">
              <a:extLst>
                <a:ext uri="{FF2B5EF4-FFF2-40B4-BE49-F238E27FC236}">
                  <a16:creationId xmlns:a16="http://schemas.microsoft.com/office/drawing/2014/main" id="{2D13D3FD-D8AA-A6E1-DD71-A44DE516EB4D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7578252" y="5760420"/>
              <a:ext cx="540000" cy="540000"/>
            </a:xfrm>
            <a:prstGeom prst="rect">
              <a:avLst/>
            </a:prstGeom>
          </p:spPr>
        </p:pic>
        <p:sp>
          <p:nvSpPr>
            <p:cNvPr id="67" name="Textfeld 66">
              <a:extLst>
                <a:ext uri="{FF2B5EF4-FFF2-40B4-BE49-F238E27FC236}">
                  <a16:creationId xmlns:a16="http://schemas.microsoft.com/office/drawing/2014/main" id="{0A96911D-B91C-867F-DF5A-7C42ABF581E1}"/>
                </a:ext>
              </a:extLst>
            </p:cNvPr>
            <p:cNvSpPr txBox="1"/>
            <p:nvPr/>
          </p:nvSpPr>
          <p:spPr>
            <a:xfrm>
              <a:off x="3802793" y="5760420"/>
              <a:ext cx="914400" cy="914400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2000" b="1" i="0" u="none" dirty="0">
                  <a:solidFill>
                    <a:schemeClr val="accent4"/>
                  </a:solidFill>
                </a:rPr>
                <a:t>04. </a:t>
              </a:r>
              <a:r>
                <a:rPr lang="de-DE" sz="2000" b="1" i="0" u="none" dirty="0" err="1">
                  <a:solidFill>
                    <a:schemeClr val="accent4"/>
                  </a:solidFill>
                </a:rPr>
                <a:t>Apply</a:t>
              </a:r>
              <a:r>
                <a:rPr lang="de-DE" sz="2000" b="1" i="0" u="none" dirty="0">
                  <a:solidFill>
                    <a:schemeClr val="accent4"/>
                  </a:solidFill>
                </a:rPr>
                <a:t> </a:t>
              </a:r>
              <a:r>
                <a:rPr lang="de-DE" sz="2000" b="1" i="0" u="none" dirty="0" err="1">
                  <a:solidFill>
                    <a:schemeClr val="accent4"/>
                  </a:solidFill>
                </a:rPr>
                <a:t>trading</a:t>
              </a:r>
              <a:r>
                <a:rPr lang="de-DE" sz="2000" b="1" i="0" u="none" dirty="0">
                  <a:solidFill>
                    <a:schemeClr val="accent4"/>
                  </a:solidFill>
                </a:rPr>
                <a:t> </a:t>
              </a:r>
              <a:r>
                <a:rPr lang="de-DE" sz="2000" b="1" i="0" u="none" dirty="0" err="1">
                  <a:solidFill>
                    <a:schemeClr val="accent4"/>
                  </a:solidFill>
                </a:rPr>
                <a:t>strategy</a:t>
              </a:r>
              <a:endParaRPr lang="de-DE" sz="2000" b="1" i="0" u="none" dirty="0">
                <a:solidFill>
                  <a:schemeClr val="accent4"/>
                </a:solidFill>
              </a:endParaRPr>
            </a:p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de-DE" sz="2000" b="1" i="0" u="none" dirty="0">
                <a:solidFill>
                  <a:schemeClr val="accent4"/>
                </a:solidFill>
              </a:endParaRPr>
            </a:p>
          </p:txBody>
        </p:sp>
      </p:grpSp>
      <p:sp>
        <p:nvSpPr>
          <p:cNvPr id="68" name="Textfeld 67">
            <a:extLst>
              <a:ext uri="{FF2B5EF4-FFF2-40B4-BE49-F238E27FC236}">
                <a16:creationId xmlns:a16="http://schemas.microsoft.com/office/drawing/2014/main" id="{15AC6FD6-8186-C8C7-2EE5-E9AC00D485B0}"/>
              </a:ext>
            </a:extLst>
          </p:cNvPr>
          <p:cNvSpPr txBox="1"/>
          <p:nvPr/>
        </p:nvSpPr>
        <p:spPr>
          <a:xfrm>
            <a:off x="490668" y="368749"/>
            <a:ext cx="8068236" cy="914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3600" b="1" i="0" u="none" dirty="0" err="1">
                <a:latin typeface="Segoe UI Semibold (Überschriften)"/>
              </a:rPr>
              <a:t>Introduction</a:t>
            </a:r>
            <a:r>
              <a:rPr lang="de-DE" sz="3600" b="1" i="0" u="none" dirty="0">
                <a:latin typeface="Segoe UI Semibold (Überschriften)"/>
              </a:rPr>
              <a:t> </a:t>
            </a:r>
            <a:r>
              <a:rPr lang="de-DE" sz="3600" b="1" i="0" u="none" dirty="0" err="1">
                <a:latin typeface="Segoe UI Semibold (Überschriften)"/>
              </a:rPr>
              <a:t>to</a:t>
            </a:r>
            <a:r>
              <a:rPr lang="de-DE" sz="3600" b="1" i="0" u="none" dirty="0">
                <a:latin typeface="Segoe UI Semibold (Überschriften)"/>
              </a:rPr>
              <a:t> </a:t>
            </a:r>
            <a:r>
              <a:rPr lang="de-DE" sz="3600" b="1" i="0" u="none" dirty="0" err="1">
                <a:latin typeface="Segoe UI Semibold (Überschriften)"/>
              </a:rPr>
              <a:t>our</a:t>
            </a:r>
            <a:r>
              <a:rPr lang="de-DE" sz="3600" b="1" i="0" u="none" dirty="0">
                <a:latin typeface="Segoe UI Semibold (Überschriften)"/>
              </a:rPr>
              <a:t> </a:t>
            </a:r>
            <a:r>
              <a:rPr lang="de-DE" sz="3600" b="1" i="0" u="none" dirty="0" err="1">
                <a:latin typeface="Segoe UI Semibold (Überschriften)"/>
              </a:rPr>
              <a:t>project</a:t>
            </a:r>
            <a:endParaRPr lang="de-DE" sz="3600" b="1" i="0" u="none" dirty="0">
              <a:latin typeface="Segoe UI Semibold (Überschriften)"/>
            </a:endParaRPr>
          </a:p>
        </p:txBody>
      </p:sp>
      <p:grpSp>
        <p:nvGrpSpPr>
          <p:cNvPr id="5" name="Magnifying glass 02">
            <a:extLst>
              <a:ext uri="{FF2B5EF4-FFF2-40B4-BE49-F238E27FC236}">
                <a16:creationId xmlns:a16="http://schemas.microsoft.com/office/drawing/2014/main" id="{BE0B1D4E-CBAC-8589-9FDE-A8130699786A}"/>
              </a:ext>
            </a:extLst>
          </p:cNvPr>
          <p:cNvGrpSpPr>
            <a:grpSpLocks/>
          </p:cNvGrpSpPr>
          <p:nvPr>
            <p:custDataLst>
              <p:tags r:id="rId2"/>
            </p:custDataLst>
          </p:nvPr>
        </p:nvGrpSpPr>
        <p:grpSpPr>
          <a:xfrm>
            <a:off x="490668" y="1214941"/>
            <a:ext cx="360000" cy="360000"/>
            <a:chOff x="2811687" y="3640192"/>
            <a:chExt cx="592500" cy="592500"/>
          </a:xfrm>
          <a:solidFill>
            <a:schemeClr val="tx1"/>
          </a:solidFill>
        </p:grpSpPr>
        <p:sp>
          <p:nvSpPr>
            <p:cNvPr id="6" name="MIO_PICTOGRAM_PART2">
              <a:extLst>
                <a:ext uri="{FF2B5EF4-FFF2-40B4-BE49-F238E27FC236}">
                  <a16:creationId xmlns:a16="http://schemas.microsoft.com/office/drawing/2014/main" id="{9260ACDD-0EB0-8F81-E54F-1E89A2287623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>
              <a:off x="2811687" y="3640192"/>
              <a:ext cx="592500" cy="592500"/>
            </a:xfrm>
            <a:custGeom>
              <a:avLst/>
              <a:gdLst>
                <a:gd name="connsiteX0" fmla="*/ 363941 w 444375"/>
                <a:gd name="connsiteY0" fmla="*/ 308253 h 444375"/>
                <a:gd name="connsiteX1" fmla="*/ 329066 w 444375"/>
                <a:gd name="connsiteY1" fmla="*/ 297566 h 444375"/>
                <a:gd name="connsiteX2" fmla="*/ 303753 w 444375"/>
                <a:gd name="connsiteY2" fmla="*/ 272816 h 444375"/>
                <a:gd name="connsiteX3" fmla="*/ 338628 w 444375"/>
                <a:gd name="connsiteY3" fmla="*/ 170441 h 444375"/>
                <a:gd name="connsiteX4" fmla="*/ 169878 w 444375"/>
                <a:gd name="connsiteY4" fmla="*/ 3 h 444375"/>
                <a:gd name="connsiteX5" fmla="*/ 3 w 444375"/>
                <a:gd name="connsiteY5" fmla="*/ 168753 h 444375"/>
                <a:gd name="connsiteX6" fmla="*/ 168753 w 444375"/>
                <a:gd name="connsiteY6" fmla="*/ 338628 h 444375"/>
                <a:gd name="connsiteX7" fmla="*/ 272253 w 444375"/>
                <a:gd name="connsiteY7" fmla="*/ 303753 h 444375"/>
                <a:gd name="connsiteX8" fmla="*/ 297003 w 444375"/>
                <a:gd name="connsiteY8" fmla="*/ 328503 h 444375"/>
                <a:gd name="connsiteX9" fmla="*/ 307691 w 444375"/>
                <a:gd name="connsiteY9" fmla="*/ 363941 h 444375"/>
                <a:gd name="connsiteX10" fmla="*/ 378003 w 444375"/>
                <a:gd name="connsiteY10" fmla="*/ 434253 h 444375"/>
                <a:gd name="connsiteX11" fmla="*/ 433691 w 444375"/>
                <a:gd name="connsiteY11" fmla="*/ 434253 h 444375"/>
                <a:gd name="connsiteX12" fmla="*/ 433691 w 444375"/>
                <a:gd name="connsiteY12" fmla="*/ 378566 h 444375"/>
                <a:gd name="connsiteX13" fmla="*/ 363941 w 444375"/>
                <a:gd name="connsiteY13" fmla="*/ 308253 h 444375"/>
                <a:gd name="connsiteX14" fmla="*/ 169878 w 444375"/>
                <a:gd name="connsiteY14" fmla="*/ 304878 h 444375"/>
                <a:gd name="connsiteX15" fmla="*/ 34878 w 444375"/>
                <a:gd name="connsiteY15" fmla="*/ 169878 h 444375"/>
                <a:gd name="connsiteX16" fmla="*/ 169878 w 444375"/>
                <a:gd name="connsiteY16" fmla="*/ 34878 h 444375"/>
                <a:gd name="connsiteX17" fmla="*/ 304878 w 444375"/>
                <a:gd name="connsiteY17" fmla="*/ 169878 h 444375"/>
                <a:gd name="connsiteX18" fmla="*/ 169878 w 444375"/>
                <a:gd name="connsiteY18" fmla="*/ 304878 h 444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44375" h="444375">
                  <a:moveTo>
                    <a:pt x="363941" y="308253"/>
                  </a:moveTo>
                  <a:cubicBezTo>
                    <a:pt x="354941" y="299253"/>
                    <a:pt x="341441" y="294753"/>
                    <a:pt x="329066" y="297566"/>
                  </a:cubicBezTo>
                  <a:lnTo>
                    <a:pt x="303753" y="272816"/>
                  </a:lnTo>
                  <a:cubicBezTo>
                    <a:pt x="326253" y="243566"/>
                    <a:pt x="338628" y="207566"/>
                    <a:pt x="338628" y="170441"/>
                  </a:cubicBezTo>
                  <a:cubicBezTo>
                    <a:pt x="339191" y="76503"/>
                    <a:pt x="263253" y="566"/>
                    <a:pt x="169878" y="3"/>
                  </a:cubicBezTo>
                  <a:cubicBezTo>
                    <a:pt x="76503" y="-559"/>
                    <a:pt x="566" y="75378"/>
                    <a:pt x="3" y="168753"/>
                  </a:cubicBezTo>
                  <a:cubicBezTo>
                    <a:pt x="-559" y="262128"/>
                    <a:pt x="75378" y="338066"/>
                    <a:pt x="168753" y="338628"/>
                  </a:cubicBezTo>
                  <a:cubicBezTo>
                    <a:pt x="205878" y="338628"/>
                    <a:pt x="242441" y="326253"/>
                    <a:pt x="272253" y="303753"/>
                  </a:cubicBezTo>
                  <a:lnTo>
                    <a:pt x="297003" y="328503"/>
                  </a:lnTo>
                  <a:cubicBezTo>
                    <a:pt x="294753" y="341441"/>
                    <a:pt x="298691" y="354378"/>
                    <a:pt x="307691" y="363941"/>
                  </a:cubicBezTo>
                  <a:lnTo>
                    <a:pt x="378003" y="434253"/>
                  </a:lnTo>
                  <a:cubicBezTo>
                    <a:pt x="393191" y="449441"/>
                    <a:pt x="418503" y="449441"/>
                    <a:pt x="433691" y="434253"/>
                  </a:cubicBezTo>
                  <a:cubicBezTo>
                    <a:pt x="448878" y="419066"/>
                    <a:pt x="448878" y="393753"/>
                    <a:pt x="433691" y="378566"/>
                  </a:cubicBezTo>
                  <a:lnTo>
                    <a:pt x="363941" y="308253"/>
                  </a:lnTo>
                  <a:close/>
                  <a:moveTo>
                    <a:pt x="169878" y="304878"/>
                  </a:moveTo>
                  <a:cubicBezTo>
                    <a:pt x="95066" y="304878"/>
                    <a:pt x="34878" y="244691"/>
                    <a:pt x="34878" y="169878"/>
                  </a:cubicBezTo>
                  <a:cubicBezTo>
                    <a:pt x="34878" y="95066"/>
                    <a:pt x="95066" y="34878"/>
                    <a:pt x="169878" y="34878"/>
                  </a:cubicBezTo>
                  <a:cubicBezTo>
                    <a:pt x="244691" y="34878"/>
                    <a:pt x="304878" y="95066"/>
                    <a:pt x="304878" y="169878"/>
                  </a:cubicBezTo>
                  <a:cubicBezTo>
                    <a:pt x="304878" y="244128"/>
                    <a:pt x="244128" y="304878"/>
                    <a:pt x="169878" y="304878"/>
                  </a:cubicBezTo>
                  <a:close/>
                </a:path>
              </a:pathLst>
            </a:custGeom>
            <a:grpFill/>
            <a:ln w="55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cs typeface="Segoe UI Light"/>
              </a:endParaRPr>
            </a:p>
          </p:txBody>
        </p:sp>
        <p:sp>
          <p:nvSpPr>
            <p:cNvPr id="11" name="MIO_PICTOGRAM_PART1">
              <a:extLst>
                <a:ext uri="{FF2B5EF4-FFF2-40B4-BE49-F238E27FC236}">
                  <a16:creationId xmlns:a16="http://schemas.microsoft.com/office/drawing/2014/main" id="{56F322B2-F3F8-9582-D3C9-DFE22EB3A9D3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>
            <a:xfrm>
              <a:off x="2876942" y="3751659"/>
              <a:ext cx="322500" cy="232500"/>
            </a:xfrm>
            <a:custGeom>
              <a:avLst/>
              <a:gdLst>
                <a:gd name="connsiteX0" fmla="*/ 241875 w 241875"/>
                <a:gd name="connsiteY0" fmla="*/ 77841 h 174375"/>
                <a:gd name="connsiteX1" fmla="*/ 209813 w 241875"/>
                <a:gd name="connsiteY1" fmla="*/ 77841 h 174375"/>
                <a:gd name="connsiteX2" fmla="*/ 202500 w 241875"/>
                <a:gd name="connsiteY2" fmla="*/ 82341 h 174375"/>
                <a:gd name="connsiteX3" fmla="*/ 181125 w 241875"/>
                <a:gd name="connsiteY3" fmla="*/ 105403 h 174375"/>
                <a:gd name="connsiteX4" fmla="*/ 163125 w 241875"/>
                <a:gd name="connsiteY4" fmla="*/ 42966 h 174375"/>
                <a:gd name="connsiteX5" fmla="*/ 150750 w 241875"/>
                <a:gd name="connsiteY5" fmla="*/ 36216 h 174375"/>
                <a:gd name="connsiteX6" fmla="*/ 144000 w 241875"/>
                <a:gd name="connsiteY6" fmla="*/ 42403 h 174375"/>
                <a:gd name="connsiteX7" fmla="*/ 110250 w 241875"/>
                <a:gd name="connsiteY7" fmla="*/ 131841 h 174375"/>
                <a:gd name="connsiteX8" fmla="*/ 87188 w 241875"/>
                <a:gd name="connsiteY8" fmla="*/ 8091 h 174375"/>
                <a:gd name="connsiteX9" fmla="*/ 75938 w 241875"/>
                <a:gd name="connsiteY9" fmla="*/ 216 h 174375"/>
                <a:gd name="connsiteX10" fmla="*/ 68063 w 241875"/>
                <a:gd name="connsiteY10" fmla="*/ 6966 h 174375"/>
                <a:gd name="connsiteX11" fmla="*/ 43875 w 241875"/>
                <a:gd name="connsiteY11" fmla="*/ 77841 h 174375"/>
                <a:gd name="connsiteX12" fmla="*/ 0 w 241875"/>
                <a:gd name="connsiteY12" fmla="*/ 77841 h 174375"/>
                <a:gd name="connsiteX13" fmla="*/ 0 w 241875"/>
                <a:gd name="connsiteY13" fmla="*/ 100341 h 174375"/>
                <a:gd name="connsiteX14" fmla="*/ 51188 w 241875"/>
                <a:gd name="connsiteY14" fmla="*/ 100341 h 174375"/>
                <a:gd name="connsiteX15" fmla="*/ 60750 w 241875"/>
                <a:gd name="connsiteY15" fmla="*/ 91903 h 174375"/>
                <a:gd name="connsiteX16" fmla="*/ 74812 w 241875"/>
                <a:gd name="connsiteY16" fmla="*/ 49153 h 174375"/>
                <a:gd name="connsiteX17" fmla="*/ 97312 w 241875"/>
                <a:gd name="connsiteY17" fmla="*/ 170091 h 174375"/>
                <a:gd name="connsiteX18" fmla="*/ 106313 w 241875"/>
                <a:gd name="connsiteY18" fmla="*/ 177966 h 174375"/>
                <a:gd name="connsiteX19" fmla="*/ 107437 w 241875"/>
                <a:gd name="connsiteY19" fmla="*/ 177966 h 174375"/>
                <a:gd name="connsiteX20" fmla="*/ 117000 w 241875"/>
                <a:gd name="connsiteY20" fmla="*/ 171778 h 174375"/>
                <a:gd name="connsiteX21" fmla="*/ 153000 w 241875"/>
                <a:gd name="connsiteY21" fmla="*/ 77278 h 174375"/>
                <a:gd name="connsiteX22" fmla="*/ 167625 w 241875"/>
                <a:gd name="connsiteY22" fmla="*/ 127903 h 174375"/>
                <a:gd name="connsiteX23" fmla="*/ 180000 w 241875"/>
                <a:gd name="connsiteY23" fmla="*/ 134653 h 174375"/>
                <a:gd name="connsiteX24" fmla="*/ 184500 w 241875"/>
                <a:gd name="connsiteY24" fmla="*/ 131841 h 174375"/>
                <a:gd name="connsiteX25" fmla="*/ 214875 w 241875"/>
                <a:gd name="connsiteY25" fmla="*/ 100341 h 174375"/>
                <a:gd name="connsiteX26" fmla="*/ 242437 w 241875"/>
                <a:gd name="connsiteY26" fmla="*/ 100341 h 174375"/>
                <a:gd name="connsiteX27" fmla="*/ 242437 w 241875"/>
                <a:gd name="connsiteY27" fmla="*/ 77841 h 174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41875" h="174375">
                  <a:moveTo>
                    <a:pt x="241875" y="77841"/>
                  </a:moveTo>
                  <a:lnTo>
                    <a:pt x="209813" y="77841"/>
                  </a:lnTo>
                  <a:cubicBezTo>
                    <a:pt x="207000" y="78403"/>
                    <a:pt x="204188" y="80091"/>
                    <a:pt x="202500" y="82341"/>
                  </a:cubicBezTo>
                  <a:lnTo>
                    <a:pt x="181125" y="105403"/>
                  </a:lnTo>
                  <a:lnTo>
                    <a:pt x="163125" y="42966"/>
                  </a:lnTo>
                  <a:cubicBezTo>
                    <a:pt x="161438" y="37903"/>
                    <a:pt x="155813" y="34528"/>
                    <a:pt x="150750" y="36216"/>
                  </a:cubicBezTo>
                  <a:cubicBezTo>
                    <a:pt x="147938" y="37341"/>
                    <a:pt x="145125" y="39028"/>
                    <a:pt x="144000" y="42403"/>
                  </a:cubicBezTo>
                  <a:lnTo>
                    <a:pt x="110250" y="131841"/>
                  </a:lnTo>
                  <a:lnTo>
                    <a:pt x="87188" y="8091"/>
                  </a:lnTo>
                  <a:cubicBezTo>
                    <a:pt x="86062" y="2466"/>
                    <a:pt x="81000" y="-909"/>
                    <a:pt x="75938" y="216"/>
                  </a:cubicBezTo>
                  <a:cubicBezTo>
                    <a:pt x="72563" y="778"/>
                    <a:pt x="69750" y="3591"/>
                    <a:pt x="68063" y="6966"/>
                  </a:cubicBezTo>
                  <a:lnTo>
                    <a:pt x="43875" y="77841"/>
                  </a:lnTo>
                  <a:lnTo>
                    <a:pt x="0" y="77841"/>
                  </a:lnTo>
                  <a:lnTo>
                    <a:pt x="0" y="100341"/>
                  </a:lnTo>
                  <a:lnTo>
                    <a:pt x="51188" y="100341"/>
                  </a:lnTo>
                  <a:cubicBezTo>
                    <a:pt x="55687" y="99778"/>
                    <a:pt x="59625" y="96403"/>
                    <a:pt x="60750" y="91903"/>
                  </a:cubicBezTo>
                  <a:lnTo>
                    <a:pt x="74812" y="49153"/>
                  </a:lnTo>
                  <a:lnTo>
                    <a:pt x="97312" y="170091"/>
                  </a:lnTo>
                  <a:cubicBezTo>
                    <a:pt x="97875" y="174591"/>
                    <a:pt x="101812" y="177966"/>
                    <a:pt x="106313" y="177966"/>
                  </a:cubicBezTo>
                  <a:lnTo>
                    <a:pt x="107437" y="177966"/>
                  </a:lnTo>
                  <a:cubicBezTo>
                    <a:pt x="111375" y="177966"/>
                    <a:pt x="115313" y="175716"/>
                    <a:pt x="117000" y="171778"/>
                  </a:cubicBezTo>
                  <a:lnTo>
                    <a:pt x="153000" y="77278"/>
                  </a:lnTo>
                  <a:lnTo>
                    <a:pt x="167625" y="127903"/>
                  </a:lnTo>
                  <a:cubicBezTo>
                    <a:pt x="169312" y="132966"/>
                    <a:pt x="174375" y="136341"/>
                    <a:pt x="180000" y="134653"/>
                  </a:cubicBezTo>
                  <a:cubicBezTo>
                    <a:pt x="181688" y="134091"/>
                    <a:pt x="183375" y="132966"/>
                    <a:pt x="184500" y="131841"/>
                  </a:cubicBezTo>
                  <a:lnTo>
                    <a:pt x="214875" y="100341"/>
                  </a:lnTo>
                  <a:lnTo>
                    <a:pt x="242437" y="100341"/>
                  </a:lnTo>
                  <a:lnTo>
                    <a:pt x="242437" y="77841"/>
                  </a:lnTo>
                  <a:close/>
                </a:path>
              </a:pathLst>
            </a:custGeom>
            <a:grpFill/>
            <a:ln w="55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cs typeface="Segoe UI Light"/>
              </a:endParaRPr>
            </a:p>
          </p:txBody>
        </p:sp>
      </p:grpSp>
      <p:sp>
        <p:nvSpPr>
          <p:cNvPr id="7" name="Textfeld 6">
            <a:extLst>
              <a:ext uri="{FF2B5EF4-FFF2-40B4-BE49-F238E27FC236}">
                <a16:creationId xmlns:a16="http://schemas.microsoft.com/office/drawing/2014/main" id="{E2AEEFBF-FB7D-1FA3-4790-95FE88434C80}"/>
              </a:ext>
            </a:extLst>
          </p:cNvPr>
          <p:cNvSpPr txBox="1"/>
          <p:nvPr/>
        </p:nvSpPr>
        <p:spPr>
          <a:xfrm>
            <a:off x="7387057" y="2008170"/>
            <a:ext cx="804184" cy="3600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i="0" u="none" dirty="0"/>
              <a:t>ID3 </a:t>
            </a:r>
            <a:r>
              <a:rPr lang="de-DE" sz="1600" b="1" i="0" u="none" dirty="0" err="1"/>
              <a:t>price</a:t>
            </a:r>
            <a:endParaRPr lang="de-DE" sz="1600" b="1" i="0" u="none" dirty="0"/>
          </a:p>
        </p:txBody>
      </p:sp>
    </p:spTree>
    <p:extLst>
      <p:ext uri="{BB962C8B-B14F-4D97-AF65-F5344CB8AC3E}">
        <p14:creationId xmlns:p14="http://schemas.microsoft.com/office/powerpoint/2010/main" val="167595453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3EABEF-64B8-45C1-9574-9C9FF106A0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3600" b="1" i="0" u="none" dirty="0">
                <a:solidFill>
                  <a:schemeClr val="accent1"/>
                </a:solidFill>
              </a:rPr>
              <a:t>01. Data and </a:t>
            </a:r>
            <a:r>
              <a:rPr lang="de-DE" sz="3600" b="1" i="0" u="none" dirty="0" err="1">
                <a:solidFill>
                  <a:schemeClr val="accent1"/>
                </a:solidFill>
              </a:rPr>
              <a:t>features</a:t>
            </a:r>
            <a:endParaRPr lang="de-DE" sz="3600" b="1" i="0" u="none" dirty="0">
              <a:solidFill>
                <a:schemeClr val="accent1"/>
              </a:solidFill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AA3170FC-00C5-1049-8D19-88914A26D348}"/>
              </a:ext>
            </a:extLst>
          </p:cNvPr>
          <p:cNvSpPr/>
          <p:nvPr/>
        </p:nvSpPr>
        <p:spPr>
          <a:xfrm>
            <a:off x="1076960" y="1290320"/>
            <a:ext cx="3220720" cy="5832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r>
              <a:rPr lang="de-DE" sz="1600" b="1" dirty="0">
                <a:solidFill>
                  <a:schemeClr val="tx1"/>
                </a:solidFill>
              </a:rPr>
              <a:t>EPIAS</a:t>
            </a:r>
            <a:r>
              <a:rPr lang="de-DE" sz="1600" dirty="0">
                <a:solidFill>
                  <a:schemeClr val="tx1"/>
                </a:solidFill>
              </a:rPr>
              <a:t>, </a:t>
            </a:r>
            <a:r>
              <a:rPr lang="de-DE" sz="1600" dirty="0" err="1">
                <a:solidFill>
                  <a:schemeClr val="tx1"/>
                </a:solidFill>
              </a:rPr>
              <a:t>accessable</a:t>
            </a:r>
            <a:r>
              <a:rPr lang="de-DE" sz="1600" dirty="0">
                <a:solidFill>
                  <a:schemeClr val="tx1"/>
                </a:solidFill>
              </a:rPr>
              <a:t> </a:t>
            </a:r>
            <a:r>
              <a:rPr lang="de-DE" sz="1600" dirty="0" err="1">
                <a:solidFill>
                  <a:schemeClr val="tx1"/>
                </a:solidFill>
              </a:rPr>
              <a:t>through</a:t>
            </a:r>
            <a:r>
              <a:rPr lang="de-DE" sz="1600" dirty="0">
                <a:solidFill>
                  <a:schemeClr val="tx1"/>
                </a:solidFill>
              </a:rPr>
              <a:t> API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224DA0E3-949A-3D98-6F33-3BA2F4334011}"/>
              </a:ext>
            </a:extLst>
          </p:cNvPr>
          <p:cNvSpPr/>
          <p:nvPr/>
        </p:nvSpPr>
        <p:spPr>
          <a:xfrm>
            <a:off x="1076960" y="2060019"/>
            <a:ext cx="3220720" cy="5832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r>
              <a:rPr lang="de-DE" sz="1600" dirty="0">
                <a:solidFill>
                  <a:schemeClr val="tx1"/>
                </a:solidFill>
              </a:rPr>
              <a:t>01.01.2021 – 31.12.2023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5047F9AD-DEC3-CCB4-2328-4ED1170EF061}"/>
              </a:ext>
            </a:extLst>
          </p:cNvPr>
          <p:cNvSpPr/>
          <p:nvPr/>
        </p:nvSpPr>
        <p:spPr>
          <a:xfrm>
            <a:off x="1076960" y="2857991"/>
            <a:ext cx="3220720" cy="5832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r>
              <a:rPr lang="de-DE" sz="1600" dirty="0">
                <a:solidFill>
                  <a:schemeClr val="tx1"/>
                </a:solidFill>
              </a:rPr>
              <a:t>26.304 </a:t>
            </a:r>
            <a:r>
              <a:rPr lang="de-DE" sz="1600" dirty="0" err="1">
                <a:solidFill>
                  <a:schemeClr val="tx1"/>
                </a:solidFill>
              </a:rPr>
              <a:t>hours</a:t>
            </a:r>
            <a:r>
              <a:rPr lang="de-DE" sz="1600" dirty="0">
                <a:solidFill>
                  <a:schemeClr val="tx1"/>
                </a:solidFill>
              </a:rPr>
              <a:t>, 91 possible </a:t>
            </a:r>
            <a:r>
              <a:rPr lang="de-DE" sz="1600" dirty="0" err="1">
                <a:solidFill>
                  <a:schemeClr val="tx1"/>
                </a:solidFill>
              </a:rPr>
              <a:t>features</a:t>
            </a:r>
            <a:r>
              <a:rPr lang="de-DE" sz="1600" dirty="0">
                <a:solidFill>
                  <a:schemeClr val="tx1"/>
                </a:solidFill>
              </a:rPr>
              <a:t>,</a:t>
            </a:r>
          </a:p>
          <a:p>
            <a:pPr algn="ctr" defTabSz="486000"/>
            <a:r>
              <a:rPr lang="de-DE" sz="1600" dirty="0" err="1">
                <a:solidFill>
                  <a:schemeClr val="tx1"/>
                </a:solidFill>
              </a:rPr>
              <a:t>appr</a:t>
            </a:r>
            <a:r>
              <a:rPr lang="de-DE" sz="1600" dirty="0">
                <a:solidFill>
                  <a:schemeClr val="tx1"/>
                </a:solidFill>
              </a:rPr>
              <a:t>. 21 mio. </a:t>
            </a:r>
            <a:r>
              <a:rPr lang="de-DE" sz="1600" dirty="0" err="1">
                <a:solidFill>
                  <a:schemeClr val="tx1"/>
                </a:solidFill>
              </a:rPr>
              <a:t>trading</a:t>
            </a:r>
            <a:r>
              <a:rPr lang="de-DE" sz="1600" dirty="0">
                <a:solidFill>
                  <a:schemeClr val="tx1"/>
                </a:solidFill>
              </a:rPr>
              <a:t> </a:t>
            </a:r>
            <a:r>
              <a:rPr lang="de-DE" sz="1600" dirty="0" err="1">
                <a:solidFill>
                  <a:schemeClr val="tx1"/>
                </a:solidFill>
              </a:rPr>
              <a:t>orders</a:t>
            </a:r>
            <a:endParaRPr lang="de-DE" sz="1600" dirty="0">
              <a:solidFill>
                <a:schemeClr val="tx1"/>
              </a:solidFill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63BC41D1-4DD6-8553-1F5D-DB7DBF2AFDE3}"/>
              </a:ext>
            </a:extLst>
          </p:cNvPr>
          <p:cNvGrpSpPr/>
          <p:nvPr/>
        </p:nvGrpSpPr>
        <p:grpSpPr>
          <a:xfrm>
            <a:off x="7326086" y="1649626"/>
            <a:ext cx="3788954" cy="3788954"/>
            <a:chOff x="7326086" y="1649626"/>
            <a:chExt cx="3788954" cy="3788954"/>
          </a:xfrm>
        </p:grpSpPr>
        <p:sp>
          <p:nvSpPr>
            <p:cNvPr id="50" name="Ellipse 49">
              <a:extLst>
                <a:ext uri="{FF2B5EF4-FFF2-40B4-BE49-F238E27FC236}">
                  <a16:creationId xmlns:a16="http://schemas.microsoft.com/office/drawing/2014/main" id="{0ABF8032-DBA6-41B6-7CF3-AEA5ABDE42E0}"/>
                </a:ext>
              </a:extLst>
            </p:cNvPr>
            <p:cNvSpPr/>
            <p:nvPr/>
          </p:nvSpPr>
          <p:spPr>
            <a:xfrm>
              <a:off x="7711396" y="1821191"/>
              <a:ext cx="3240000" cy="3240000"/>
            </a:xfrm>
            <a:prstGeom prst="ellipse">
              <a:avLst/>
            </a:prstGeom>
            <a:solidFill>
              <a:srgbClr val="FF0000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7200" tIns="97200" rIns="97200" bIns="97200" rtlCol="0" anchor="ctr"/>
            <a:lstStyle/>
            <a:p>
              <a:pPr algn="ctr" defTabSz="486000"/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DD8EF19D-5EB4-7EC2-6302-FEAE206CF7BA}"/>
                </a:ext>
              </a:extLst>
            </p:cNvPr>
            <p:cNvSpPr/>
            <p:nvPr/>
          </p:nvSpPr>
          <p:spPr>
            <a:xfrm>
              <a:off x="7326086" y="3429000"/>
              <a:ext cx="3788954" cy="1670323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7200" tIns="97200" rIns="97200" bIns="97200" rtlCol="0" anchor="ctr"/>
            <a:lstStyle/>
            <a:p>
              <a:pPr algn="ctr" defTabSz="486000"/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4140AE8F-B06D-F21F-B2EE-6C5351CBAA33}"/>
                </a:ext>
              </a:extLst>
            </p:cNvPr>
            <p:cNvSpPr/>
            <p:nvPr/>
          </p:nvSpPr>
          <p:spPr>
            <a:xfrm rot="16200000">
              <a:off x="8292807" y="2708941"/>
              <a:ext cx="3788954" cy="1670323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7200" tIns="97200" rIns="97200" bIns="97200" rtlCol="0" anchor="ctr"/>
            <a:lstStyle/>
            <a:p>
              <a:pPr algn="ctr" defTabSz="486000"/>
              <a:endParaRPr lang="de-DE" sz="1600" dirty="0">
                <a:solidFill>
                  <a:schemeClr val="tx1"/>
                </a:solidFill>
              </a:endParaRPr>
            </a:p>
          </p:txBody>
        </p:sp>
      </p:grpSp>
      <p:sp>
        <p:nvSpPr>
          <p:cNvPr id="41" name="Teilkreis 40">
            <a:extLst>
              <a:ext uri="{FF2B5EF4-FFF2-40B4-BE49-F238E27FC236}">
                <a16:creationId xmlns:a16="http://schemas.microsoft.com/office/drawing/2014/main" id="{E97F87DA-D326-8352-E2F1-A1A5ACE98F45}"/>
              </a:ext>
            </a:extLst>
          </p:cNvPr>
          <p:cNvSpPr/>
          <p:nvPr/>
        </p:nvSpPr>
        <p:spPr>
          <a:xfrm rot="16200000">
            <a:off x="7711396" y="1821190"/>
            <a:ext cx="3240000" cy="3240000"/>
          </a:xfrm>
          <a:prstGeom prst="pie">
            <a:avLst/>
          </a:prstGeom>
          <a:solidFill>
            <a:srgbClr val="92D050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486000"/>
            <a:endParaRPr lang="de-DE" sz="1600" dirty="0">
              <a:solidFill>
                <a:schemeClr val="tx1"/>
              </a:solidFill>
            </a:endParaRPr>
          </a:p>
        </p:txBody>
      </p:sp>
      <p:grpSp>
        <p:nvGrpSpPr>
          <p:cNvPr id="59" name="Gruppieren 58">
            <a:extLst>
              <a:ext uri="{FF2B5EF4-FFF2-40B4-BE49-F238E27FC236}">
                <a16:creationId xmlns:a16="http://schemas.microsoft.com/office/drawing/2014/main" id="{7F548AF9-AFC3-9959-EE21-C5EE132F7541}"/>
              </a:ext>
            </a:extLst>
          </p:cNvPr>
          <p:cNvGrpSpPr/>
          <p:nvPr/>
        </p:nvGrpSpPr>
        <p:grpSpPr>
          <a:xfrm>
            <a:off x="7894322" y="1691068"/>
            <a:ext cx="2880000" cy="3177932"/>
            <a:chOff x="7894322" y="1691068"/>
            <a:chExt cx="2880000" cy="3177932"/>
          </a:xfrm>
        </p:grpSpPr>
        <p:grpSp>
          <p:nvGrpSpPr>
            <p:cNvPr id="3" name="Gruppieren 2">
              <a:extLst>
                <a:ext uri="{FF2B5EF4-FFF2-40B4-BE49-F238E27FC236}">
                  <a16:creationId xmlns:a16="http://schemas.microsoft.com/office/drawing/2014/main" id="{1307D6EE-519A-1074-0CD9-0DC8C246297C}"/>
                </a:ext>
              </a:extLst>
            </p:cNvPr>
            <p:cNvGrpSpPr/>
            <p:nvPr/>
          </p:nvGrpSpPr>
          <p:grpSpPr>
            <a:xfrm>
              <a:off x="7894322" y="1989000"/>
              <a:ext cx="2880000" cy="2880000"/>
              <a:chOff x="4958080" y="4137680"/>
              <a:chExt cx="1800000" cy="1800000"/>
            </a:xfrm>
          </p:grpSpPr>
          <p:sp>
            <p:nvSpPr>
              <p:cNvPr id="4" name="Ellipse 3">
                <a:extLst>
                  <a:ext uri="{FF2B5EF4-FFF2-40B4-BE49-F238E27FC236}">
                    <a16:creationId xmlns:a16="http://schemas.microsoft.com/office/drawing/2014/main" id="{BC56AC46-767C-2738-4F33-1CA896453E6F}"/>
                  </a:ext>
                </a:extLst>
              </p:cNvPr>
              <p:cNvSpPr/>
              <p:nvPr/>
            </p:nvSpPr>
            <p:spPr>
              <a:xfrm>
                <a:off x="4958080" y="4137680"/>
                <a:ext cx="1800000" cy="1800000"/>
              </a:xfrm>
              <a:prstGeom prst="ellipse">
                <a:avLst/>
              </a:prstGeom>
              <a:solidFill>
                <a:schemeClr val="bg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rgbClr val="666666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7200" tIns="97200" rIns="97200" bIns="97200" rtlCol="0" anchor="ctr"/>
              <a:lstStyle/>
              <a:p>
                <a:pPr algn="ctr" defTabSz="486000"/>
                <a:endParaRPr lang="de-DE" sz="1600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5" name="Gerader Verbinder 4">
                <a:extLst>
                  <a:ext uri="{FF2B5EF4-FFF2-40B4-BE49-F238E27FC236}">
                    <a16:creationId xmlns:a16="http://schemas.microsoft.com/office/drawing/2014/main" id="{B5479048-BD77-6B49-2363-6B61D86B4220}"/>
                  </a:ext>
                </a:extLst>
              </p:cNvPr>
              <p:cNvCxnSpPr>
                <a:cxnSpLocks/>
                <a:stCxn id="4" idx="2"/>
              </p:cNvCxnSpPr>
              <p:nvPr/>
            </p:nvCxnSpPr>
            <p:spPr>
              <a:xfrm>
                <a:off x="4958080" y="5037680"/>
                <a:ext cx="121920" cy="0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" name="Gerader Verbinder 5">
                <a:extLst>
                  <a:ext uri="{FF2B5EF4-FFF2-40B4-BE49-F238E27FC236}">
                    <a16:creationId xmlns:a16="http://schemas.microsoft.com/office/drawing/2014/main" id="{0ACEFF3A-BE09-D4EF-6B93-A7AF9A3DE980}"/>
                  </a:ext>
                </a:extLst>
              </p:cNvPr>
              <p:cNvCxnSpPr>
                <a:cxnSpLocks/>
                <a:endCxn id="4" idx="6"/>
              </p:cNvCxnSpPr>
              <p:nvPr/>
            </p:nvCxnSpPr>
            <p:spPr>
              <a:xfrm>
                <a:off x="6636160" y="5037680"/>
                <a:ext cx="121920" cy="0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" name="Gerader Verbinder 6">
                <a:extLst>
                  <a:ext uri="{FF2B5EF4-FFF2-40B4-BE49-F238E27FC236}">
                    <a16:creationId xmlns:a16="http://schemas.microsoft.com/office/drawing/2014/main" id="{6378158C-980B-A798-A29D-F44582D7E309}"/>
                  </a:ext>
                </a:extLst>
              </p:cNvPr>
              <p:cNvCxnSpPr>
                <a:cxnSpLocks/>
                <a:stCxn id="4" idx="0"/>
              </p:cNvCxnSpPr>
              <p:nvPr/>
            </p:nvCxnSpPr>
            <p:spPr>
              <a:xfrm>
                <a:off x="5858080" y="4137680"/>
                <a:ext cx="0" cy="104551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" name="Gerader Verbinder 7">
                <a:extLst>
                  <a:ext uri="{FF2B5EF4-FFF2-40B4-BE49-F238E27FC236}">
                    <a16:creationId xmlns:a16="http://schemas.microsoft.com/office/drawing/2014/main" id="{B9DABA90-2288-41E5-A3AA-EEA3DA922662}"/>
                  </a:ext>
                </a:extLst>
              </p:cNvPr>
              <p:cNvCxnSpPr>
                <a:cxnSpLocks/>
                <a:stCxn id="4" idx="4"/>
              </p:cNvCxnSpPr>
              <p:nvPr/>
            </p:nvCxnSpPr>
            <p:spPr>
              <a:xfrm flipV="1">
                <a:off x="5858080" y="5781972"/>
                <a:ext cx="0" cy="155708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Gerader Verbinder 12">
                <a:extLst>
                  <a:ext uri="{FF2B5EF4-FFF2-40B4-BE49-F238E27FC236}">
                    <a16:creationId xmlns:a16="http://schemas.microsoft.com/office/drawing/2014/main" id="{12F0169D-5470-9D52-A71C-C504E7E67F5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307682" y="4305581"/>
                <a:ext cx="65123" cy="117472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" name="Textfeld 13">
                <a:extLst>
                  <a:ext uri="{FF2B5EF4-FFF2-40B4-BE49-F238E27FC236}">
                    <a16:creationId xmlns:a16="http://schemas.microsoft.com/office/drawing/2014/main" id="{A8735DD9-84ED-072E-6619-CE9FC1FEC4B7}"/>
                  </a:ext>
                </a:extLst>
              </p:cNvPr>
              <p:cNvSpPr txBox="1"/>
              <p:nvPr/>
            </p:nvSpPr>
            <p:spPr>
              <a:xfrm>
                <a:off x="6206082" y="4446887"/>
                <a:ext cx="101600" cy="291180"/>
              </a:xfrm>
              <a:prstGeom prst="rect">
                <a:avLst/>
              </a:prstGeom>
              <a:noFill/>
            </p:spPr>
            <p:txBody>
              <a:bodyPr vert="horz" wrap="none" lIns="0" tIns="0" rIns="0" bIns="0" rtlCol="0">
                <a:noAutofit/>
              </a:bodyPr>
              <a:lstStyle/>
              <a:p>
                <a:pPr algn="l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600" b="0" i="0" u="none" dirty="0"/>
                  <a:t>1</a:t>
                </a:r>
              </a:p>
            </p:txBody>
          </p:sp>
        </p:grpSp>
        <p:sp>
          <p:nvSpPr>
            <p:cNvPr id="35" name="Bogen 34">
              <a:extLst>
                <a:ext uri="{FF2B5EF4-FFF2-40B4-BE49-F238E27FC236}">
                  <a16:creationId xmlns:a16="http://schemas.microsoft.com/office/drawing/2014/main" id="{61F1AFDF-71B6-EDCB-0D0D-FC0616F169F0}"/>
                </a:ext>
              </a:extLst>
            </p:cNvPr>
            <p:cNvSpPr/>
            <p:nvPr/>
          </p:nvSpPr>
          <p:spPr>
            <a:xfrm rot="20061455">
              <a:off x="9137893" y="1691068"/>
              <a:ext cx="1155097" cy="1095741"/>
            </a:xfrm>
            <a:prstGeom prst="arc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pic>
        <p:nvPicPr>
          <p:cNvPr id="54" name="Grafik 53" descr="Tageskalender Silhouette">
            <a:extLst>
              <a:ext uri="{FF2B5EF4-FFF2-40B4-BE49-F238E27FC236}">
                <a16:creationId xmlns:a16="http://schemas.microsoft.com/office/drawing/2014/main" id="{BAE768F0-A8B0-53B1-6817-88B1E6936BD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1017" y="2060019"/>
            <a:ext cx="583200" cy="583200"/>
          </a:xfrm>
          <a:prstGeom prst="rect">
            <a:avLst/>
          </a:prstGeom>
        </p:spPr>
      </p:pic>
      <p:pic>
        <p:nvPicPr>
          <p:cNvPr id="56" name="Grafik 55" descr="Liste Silhouette">
            <a:extLst>
              <a:ext uri="{FF2B5EF4-FFF2-40B4-BE49-F238E27FC236}">
                <a16:creationId xmlns:a16="http://schemas.microsoft.com/office/drawing/2014/main" id="{8BA46AF2-9819-0FC8-803A-03A1534C81D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61017" y="2859754"/>
            <a:ext cx="583200" cy="583200"/>
          </a:xfrm>
          <a:prstGeom prst="rect">
            <a:avLst/>
          </a:prstGeom>
        </p:spPr>
      </p:pic>
      <p:pic>
        <p:nvPicPr>
          <p:cNvPr id="62" name="Grafik 61" descr="Server Silhouette">
            <a:extLst>
              <a:ext uri="{FF2B5EF4-FFF2-40B4-BE49-F238E27FC236}">
                <a16:creationId xmlns:a16="http://schemas.microsoft.com/office/drawing/2014/main" id="{5ECF4F8D-6B0B-9DAC-304E-6881E50160E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61017" y="1290320"/>
            <a:ext cx="583200" cy="583200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F08231D6-3D36-30F0-BF61-61E7FFC56BEA}"/>
              </a:ext>
            </a:extLst>
          </p:cNvPr>
          <p:cNvSpPr txBox="1"/>
          <p:nvPr/>
        </p:nvSpPr>
        <p:spPr>
          <a:xfrm>
            <a:off x="7751641" y="780854"/>
            <a:ext cx="3054258" cy="914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i="0" u="none" dirty="0"/>
              <a:t>Forecast ID3 </a:t>
            </a:r>
            <a:r>
              <a:rPr lang="de-DE" sz="1600" b="1" i="0" u="none" dirty="0" err="1"/>
              <a:t>price</a:t>
            </a:r>
            <a:r>
              <a:rPr lang="de-DE" sz="1600" b="1" i="0" u="none" dirty="0"/>
              <a:t> </a:t>
            </a:r>
            <a:r>
              <a:rPr lang="de-DE" sz="1600" b="1" i="0" u="none" dirty="0" err="1"/>
              <a:t>of</a:t>
            </a:r>
            <a:r>
              <a:rPr lang="de-DE" sz="1600" b="1" i="0" u="none" dirty="0"/>
              <a:t> </a:t>
            </a:r>
            <a:r>
              <a:rPr lang="de-DE" sz="1600" b="1" i="0" u="none" dirty="0" err="1"/>
              <a:t>hour</a:t>
            </a:r>
            <a:r>
              <a:rPr lang="de-DE" sz="1600" b="1" i="0" u="none" dirty="0"/>
              <a:t> 12 – 1 </a:t>
            </a:r>
            <a:r>
              <a:rPr lang="de-DE" sz="1600" b="1" i="0" u="none" dirty="0" err="1"/>
              <a:t>pm</a:t>
            </a:r>
            <a:endParaRPr lang="de-DE" sz="1600" b="1" i="0" u="none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361E7319-DAED-EED4-F2DB-09EB04118ED0}"/>
              </a:ext>
            </a:extLst>
          </p:cNvPr>
          <p:cNvSpPr txBox="1"/>
          <p:nvPr/>
        </p:nvSpPr>
        <p:spPr>
          <a:xfrm rot="18377549">
            <a:off x="7293274" y="2162741"/>
            <a:ext cx="1997365" cy="914400"/>
          </a:xfrm>
          <a:prstGeom prst="rect">
            <a:avLst/>
          </a:prstGeom>
          <a:noFill/>
        </p:spPr>
        <p:txBody>
          <a:bodyPr vert="horz" wrap="none" lIns="0" tIns="0" rIns="0" bIns="0" rtlCol="0">
            <a:prstTxWarp prst="textArchUp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i="0" u="none" dirty="0">
                <a:solidFill>
                  <a:srgbClr val="FF0000"/>
                </a:solidFill>
                <a:latin typeface="+mj-lt"/>
              </a:rPr>
              <a:t>Trading </a:t>
            </a:r>
            <a:r>
              <a:rPr lang="de-DE" sz="1600" b="1" i="0" u="none" dirty="0" err="1">
                <a:solidFill>
                  <a:srgbClr val="FF0000"/>
                </a:solidFill>
                <a:latin typeface="+mj-lt"/>
              </a:rPr>
              <a:t>window</a:t>
            </a:r>
            <a:endParaRPr lang="de-DE" sz="1600" b="1" i="0" u="none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6482636C-AC89-F898-AE53-81444DDABC23}"/>
              </a:ext>
            </a:extLst>
          </p:cNvPr>
          <p:cNvSpPr txBox="1"/>
          <p:nvPr/>
        </p:nvSpPr>
        <p:spPr>
          <a:xfrm rot="4523169">
            <a:off x="9838402" y="2866173"/>
            <a:ext cx="1997365" cy="546941"/>
          </a:xfrm>
          <a:prstGeom prst="rect">
            <a:avLst/>
          </a:prstGeom>
          <a:noFill/>
        </p:spPr>
        <p:txBody>
          <a:bodyPr vert="horz" wrap="none" lIns="0" tIns="0" rIns="0" bIns="0" rtlCol="0">
            <a:prstTxWarp prst="textArchUp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i="0" u="none" dirty="0">
                <a:solidFill>
                  <a:srgbClr val="92D050"/>
                </a:solidFill>
                <a:latin typeface="+mj-lt"/>
              </a:rPr>
              <a:t>Data </a:t>
            </a:r>
            <a:r>
              <a:rPr lang="de-DE" sz="1600" b="1" i="0" u="none" dirty="0" err="1">
                <a:solidFill>
                  <a:srgbClr val="92D050"/>
                </a:solidFill>
                <a:latin typeface="+mj-lt"/>
              </a:rPr>
              <a:t>we</a:t>
            </a:r>
            <a:r>
              <a:rPr lang="de-DE" sz="1600" b="1" i="0" u="none" dirty="0">
                <a:solidFill>
                  <a:srgbClr val="92D050"/>
                </a:solidFill>
                <a:latin typeface="+mj-lt"/>
              </a:rPr>
              <a:t> will </a:t>
            </a:r>
            <a:r>
              <a:rPr lang="de-DE" sz="1600" b="1" i="0" u="none" dirty="0" err="1">
                <a:solidFill>
                  <a:srgbClr val="92D050"/>
                </a:solidFill>
                <a:latin typeface="+mj-lt"/>
              </a:rPr>
              <a:t>use</a:t>
            </a:r>
            <a:endParaRPr lang="de-DE" sz="1600" b="1" i="0" u="none" dirty="0">
              <a:solidFill>
                <a:srgbClr val="92D050"/>
              </a:solidFill>
              <a:latin typeface="+mj-lt"/>
            </a:endParaRP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F100F731-78FC-733E-F7BC-512C24AD9C2D}"/>
              </a:ext>
            </a:extLst>
          </p:cNvPr>
          <p:cNvSpPr txBox="1"/>
          <p:nvPr/>
        </p:nvSpPr>
        <p:spPr>
          <a:xfrm>
            <a:off x="8251952" y="3298382"/>
            <a:ext cx="195072" cy="388648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0" i="0" u="none" dirty="0"/>
              <a:t>9</a:t>
            </a: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5B45EB24-D872-6081-13C8-3B1D4909506F}"/>
              </a:ext>
            </a:extLst>
          </p:cNvPr>
          <p:cNvSpPr txBox="1"/>
          <p:nvPr/>
        </p:nvSpPr>
        <p:spPr>
          <a:xfrm>
            <a:off x="10341280" y="3289450"/>
            <a:ext cx="195072" cy="388648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/>
              <a:t>3</a:t>
            </a:r>
            <a:endParaRPr lang="de-DE" sz="1600" b="0" i="0" u="none" dirty="0"/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AF748B53-6AF6-F3B2-CF36-E830879874A9}"/>
              </a:ext>
            </a:extLst>
          </p:cNvPr>
          <p:cNvSpPr txBox="1"/>
          <p:nvPr/>
        </p:nvSpPr>
        <p:spPr>
          <a:xfrm>
            <a:off x="9236189" y="2257642"/>
            <a:ext cx="195072" cy="388648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/>
              <a:t>12</a:t>
            </a:r>
            <a:endParaRPr lang="de-DE" sz="1600" b="0" i="0" u="none" dirty="0"/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C78DF544-5E18-1EA4-2B87-F0BB2148F8E4}"/>
              </a:ext>
            </a:extLst>
          </p:cNvPr>
          <p:cNvSpPr txBox="1"/>
          <p:nvPr/>
        </p:nvSpPr>
        <p:spPr>
          <a:xfrm>
            <a:off x="9278770" y="4294022"/>
            <a:ext cx="195072" cy="388648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/>
              <a:t>6</a:t>
            </a:r>
            <a:endParaRPr lang="de-DE" sz="1600" b="0" i="0" u="none" dirty="0"/>
          </a:p>
        </p:txBody>
      </p:sp>
    </p:spTree>
    <p:extLst>
      <p:ext uri="{BB962C8B-B14F-4D97-AF65-F5344CB8AC3E}">
        <p14:creationId xmlns:p14="http://schemas.microsoft.com/office/powerpoint/2010/main" val="3814989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20" grpId="0" animBg="1"/>
      <p:bldP spid="31" grpId="0" animBg="1"/>
      <p:bldP spid="41" grpId="0" animBg="1"/>
      <p:bldP spid="15" grpId="0"/>
      <p:bldP spid="16" grpId="0"/>
      <p:bldP spid="42" grpId="0"/>
      <p:bldP spid="43" grpId="0"/>
      <p:bldP spid="44" grpId="0"/>
      <p:bldP spid="45" grpId="0"/>
      <p:bldP spid="49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IAAAAAAAAAAwAAAAMAAAAA/////wQAPww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2QJc04DbcxJgkqkEbtUx+AFAAAAAAADAAAAAAADAAAAAwADAAIA////////BAAAAAMAEAAL/46b72ayoUWuV4bUpjNrTQUAAAABAAMAAAACAAMAAAABAAM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BQMAAAAAAAAAAAAACAB////////////////AAAA////////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wEDAAAAAwD///////8lAAZMaW5rZWRTaGFwZVByZXNlbnRhdGlvblNldHRpbmdzRGF0YV8wBQAAAAEABAAAAAAABAAAAAIA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GQJc04DbcxJgkqkEbtUx+ADRGF0YQAbAAAABExpbmtlZFNoYXBlRGF0YQAFAAAAAAACTmFtZQAZAAAATGlua2VkU2hhcGVzRGF0YVByb3BlcnR5ABBWZXJzaW9uAAAAAAAJTGFzdFdyaXRlALcJwxGQAQAAAAEA/////8YAxgAAAAVfaWQAEAAAAAT/jpvvZrKhRa5XhtSmM2tNA0RhdGEAUwAAAAhQcmVzZW50YXRpb25TY2FubmVkRm9yTGlua2VkU2hhcGVzAAECTnVtYmVyRm9ybWF0U2VwYXJhdG9yTW9kZQAKAAAAQXV0b21hdGljAAACTmFtZQAkAAAATGlua2VkU2hhcGVQcmVzZW50YXRpb25TZXR0aW5nc0RhdGEAEFZlcnNpb24AAAAAAAlMYXN0V3JpdGUA+gnDEZ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itenzahl anzeigen;"/>
  <p:tag name="MIO_USER_INPUT_LANGUAGE" val="de-DE"/>
  <p:tag name="MIO_USER_INPUT_OPTIONAL" val=" "/>
  <p:tag name="MIO_USER_INPUT_FIXED" val=" 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uides;"/>
  <p:tag name="MIO_USER_INPUT_LANGUAGE" val="en-US"/>
  <p:tag name="MIO_USER_INPUT_OPTIONAL" val=" "/>
  <p:tag name="MIO_USER_INPUT_FIXED" val=" 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uides;"/>
  <p:tag name="MIO_USER_INPUT_LANGUAGE" val="en-US"/>
  <p:tag name="MIO_USER_INPUT_OPTIONAL" val=" "/>
  <p:tag name="MIO_USER_INPUT_FIXED" val=" 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Zusätzliche Hilfslinien;"/>
  <p:tag name="MIO_USER_INPUT_LANGUAGE" val="de-DE"/>
  <p:tag name="MIO_USER_INPUT_OPTIONAL" val=" "/>
  <p:tag name="MIO_USER_INPUT_FIXED" val=" 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Zusätzliche Hilfslinien;"/>
  <p:tag name="MIO_USER_INPUT_LANGUAGE" val="de-DE"/>
  <p:tag name="MIO_USER_INPUT_OPTIONAL" val=" "/>
  <p:tag name="MIO_USER_INPUT_FIXED" val=" 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4"/>
  <p:tag name="MIO_SHOW_DATE" val="False"/>
  <p:tag name="MIO_SHOW_FOOTER" val="False"/>
  <p:tag name="MIO_SHOW_PAGENUMBER" val="False"/>
  <p:tag name="MIO_AVOID_BLANK_LAYOUT" val="True"/>
  <p:tag name="MIO_CD_LAYOUT_VALID_AREA" val="False"/>
  <p:tag name="MIO_EMBED_FONT" val="False"/>
  <p:tag name="MIO_NUMBER_OF_VALID_LAYOUTS" val="18"/>
  <p:tag name="MIO_HDS" val="True"/>
  <p:tag name="MIO_SKIPVERSION" val="01.01.0001 00:00:00"/>
  <p:tag name="MIO_EKGUID" val="70171a22-3ec2-41db-90cd-5117d3d91876"/>
  <p:tag name="MIO_UPDATE" val="True"/>
  <p:tag name="MIO_VERSION" val="29.04.2021 10:48:21"/>
  <p:tag name="MIO_DBID" val="0F45B44C-9BC7-4D85-81C4-7155EE70A7B9"/>
  <p:tag name="MIO_LASTDOWNLOADED" val="29.04.2021 13:01:12.171"/>
  <p:tag name="MIO_OBJECTNAME" val="empower corporate"/>
  <p:tag name="MIO_LASTEDITORNAME" val="info "/>
  <p:tag name="MIO_CDID" val="e842da2d-c48b-49a2-ae3f-f99b609659e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onfidentiality;"/>
  <p:tag name="MIO_USER_INPUT_LANGUAGE" val="en-US"/>
  <p:tag name="MIO_USER_INPUT_OPTIONAL" val=" "/>
  <p:tag name="MIO_USER_INPUT_OPTIONS" val=";FOR INTERNAL USE ONLY;STRICTLY CONFIDENTIAL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Vertraulichkeit;"/>
  <p:tag name="MIO_USER_INPUT_LANGUAGE" val="de-DE"/>
  <p:tag name="MIO_USER_INPUT_OPTIONAL" val=" "/>
  <p:tag name="MIO_USER_INPUT_OPTIONS" val=";NUR ZUR INTERNEN VERWENDUNG;STRENG VERTRAULICH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onfidentiality;"/>
  <p:tag name="MIO_USER_INPUT_LANGUAGE" val="en-US"/>
  <p:tag name="MIO_USER_INPUT_OPTIONAL" val=" "/>
  <p:tag name="MIO_USER_INPUT_OPTIONS" val=";FOR INTERNAL USE ONLY;STRICTLY CONFIDENTIAL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Vertraulichkeit;"/>
  <p:tag name="MIO_USER_INPUT_LANGUAGE" val="de-DE"/>
  <p:tag name="MIO_USER_INPUT_OPTIONAL" val=" "/>
  <p:tag name="MIO_USER_INPUT_OPTIONS" val=";NUR ZUR INTERNEN VERWENDUNG;STRENG VERTRAULICH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3d93589-83f3-41fe-be50-f7c43307c24e"/>
  <p:tag name="MIO_EKGUID" val="f3c7cb89-0ca9-41c5-a605-8cf391953cfc"/>
  <p:tag name="MIO_UPDATE" val="True"/>
  <p:tag name="MIO_VERSION" val="05.05.2021 14:40:00"/>
  <p:tag name="MIO_DBID" val="0F45B44C-9BC7-4D85-81C4-7155EE70A7B9"/>
  <p:tag name="MIO_LASTDOWNLOADED" val="13.06.2024 15:26:50.417"/>
  <p:tag name="MIO_OBJECTNAME" val="08 Maps"/>
  <p:tag name="MIO_LASTEDITORNAME" val="empower Brandin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1f16932-341d-4cf0-ac4e-81e40dc0c3d2"/>
  <p:tag name="MIO_EKGUID" val="4e27819b-0ead-48db-828e-e49b3b1cb586"/>
  <p:tag name="MIO_UPDATE" val="True"/>
  <p:tag name="MIO_VERSION" val="09.04.2021 12:59:47"/>
  <p:tag name="MIO_DBID" val="0F45B44C-9BC7-4D85-81C4-7155EE70A7B9"/>
  <p:tag name="MIO_LASTDOWNLOADED" val="13.06.2024 15:52:41.680"/>
  <p:tag name="MIO_OBJECTNAME" val="Magnifying glass 02"/>
  <p:tag name="MIO_LASTEDITORNAME" val="empower Brandin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9422a92-ba78-4008-a341-87f82ebe8919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0bb74c-6cd6-4596-98d7-45b31424198d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Watermark;"/>
  <p:tag name="MIO_USER_INPUT_LANGUAGE" val="en-US"/>
  <p:tag name="MIO_USER_INPUT_OPTIONAL" val=" "/>
  <p:tag name="MIO_USER_INPUT_TEXT" val=" 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1f16932-341d-4cf0-ac4e-81e40dc0c3d2"/>
  <p:tag name="MIO_EKGUID" val="4e27819b-0ead-48db-828e-e49b3b1cb586"/>
  <p:tag name="MIO_UPDATE" val="True"/>
  <p:tag name="MIO_VERSION" val="09.04.2021 12:59:47"/>
  <p:tag name="MIO_DBID" val="0F45B44C-9BC7-4D85-81C4-7155EE70A7B9"/>
  <p:tag name="MIO_LASTDOWNLOADED" val="13.06.2024 15:52:41.680"/>
  <p:tag name="MIO_OBJECTNAME" val="Magnifying glass 02"/>
  <p:tag name="MIO_LASTEDITORNAME" val="empower Brandin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9422a92-ba78-4008-a341-87f82ebe8919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0bb74c-6cd6-4596-98d7-45b31424198d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1f16932-341d-4cf0-ac4e-81e40dc0c3d2"/>
  <p:tag name="MIO_EKGUID" val="4e27819b-0ead-48db-828e-e49b3b1cb586"/>
  <p:tag name="MIO_UPDATE" val="True"/>
  <p:tag name="MIO_VERSION" val="09.04.2021 12:59:47"/>
  <p:tag name="MIO_DBID" val="0F45B44C-9BC7-4D85-81C4-7155EE70A7B9"/>
  <p:tag name="MIO_LASTDOWNLOADED" val="13.06.2024 15:52:41.680"/>
  <p:tag name="MIO_OBJECTNAME" val="Magnifying glass 02"/>
  <p:tag name="MIO_LASTEDITORNAME" val="empower Brandin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9422a92-ba78-4008-a341-87f82ebe8919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0bb74c-6cd6-4596-98d7-45b31424198d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1f16932-341d-4cf0-ac4e-81e40dc0c3d2"/>
  <p:tag name="MIO_EKGUID" val="4e27819b-0ead-48db-828e-e49b3b1cb586"/>
  <p:tag name="MIO_UPDATE" val="True"/>
  <p:tag name="MIO_VERSION" val="09.04.2021 12:59:47"/>
  <p:tag name="MIO_DBID" val="0F45B44C-9BC7-4D85-81C4-7155EE70A7B9"/>
  <p:tag name="MIO_LASTDOWNLOADED" val="13.06.2024 15:52:41.680"/>
  <p:tag name="MIO_OBJECTNAME" val="Magnifying glass 02"/>
  <p:tag name="MIO_LASTEDITORNAME" val="empower Brandin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9422a92-ba78-4008-a341-87f82ebe8919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0bb74c-6cd6-4596-98d7-45b31424198d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1f16932-341d-4cf0-ac4e-81e40dc0c3d2"/>
  <p:tag name="MIO_EKGUID" val="4e27819b-0ead-48db-828e-e49b3b1cb586"/>
  <p:tag name="MIO_UPDATE" val="True"/>
  <p:tag name="MIO_VERSION" val="09.04.2021 12:59:47"/>
  <p:tag name="MIO_DBID" val="0F45B44C-9BC7-4D85-81C4-7155EE70A7B9"/>
  <p:tag name="MIO_LASTDOWNLOADED" val="13.06.2024 15:52:41.680"/>
  <p:tag name="MIO_OBJECTNAME" val="Magnifying glass 02"/>
  <p:tag name="MIO_LASTEDITORNAME" val="empower Brandin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Wasserzeichen;"/>
  <p:tag name="MIO_USER_INPUT_LANGUAGE" val="de-DE"/>
  <p:tag name="MIO_USER_INPUT_OPTIONAL" val=" "/>
  <p:tag name="MIO_USER_INPUT_TEXT" val=" 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9422a92-ba78-4008-a341-87f82ebe8919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0bb74c-6cd6-4596-98d7-45b31424198d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1f16932-341d-4cf0-ac4e-81e40dc0c3d2"/>
  <p:tag name="MIO_EKGUID" val="4e27819b-0ead-48db-828e-e49b3b1cb586"/>
  <p:tag name="MIO_UPDATE" val="True"/>
  <p:tag name="MIO_VERSION" val="09.04.2021 12:59:47"/>
  <p:tag name="MIO_DBID" val="0F45B44C-9BC7-4D85-81C4-7155EE70A7B9"/>
  <p:tag name="MIO_LASTDOWNLOADED" val="13.06.2024 15:52:41.680"/>
  <p:tag name="MIO_OBJECTNAME" val="Magnifying glass 02"/>
  <p:tag name="MIO_LASTEDITORNAME" val="empower Brandin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9422a92-ba78-4008-a341-87f82ebe8919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0bb74c-6cd6-4596-98d7-45b31424198d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1f16932-341d-4cf0-ac4e-81e40dc0c3d2"/>
  <p:tag name="MIO_EKGUID" val="4e27819b-0ead-48db-828e-e49b3b1cb586"/>
  <p:tag name="MIO_UPDATE" val="True"/>
  <p:tag name="MIO_VERSION" val="09.04.2021 12:59:47"/>
  <p:tag name="MIO_DBID" val="0F45B44C-9BC7-4D85-81C4-7155EE70A7B9"/>
  <p:tag name="MIO_LASTDOWNLOADED" val="13.06.2024 15:52:41.680"/>
  <p:tag name="MIO_OBJECTNAME" val="Magnifying glass 02"/>
  <p:tag name="MIO_LASTEDITORNAME" val="empower Brandin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9422a92-ba78-4008-a341-87f82ebe8919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0bb74c-6cd6-4596-98d7-45b31424198d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Label;"/>
  <p:tag name="MIO_USER_INPUT_OPTIONAL" val=" "/>
  <p:tag name="MIO_USER_INPUT_TEXT" val=" 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1f16932-341d-4cf0-ac4e-81e40dc0c3d2"/>
  <p:tag name="MIO_EKGUID" val="4e27819b-0ead-48db-828e-e49b3b1cb586"/>
  <p:tag name="MIO_UPDATE" val="True"/>
  <p:tag name="MIO_VERSION" val="09.04.2021 12:59:47"/>
  <p:tag name="MIO_DBID" val="0F45B44C-9BC7-4D85-81C4-7155EE70A7B9"/>
  <p:tag name="MIO_LASTDOWNLOADED" val="13.06.2024 15:52:41.680"/>
  <p:tag name="MIO_OBJECTNAME" val="Magnifying glass 02"/>
  <p:tag name="MIO_LASTEDITORNAME" val="empower Brandin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9422a92-ba78-4008-a341-87f82ebe8919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0bb74c-6cd6-4596-98d7-45b31424198d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bf5b586-c916-46c7-a9bc-dfd31fad4087"/>
  <p:tag name="MIO_EKGUID" val="858fb243-d8a6-41ab-8c90-03631d1f1365"/>
  <p:tag name="MIO_UPDATE" val="True"/>
  <p:tag name="MIO_VERSION" val="03.05.2021 14:47:59"/>
  <p:tag name="MIO_DBID" val="0F45B44C-9BC7-4D85-81C4-7155EE70A7B9"/>
  <p:tag name="MIO_LASTDOWNLOADED" val="13.06.2024 16:09:46.592"/>
  <p:tag name="MIO_OBJECTNAME" val="Pure Process or Timeline – 3 Items"/>
  <p:tag name="MIO_LASTEDITORNAME" val="empower Brandin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a06de91-34bb-4a67-81e5-0d61998ebc7c"/>
  <p:tag name="MIO_EKGUID" val="131ef434-233c-4d0a-b87e-f6f73b9d06da"/>
  <p:tag name="MIO_UPDATE" val="True"/>
  <p:tag name="MIO_VERSION" val="03.09.2021 08:49:31"/>
  <p:tag name="MIO_DBID" val="0F45B44C-9BC7-4D85-81C4-7155EE70A7B9"/>
  <p:tag name="MIO_LASTDOWNLOADED" val="20.06.2024 19:32:01.604"/>
  <p:tag name="MIO_OBJECTNAME" val="Turkey"/>
  <p:tag name="MIO_LASTEDITORNAME" val="empower Brandi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lide Number;"/>
  <p:tag name="MIO_USER_INPUT_LANGUAGE" val="en-US"/>
  <p:tag name="MIO_USER_INPUT_OPTIONAL" val=" "/>
  <p:tag name="MIO_USER_INPUT_TEXT" val=" 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6befd99-bf67-4bf1-9fcb-e7ae76c8cf86"/>
  <p:tag name="MIO_EKGUID" val="cf4cd43b-9b18-43b3-a738-b7c49d906181"/>
  <p:tag name="MIO_UPDATE" val="True"/>
  <p:tag name="MIO_VERSION" val="05.05.2021 13:44:57"/>
  <p:tag name="MIO_DBID" val="0F45B44C-9BC7-4D85-81C4-7155EE70A7B9"/>
  <p:tag name="MIO_LASTDOWNLOADED" val="16.06.2024 13:36:51.232"/>
  <p:tag name="MIO_OBJECTNAME" val="Germany"/>
  <p:tag name="MIO_LASTEDITORNAME" val="empower Brandin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lide Number;"/>
  <p:tag name="MIO_USER_INPUT_LANGUAGE" val="en-US"/>
  <p:tag name="MIO_USER_INPUT_OPTIONAL" val=" "/>
  <p:tag name="MIO_USER_INPUT_FIXED" val="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itenzahl anzeigen;"/>
  <p:tag name="MIO_USER_INPUT_LANGUAGE" val="de-DE"/>
  <p:tag name="MIO_USER_INPUT_OPTIONAL" val=" "/>
  <p:tag name="MIO_USER_INPUT_TEXT" val=" "/>
</p:tagLst>
</file>

<file path=ppt/theme/theme1.xml><?xml version="1.0" encoding="utf-8"?>
<a:theme xmlns:a="http://schemas.openxmlformats.org/drawingml/2006/main" name="1_empower">
  <a:themeElements>
    <a:clrScheme name="empower(R) suite">
      <a:dk1>
        <a:sysClr val="windowText" lastClr="000000"/>
      </a:dk1>
      <a:lt1>
        <a:sysClr val="window" lastClr="FFFFFF"/>
      </a:lt1>
      <a:dk2>
        <a:srgbClr val="202020"/>
      </a:dk2>
      <a:lt2>
        <a:srgbClr val="F1F1F1"/>
      </a:lt2>
      <a:accent1>
        <a:srgbClr val="123F6E"/>
      </a:accent1>
      <a:accent2>
        <a:srgbClr val="859BB3"/>
      </a:accent2>
      <a:accent3>
        <a:srgbClr val="BECAD5"/>
      </a:accent3>
      <a:accent4>
        <a:srgbClr val="606060"/>
      </a:accent4>
      <a:accent5>
        <a:srgbClr val="A0A0A0"/>
      </a:accent5>
      <a:accent6>
        <a:srgbClr val="DEDEDE"/>
      </a:accent6>
      <a:hlink>
        <a:srgbClr val="123F6E"/>
      </a:hlink>
      <a:folHlink>
        <a:srgbClr val="123F6E"/>
      </a:folHlink>
    </a:clrScheme>
    <a:fontScheme name="empower® suite">
      <a:majorFont>
        <a:latin typeface="Segoe UI Semibold"/>
        <a:ea typeface="Segoe UI Semibold"/>
        <a:cs typeface="Segoe UI Semibold"/>
      </a:majorFont>
      <a:minorFont>
        <a:latin typeface="Segoe UI Light"/>
        <a:ea typeface="Segoe UI Light"/>
        <a:cs typeface="Segoe UI Light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 w="9525" cap="flat" cmpd="sng" algn="ctr">
          <a:noFill/>
          <a:prstDash val="solid"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rgbClr val="666666"/>
              </a:solidFill>
              <a:prstDash val="solid"/>
            </a14:hiddenLine>
          </a:ext>
        </a:extLst>
      </a:spPr>
      <a:bodyPr lIns="97200" tIns="97200" rIns="97200" bIns="97200" rtlCol="0" anchor="ctr"/>
      <a:lstStyle>
        <a:defPPr algn="ctr" defTabSz="486000">
          <a:defRPr sz="16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no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600" b="0" i="0" u="none" dirty="0" err="1"/>
        </a:defPPr>
      </a:lstStyle>
    </a:txDef>
  </a:objectDefaults>
  <a:extraClrSchemeLst/>
  <a:extLst>
    <a:ext uri="{05A4C25C-085E-4340-85A3-A5531E510DB2}">
      <thm15:themeFamily xmlns:thm15="http://schemas.microsoft.com/office/thememl/2012/main" name="Default Theme.pptx" id="{7E1A62DF-7D0D-4B98-AE9C-F5D13154550C}" vid="{13614507-A4EB-4F97-937A-FF95701FC012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676</Words>
  <Application>Microsoft Office PowerPoint</Application>
  <PresentationFormat>Breitbild</PresentationFormat>
  <Paragraphs>497</Paragraphs>
  <Slides>26</Slides>
  <Notes>6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11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6</vt:i4>
      </vt:variant>
    </vt:vector>
  </HeadingPairs>
  <TitlesOfParts>
    <vt:vector size="38" baseType="lpstr">
      <vt:lpstr>Amasis MT Pro Black</vt:lpstr>
      <vt:lpstr>Aptos</vt:lpstr>
      <vt:lpstr>Arial</vt:lpstr>
      <vt:lpstr>Cambria Math</vt:lpstr>
      <vt:lpstr>Lato Light</vt:lpstr>
      <vt:lpstr>League Spartan</vt:lpstr>
      <vt:lpstr>Segoe UI Light</vt:lpstr>
      <vt:lpstr>Segoe UI Semibold</vt:lpstr>
      <vt:lpstr>Segoe UI Semibold (Überschriften)</vt:lpstr>
      <vt:lpstr>Symbol</vt:lpstr>
      <vt:lpstr>Wingdings</vt:lpstr>
      <vt:lpstr>1_empower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01. Data and features</vt:lpstr>
      <vt:lpstr>01. Data and features</vt:lpstr>
      <vt:lpstr>01. Data and features</vt:lpstr>
      <vt:lpstr>01. Data and features</vt:lpstr>
      <vt:lpstr>02. Model fitting</vt:lpstr>
      <vt:lpstr>03. Model evaluation Regression (Mean Absolute Percentage Error „MAPE“)</vt:lpstr>
      <vt:lpstr>03. Model evaluation (MAPE)</vt:lpstr>
      <vt:lpstr>04. Apply trading strategy (buy/sell everything that is lower/higher than pred. ID3)</vt:lpstr>
      <vt:lpstr>PowerPoint-Präsentation</vt:lpstr>
      <vt:lpstr>Backup slides</vt:lpstr>
      <vt:lpstr>About the intraday and day ahead market</vt:lpstr>
      <vt:lpstr>Electricity market comparison [1], [2], [3]</vt:lpstr>
      <vt:lpstr>Trade information</vt:lpstr>
      <vt:lpstr>PowerPoint-Präsentation</vt:lpstr>
      <vt:lpstr>Model evaluation Regression (MAPE) 2 hours prior</vt:lpstr>
      <vt:lpstr>Features</vt:lpstr>
      <vt:lpstr>Feature importance (Tuesday, RF, test size: 0.2, estimators: 100, max_depth: 10, min_samples_leaf: 2) </vt:lpstr>
      <vt:lpstr>Sour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lexander Krause</dc:creator>
  <cp:lastModifiedBy>Alexander Krause</cp:lastModifiedBy>
  <cp:revision>2</cp:revision>
  <dcterms:created xsi:type="dcterms:W3CDTF">2024-06-13T13:21:49Z</dcterms:created>
  <dcterms:modified xsi:type="dcterms:W3CDTF">2024-07-14T19:41:52Z</dcterms:modified>
</cp:coreProperties>
</file>